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9" r:id="rId4"/>
    <p:sldMasterId id="2147483713" r:id="rId5"/>
    <p:sldMasterId id="2147483745" r:id="rId6"/>
  </p:sldMasterIdLst>
  <p:notesMasterIdLst>
    <p:notesMasterId r:id="rId94"/>
  </p:notesMasterIdLst>
  <p:handoutMasterIdLst>
    <p:handoutMasterId r:id="rId95"/>
  </p:handoutMasterIdLst>
  <p:sldIdLst>
    <p:sldId id="2491" r:id="rId7"/>
    <p:sldId id="2147376882" r:id="rId8"/>
    <p:sldId id="2147472117" r:id="rId9"/>
    <p:sldId id="2147469513" r:id="rId10"/>
    <p:sldId id="2147469628" r:id="rId11"/>
    <p:sldId id="2147479547" r:id="rId12"/>
    <p:sldId id="2147479539" r:id="rId13"/>
    <p:sldId id="2147479576" r:id="rId14"/>
    <p:sldId id="2147479578" r:id="rId15"/>
    <p:sldId id="2147479551" r:id="rId16"/>
    <p:sldId id="2147479538" r:id="rId17"/>
    <p:sldId id="2147472122" r:id="rId18"/>
    <p:sldId id="2147479537" r:id="rId19"/>
    <p:sldId id="2147472123" r:id="rId20"/>
    <p:sldId id="2147479579" r:id="rId21"/>
    <p:sldId id="2147472168" r:id="rId22"/>
    <p:sldId id="2147479553" r:id="rId23"/>
    <p:sldId id="2147479555" r:id="rId24"/>
    <p:sldId id="2147479556" r:id="rId25"/>
    <p:sldId id="2147479564" r:id="rId26"/>
    <p:sldId id="2147472191" r:id="rId27"/>
    <p:sldId id="2147472189" r:id="rId28"/>
    <p:sldId id="2147479570" r:id="rId29"/>
    <p:sldId id="2147472188" r:id="rId30"/>
    <p:sldId id="2147472190" r:id="rId31"/>
    <p:sldId id="2147479572" r:id="rId32"/>
    <p:sldId id="2147479574" r:id="rId33"/>
    <p:sldId id="2147479571" r:id="rId34"/>
    <p:sldId id="2147479573" r:id="rId35"/>
    <p:sldId id="2147472192" r:id="rId36"/>
    <p:sldId id="2147472193" r:id="rId37"/>
    <p:sldId id="2147479575" r:id="rId38"/>
    <p:sldId id="2147469516" r:id="rId39"/>
    <p:sldId id="2147479566" r:id="rId40"/>
    <p:sldId id="2147472109" r:id="rId41"/>
    <p:sldId id="2147479577" r:id="rId42"/>
    <p:sldId id="2147472019" r:id="rId43"/>
    <p:sldId id="2147479557" r:id="rId44"/>
    <p:sldId id="2147479580" r:id="rId45"/>
    <p:sldId id="2147479581" r:id="rId46"/>
    <p:sldId id="2147479588" r:id="rId47"/>
    <p:sldId id="2147479587" r:id="rId48"/>
    <p:sldId id="2147479589" r:id="rId49"/>
    <p:sldId id="2147479583" r:id="rId50"/>
    <p:sldId id="2147469519" r:id="rId51"/>
    <p:sldId id="2147376855" r:id="rId52"/>
    <p:sldId id="2147479590" r:id="rId53"/>
    <p:sldId id="2147479591" r:id="rId54"/>
    <p:sldId id="2147479592" r:id="rId55"/>
    <p:sldId id="2147479593" r:id="rId56"/>
    <p:sldId id="2147479594" r:id="rId57"/>
    <p:sldId id="2147469518" r:id="rId58"/>
    <p:sldId id="2147469415" r:id="rId59"/>
    <p:sldId id="2147469543" r:id="rId60"/>
    <p:sldId id="2147469544" r:id="rId61"/>
    <p:sldId id="2147469545" r:id="rId62"/>
    <p:sldId id="2147469546" r:id="rId63"/>
    <p:sldId id="2147469547" r:id="rId64"/>
    <p:sldId id="2147469548" r:id="rId65"/>
    <p:sldId id="2147469550" r:id="rId66"/>
    <p:sldId id="2147469515" r:id="rId67"/>
    <p:sldId id="2147469538" r:id="rId68"/>
    <p:sldId id="2147469539" r:id="rId69"/>
    <p:sldId id="2147469541" r:id="rId70"/>
    <p:sldId id="2147472156" r:id="rId71"/>
    <p:sldId id="2147479562" r:id="rId72"/>
    <p:sldId id="2147472121" r:id="rId73"/>
    <p:sldId id="2147469520" r:id="rId74"/>
    <p:sldId id="2147479595" r:id="rId75"/>
    <p:sldId id="2147479596" r:id="rId76"/>
    <p:sldId id="2147479597" r:id="rId77"/>
    <p:sldId id="2147479598" r:id="rId78"/>
    <p:sldId id="2147479599" r:id="rId79"/>
    <p:sldId id="2147479600" r:id="rId80"/>
    <p:sldId id="2147479601" r:id="rId81"/>
    <p:sldId id="2147479602" r:id="rId82"/>
    <p:sldId id="2147479603" r:id="rId83"/>
    <p:sldId id="2147479604" r:id="rId84"/>
    <p:sldId id="2147479605" r:id="rId85"/>
    <p:sldId id="2147479606" r:id="rId86"/>
    <p:sldId id="2147479607" r:id="rId87"/>
    <p:sldId id="2147479608" r:id="rId88"/>
    <p:sldId id="2147479609" r:id="rId89"/>
    <p:sldId id="2147479610" r:id="rId90"/>
    <p:sldId id="2147479611" r:id="rId91"/>
    <p:sldId id="2147479612" r:id="rId92"/>
    <p:sldId id="290" r:id="rId93"/>
  </p:sldIdLst>
  <p:sldSz cx="12192000" cy="6858000"/>
  <p:notesSz cx="6858000" cy="9144000"/>
  <p:embeddedFontLst>
    <p:embeddedFont>
      <p:font typeface="Calibri" panose="020F0502020204030204" pitchFamily="34" charset="0"/>
      <p:regular r:id="rId96"/>
      <p:bold r:id="rId97"/>
      <p:italic r:id="rId98"/>
      <p:boldItalic r:id="rId99"/>
    </p:embeddedFont>
    <p:embeddedFont>
      <p:font typeface="Calibri Light" panose="020F0302020204030204" pitchFamily="34" charset="0"/>
      <p:regular r:id="rId100"/>
      <p:italic r:id="rId101"/>
    </p:embeddedFont>
    <p:embeddedFont>
      <p:font typeface="Open Sans" panose="020B0606030504020204" pitchFamily="34" charset="0"/>
      <p:regular r:id="rId102"/>
      <p:bold r:id="rId103"/>
      <p:italic r:id="rId104"/>
      <p:boldItalic r:id="rId105"/>
    </p:embeddedFont>
    <p:embeddedFont>
      <p:font typeface="Open Sans ExtraBold" panose="020B0906030804020204" pitchFamily="34" charset="0"/>
      <p:bold r:id="rId106"/>
      <p:boldItalic r:id="rId107"/>
    </p:embeddedFont>
    <p:embeddedFont>
      <p:font typeface="Open Sans Light" panose="020B0306030504020204" pitchFamily="34" charset="0"/>
      <p:regular r:id="rId108"/>
      <p:italic r:id="rId109"/>
    </p:embeddedFont>
    <p:embeddedFont>
      <p:font typeface="Open Sans Semibold" panose="020B0706030804020204" pitchFamily="34" charset="0"/>
      <p:bold r:id="rId110"/>
      <p:boldItalic r:id="rId111"/>
    </p:embeddedFont>
    <p:embeddedFont>
      <p:font typeface="Sakkal Majalla" panose="02000000000000000000" pitchFamily="2" charset="-78"/>
      <p:regular r:id="rId112"/>
      <p:bold r:id="rId113"/>
    </p:embeddedFont>
    <p:embeddedFont>
      <p:font typeface="Verdana" panose="020B0604030504040204" pitchFamily="34" charset="0"/>
      <p:regular r:id="rId114"/>
      <p:bold r:id="rId115"/>
      <p:italic r:id="rId116"/>
      <p:boldItalic r:id="rId117"/>
    </p:embeddedFont>
    <p:embeddedFont>
      <p:font typeface="Wingdings 2" panose="05020102010507070707" pitchFamily="18" charset="2"/>
      <p:regular r:id="rId118"/>
    </p:embeddedFont>
  </p:embeddedFontLst>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1pPr>
    <a:lvl2pPr marL="0" marR="0" indent="4572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2pPr>
    <a:lvl3pPr marL="0" marR="0" indent="9144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3pPr>
    <a:lvl4pPr marL="0" marR="0" indent="13716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4pPr>
    <a:lvl5pPr marL="0" marR="0" indent="18288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5pPr>
    <a:lvl6pPr marL="0" marR="0" indent="22860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6pPr>
    <a:lvl7pPr marL="0" marR="0" indent="27432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7pPr>
    <a:lvl8pPr marL="0" marR="0" indent="32004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8pPr>
    <a:lvl9pPr marL="0" marR="0" indent="36576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9pPr>
  </p:defaultTextStyle>
  <p:extLst>
    <p:ext uri="{521415D9-36F7-43E2-AB2F-B90AF26B5E84}">
      <p14:sectionLst xmlns:p14="http://schemas.microsoft.com/office/powerpoint/2010/main">
        <p14:section name="Default Section" id="{52DC0C89-6F49-4A9C-A00A-CA33ADCBA565}">
          <p14:sldIdLst>
            <p14:sldId id="2491"/>
            <p14:sldId id="2147376882"/>
            <p14:sldId id="2147472117"/>
          </p14:sldIdLst>
        </p14:section>
        <p14:section name="Executive Summary" id="{5E162027-7E2E-4467-BC66-7B97BF6F0EED}">
          <p14:sldIdLst>
            <p14:sldId id="2147469513"/>
            <p14:sldId id="2147469628"/>
            <p14:sldId id="2147479547"/>
            <p14:sldId id="2147479539"/>
            <p14:sldId id="2147479576"/>
            <p14:sldId id="2147479578"/>
            <p14:sldId id="2147479551"/>
            <p14:sldId id="2147479538"/>
            <p14:sldId id="2147472122"/>
            <p14:sldId id="2147479537"/>
            <p14:sldId id="2147472123"/>
          </p14:sldIdLst>
        </p14:section>
        <p14:section name="Approach and Methodology" id="{12C1A2FD-9879-4F30-8053-6086BFB42A9B}">
          <p14:sldIdLst>
            <p14:sldId id="2147479579"/>
            <p14:sldId id="2147472168"/>
            <p14:sldId id="2147479553"/>
            <p14:sldId id="2147479555"/>
            <p14:sldId id="2147479556"/>
            <p14:sldId id="2147479564"/>
            <p14:sldId id="2147472191"/>
            <p14:sldId id="2147472189"/>
            <p14:sldId id="2147479570"/>
            <p14:sldId id="2147472188"/>
            <p14:sldId id="2147472190"/>
            <p14:sldId id="2147479572"/>
            <p14:sldId id="2147479574"/>
            <p14:sldId id="2147479571"/>
            <p14:sldId id="2147479573"/>
            <p14:sldId id="2147472192"/>
            <p14:sldId id="2147472193"/>
            <p14:sldId id="2147479575"/>
          </p14:sldIdLst>
        </p14:section>
        <p14:section name="Project Timeline" id="{B9567A8B-242A-4297-9EA1-25E603674C92}">
          <p14:sldIdLst>
            <p14:sldId id="2147469516"/>
            <p14:sldId id="2147479566"/>
          </p14:sldIdLst>
        </p14:section>
        <p14:section name="Our Team" id="{7F3B308F-CB5B-4138-A10A-6DF90AFAA9BC}">
          <p14:sldIdLst>
            <p14:sldId id="2147472109"/>
            <p14:sldId id="2147479577"/>
            <p14:sldId id="2147472019"/>
            <p14:sldId id="2147479557"/>
            <p14:sldId id="2147479580"/>
            <p14:sldId id="2147479581"/>
            <p14:sldId id="2147479588"/>
            <p14:sldId id="2147479587"/>
            <p14:sldId id="2147479589"/>
            <p14:sldId id="2147479583"/>
          </p14:sldIdLst>
        </p14:section>
        <p14:section name="Credentials" id="{3D373880-74D5-45DA-91E4-9561E0371885}">
          <p14:sldIdLst>
            <p14:sldId id="2147469519"/>
            <p14:sldId id="2147376855"/>
            <p14:sldId id="2147479590"/>
            <p14:sldId id="2147479591"/>
            <p14:sldId id="2147479592"/>
            <p14:sldId id="2147479593"/>
            <p14:sldId id="2147479594"/>
          </p14:sldIdLst>
        </p14:section>
        <p14:section name="About Deloitte" id="{C747610A-BA8E-425F-AB30-E5EA2F84910E}">
          <p14:sldIdLst>
            <p14:sldId id="2147469518"/>
            <p14:sldId id="2147469415"/>
            <p14:sldId id="2147469543"/>
            <p14:sldId id="2147469544"/>
            <p14:sldId id="2147469545"/>
            <p14:sldId id="2147469546"/>
            <p14:sldId id="2147469547"/>
            <p14:sldId id="2147469548"/>
            <p14:sldId id="2147469550"/>
          </p14:sldIdLst>
        </p14:section>
        <p14:section name="Assumptions" id="{2962C80F-3FF2-49D1-AF8D-EABF2F09E907}">
          <p14:sldIdLst>
            <p14:sldId id="2147469515"/>
            <p14:sldId id="2147469538"/>
            <p14:sldId id="2147469539"/>
            <p14:sldId id="2147469541"/>
            <p14:sldId id="2147472156"/>
            <p14:sldId id="2147479562"/>
            <p14:sldId id="2147472121"/>
          </p14:sldIdLst>
        </p14:section>
        <p14:section name="Terms &amp; Conditions" id="{8B960FD6-6E13-4911-998B-A840328687A1}">
          <p14:sldIdLst>
            <p14:sldId id="2147469520"/>
            <p14:sldId id="2147479595"/>
            <p14:sldId id="2147479596"/>
            <p14:sldId id="2147479597"/>
            <p14:sldId id="2147479598"/>
            <p14:sldId id="2147479599"/>
            <p14:sldId id="2147479600"/>
            <p14:sldId id="2147479601"/>
            <p14:sldId id="2147479602"/>
            <p14:sldId id="2147479603"/>
            <p14:sldId id="2147479604"/>
            <p14:sldId id="2147479605"/>
            <p14:sldId id="2147479606"/>
            <p14:sldId id="2147479607"/>
            <p14:sldId id="2147479608"/>
            <p14:sldId id="2147479609"/>
            <p14:sldId id="2147479610"/>
            <p14:sldId id="2147479611"/>
            <p14:sldId id="2147479612"/>
            <p14:sldId id="29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FAADF0C-0CAB-DFE6-DEC3-63BB86AE1882}" name="Perretti, Ilaria" initials="PI" userId="S::ilperretti@deloitte.com::aaf0d85c-e107-4cbf-8743-b9285e44fae2" providerId="AD"/>
  <p188:author id="{E75F5616-243A-6434-5B37-15A20D3B2ADE}" name="ElJerjawy, Moayad" initials="EM" userId="S::meljerjawy@deloitte.com::f4ca517b-14b7-4867-a664-297440e1939b" providerId="AD"/>
  <p188:author id="{A1F68F21-C13E-D2E6-80BE-83084729BD75}" name="Sabaa, Rabih" initials="SR" userId="S::relsabaa@deloitte.com::7768d7dd-25a4-4fd9-ab0a-54fbe7ac566b" providerId="AD"/>
  <p188:author id="{A6BD4A2B-4B7B-79D5-A213-DFF44E2334AC}" name="Khattar, Jean" initials="KJ" userId="S::jkhattar@deloitte.com::f9d85f63-d109-47ed-aa8e-6404b3520585" providerId="AD"/>
  <p188:author id="{CE2DBC30-2829-F59F-839E-53A47DD5482D}" name="Sohail Qureshi, Muhammad" initials="SQM" userId="S::muhaqureshi@deloitte.com::3e65951c-8194-436b-b74c-a69e5a55035d" providerId="AD"/>
  <p188:author id="{C18B2A37-CF48-9C6F-5792-232FF5583808}" name="Smulders, Maarten" initials="SM" userId="S::msmulders@deloitte.com::327bba2c-f68b-4612-9427-dea563970476" providerId="AD"/>
  <p188:author id="{557A9852-B74B-29D5-4CE0-7FDFD3A60E5E}" name="Batis, Saleh" initials="BS" userId="S::salsulaiman@deloitte.com::0a4a5387-152f-4227-ab49-2e3547b055ec" providerId="AD"/>
  <p188:author id="{CBCFDF55-7561-4591-D45C-B7B4186A7AB5}" name="Mendoza, LeiAnne" initials="ML" userId="S::lmendoza@deloitte.com::57f7f550-e8c1-4418-8b6f-03f66e1f8bc6" providerId="AD"/>
  <p188:author id="{89393B56-A1A4-4A40-DF89-74A1047C2FC5}" name="Qutteineh, Fahed" initials="FHQ" userId="Qutteineh, Fahed" providerId="None"/>
  <p188:author id="{FC725E56-1C48-0E70-0514-D0BED076532A}" name="Alfawzan, Lujain" initials="AL" userId="S::lalfawzan@deloitte.com::5542ab1a-fb35-4379-8837-59a3729222cc" providerId="AD"/>
  <p188:author id="{6AFC6D90-71B1-800F-EC0D-E89BDFF47A22}" name="Soudah, Myrna" initials="MS" userId="Soudah, Myrna" providerId="None"/>
  <p188:author id="{E170F3CE-35B5-2943-8C73-5C34DEA3AF11}" name="Afzal, Tanzeel" initials="AT" userId="S::taafzal@deloitte.com::4c1bee66-eab8-4968-ab2a-d2fc86f622d3" providerId="AD"/>
  <p188:author id="{91ECC7DC-BBDC-4D85-23DA-912FA695D62C}" name="Sastry, Varsha" initials="SV" userId="S::vsastry@deloitte.com::ac80d159-c352-438a-bc99-3a60547c55a8" providerId="AD"/>
  <p188:author id="{5EA609E2-F88C-792C-F755-93A103736391}" name="Memon, Muhammad" initials="MM" userId="S::mumemon@deloitte.com::b2e3ac76-f928-4c2f-bf3d-88b2d702a14b" providerId="AD"/>
  <p188:author id="{BAB4D5E8-BDA8-1039-FB8C-C52272F7BF7B}" name="Massaad, Jason" initials="MJ" userId="S::jmassaad@deloitte.com::73b5e49d-c84c-427f-bb47-3bc3c942ca09" providerId="AD"/>
  <p188:author id="{34CAF5F7-5963-92BC-305F-B8FB312B7247}" name="Kanbar, Alex" initials="KA" userId="S::akanbar@deloitte.com::1fb53266-5f3f-46b4-abd9-64156606f40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46A38"/>
    <a:srgbClr val="080808"/>
    <a:srgbClr val="999999"/>
    <a:srgbClr val="86BC25"/>
    <a:srgbClr val="648D1C"/>
    <a:srgbClr val="134506"/>
    <a:srgbClr val="32841F"/>
    <a:srgbClr val="1D670A"/>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740A55B-2757-4A26-8416-16C1FA58AE51}" v="1" dt="2024-01-19T13:52:05.168"/>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
          <a:latin typeface="Open Sans"/>
          <a:ea typeface="Open Sans"/>
          <a:cs typeface="Open Sans"/>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8E7CB"/>
          </a:solidFill>
        </a:fill>
      </a:tcStyle>
    </a:wholeTbl>
    <a:band2H>
      <a:tcTxStyle/>
      <a:tcStyle>
        <a:tcBdr/>
        <a:fill>
          <a:solidFill>
            <a:srgbClr val="EDF3E7"/>
          </a:solidFill>
        </a:fill>
      </a:tcStyle>
    </a:band2H>
    <a:firstCol>
      <a:tcTxStyle b="on" i="off">
        <a:font>
          <a:latin typeface="Open Sans"/>
          <a:ea typeface="Open Sans"/>
          <a:cs typeface="Open Sans"/>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
          <a:latin typeface="Open Sans"/>
          <a:ea typeface="Open Sans"/>
          <a:cs typeface="Open Sans"/>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
          <a:latin typeface="Open Sans"/>
          <a:ea typeface="Open Sans"/>
          <a:cs typeface="Open Sans"/>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
          <a:latin typeface="Open Sans"/>
          <a:ea typeface="Open Sans"/>
          <a:cs typeface="Open Sans"/>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1E5F5"/>
          </a:solidFill>
        </a:fill>
      </a:tcStyle>
    </a:wholeTbl>
    <a:band2H>
      <a:tcTxStyle/>
      <a:tcStyle>
        <a:tcBdr/>
        <a:fill>
          <a:solidFill>
            <a:srgbClr val="EAF2FA"/>
          </a:solidFill>
        </a:fill>
      </a:tcStyle>
    </a:band2H>
    <a:firstCol>
      <a:tcTxStyle b="on" i="off">
        <a:font>
          <a:latin typeface="Open Sans"/>
          <a:ea typeface="Open Sans"/>
          <a:cs typeface="Open Sans"/>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
          <a:latin typeface="Open Sans"/>
          <a:ea typeface="Open Sans"/>
          <a:cs typeface="Open Sans"/>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
          <a:latin typeface="Open Sans"/>
          <a:ea typeface="Open Sans"/>
          <a:cs typeface="Open Sans"/>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
          <a:latin typeface="Open Sans"/>
          <a:ea typeface="Open Sans"/>
          <a:cs typeface="Open Sans"/>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5D5D6"/>
          </a:solidFill>
        </a:fill>
      </a:tcStyle>
    </a:wholeTbl>
    <a:band2H>
      <a:tcTxStyle/>
      <a:tcStyle>
        <a:tcBdr/>
        <a:fill>
          <a:solidFill>
            <a:srgbClr val="EBEBEC"/>
          </a:solidFill>
        </a:fill>
      </a:tcStyle>
    </a:band2H>
    <a:firstCol>
      <a:tcTxStyle b="on" i="off">
        <a:font>
          <a:latin typeface="Open Sans"/>
          <a:ea typeface="Open Sans"/>
          <a:cs typeface="Open Sans"/>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
          <a:latin typeface="Open Sans"/>
          <a:ea typeface="Open Sans"/>
          <a:cs typeface="Open Sans"/>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
          <a:latin typeface="Open Sans"/>
          <a:ea typeface="Open Sans"/>
          <a:cs typeface="Open Sans"/>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
          <a:latin typeface="Open Sans"/>
          <a:ea typeface="Open Sans"/>
          <a:cs typeface="Open Sans"/>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
          <a:latin typeface="Open Sans"/>
          <a:ea typeface="Open Sans"/>
          <a:cs typeface="Open Sans"/>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
          <a:latin typeface="Open Sans"/>
          <a:ea typeface="Open Sans"/>
          <a:cs typeface="Open Sans"/>
        </a:font>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
          <a:latin typeface="Open Sans"/>
          <a:ea typeface="Open Sans"/>
          <a:cs typeface="Open Sans"/>
        </a:font>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
          <a:latin typeface="Open Sans"/>
          <a:ea typeface="Open Sans"/>
          <a:cs typeface="Open Sans"/>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
          <a:latin typeface="Open Sans"/>
          <a:ea typeface="Open Sans"/>
          <a:cs typeface="Open Sans"/>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
          <a:latin typeface="Open Sans"/>
          <a:ea typeface="Open Sans"/>
          <a:cs typeface="Open Sans"/>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
          <a:latin typeface="Open Sans"/>
          <a:ea typeface="Open Sans"/>
          <a:cs typeface="Open Sans"/>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
          <a:latin typeface="Open Sans"/>
          <a:ea typeface="Open Sans"/>
          <a:cs typeface="Open Sans"/>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
          <a:latin typeface="Open Sans"/>
          <a:ea typeface="Open Sans"/>
          <a:cs typeface="Open Sans"/>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
          <a:latin typeface="Open Sans"/>
          <a:ea typeface="Open Sans"/>
          <a:cs typeface="Open Sans"/>
        </a:font>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
          <a:latin typeface="Open Sans"/>
          <a:ea typeface="Open Sans"/>
          <a:cs typeface="Open Sans"/>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3792" autoAdjust="0"/>
  </p:normalViewPr>
  <p:slideViewPr>
    <p:cSldViewPr snapToGrid="0">
      <p:cViewPr varScale="1">
        <p:scale>
          <a:sx n="72" d="100"/>
          <a:sy n="72" d="100"/>
        </p:scale>
        <p:origin x="364" y="5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117" Type="http://schemas.openxmlformats.org/officeDocument/2006/relationships/font" Target="fonts/font22.fntdata"/><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12" Type="http://schemas.openxmlformats.org/officeDocument/2006/relationships/font" Target="fonts/font17.fntdata"/><Relationship Id="rId16" Type="http://schemas.openxmlformats.org/officeDocument/2006/relationships/slide" Target="slides/slide10.xml"/><Relationship Id="rId107" Type="http://schemas.openxmlformats.org/officeDocument/2006/relationships/font" Target="fonts/font12.fntdata"/><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font" Target="fonts/font7.fntdata"/><Relationship Id="rId123" Type="http://schemas.microsoft.com/office/2016/11/relationships/changesInfo" Target="changesInfos/changesInfo1.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handoutMaster" Target="handoutMasters/handoutMaster1.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113" Type="http://schemas.openxmlformats.org/officeDocument/2006/relationships/font" Target="fonts/font18.fntdata"/><Relationship Id="rId118" Type="http://schemas.openxmlformats.org/officeDocument/2006/relationships/font" Target="fonts/font23.fntdata"/><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font" Target="fonts/font8.fntdata"/><Relationship Id="rId108" Type="http://schemas.openxmlformats.org/officeDocument/2006/relationships/font" Target="fonts/font13.fntdata"/><Relationship Id="rId124" Type="http://schemas.microsoft.com/office/2015/10/relationships/revisionInfo" Target="revisionInfo.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font" Target="fonts/font1.fntdata"/><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7.xml"/><Relationship Id="rId28" Type="http://schemas.openxmlformats.org/officeDocument/2006/relationships/slide" Target="slides/slide22.xml"/><Relationship Id="rId49" Type="http://schemas.openxmlformats.org/officeDocument/2006/relationships/slide" Target="slides/slide43.xml"/><Relationship Id="rId114" Type="http://schemas.openxmlformats.org/officeDocument/2006/relationships/font" Target="fonts/font19.fntdata"/><Relationship Id="rId119" Type="http://schemas.openxmlformats.org/officeDocument/2006/relationships/presProps" Target="presProps.xml"/><Relationship Id="rId44" Type="http://schemas.openxmlformats.org/officeDocument/2006/relationships/slide" Target="slides/slide38.xml"/><Relationship Id="rId60" Type="http://schemas.openxmlformats.org/officeDocument/2006/relationships/slide" Target="slides/slide54.xml"/><Relationship Id="rId65" Type="http://schemas.openxmlformats.org/officeDocument/2006/relationships/slide" Target="slides/slide59.xml"/><Relationship Id="rId81" Type="http://schemas.openxmlformats.org/officeDocument/2006/relationships/slide" Target="slides/slide75.xml"/><Relationship Id="rId86" Type="http://schemas.openxmlformats.org/officeDocument/2006/relationships/slide" Target="slides/slide80.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font" Target="fonts/font14.fntdata"/><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font" Target="fonts/font2.fntdata"/><Relationship Id="rId104" Type="http://schemas.openxmlformats.org/officeDocument/2006/relationships/font" Target="fonts/font9.fntdata"/><Relationship Id="rId120" Type="http://schemas.openxmlformats.org/officeDocument/2006/relationships/viewProps" Target="viewProps.xml"/><Relationship Id="rId125" Type="http://schemas.microsoft.com/office/2018/10/relationships/authors" Target="authors.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font" Target="fonts/font15.fntdata"/><Relationship Id="rId115" Type="http://schemas.openxmlformats.org/officeDocument/2006/relationships/font" Target="fonts/font20.fntdata"/><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font" Target="fonts/font5.fntdata"/><Relationship Id="rId105" Type="http://schemas.openxmlformats.org/officeDocument/2006/relationships/font" Target="fonts/font10.fntdata"/><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font" Target="fonts/font3.fntdata"/><Relationship Id="rId121" Type="http://schemas.openxmlformats.org/officeDocument/2006/relationships/theme" Target="theme/theme1.xml"/><Relationship Id="rId3" Type="http://schemas.openxmlformats.org/officeDocument/2006/relationships/customXml" Target="../customXml/item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116" Type="http://schemas.openxmlformats.org/officeDocument/2006/relationships/font" Target="fonts/font21.fntdata"/><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font" Target="fonts/font16.fntdata"/><Relationship Id="rId15" Type="http://schemas.openxmlformats.org/officeDocument/2006/relationships/slide" Target="slides/slide9.xml"/><Relationship Id="rId36" Type="http://schemas.openxmlformats.org/officeDocument/2006/relationships/slide" Target="slides/slide30.xml"/><Relationship Id="rId57" Type="http://schemas.openxmlformats.org/officeDocument/2006/relationships/slide" Target="slides/slide51.xml"/><Relationship Id="rId106" Type="http://schemas.openxmlformats.org/officeDocument/2006/relationships/font" Target="fonts/font11.fntdata"/><Relationship Id="rId10" Type="http://schemas.openxmlformats.org/officeDocument/2006/relationships/slide" Target="slides/slide4.xml"/><Relationship Id="rId31" Type="http://schemas.openxmlformats.org/officeDocument/2006/relationships/slide" Target="slides/slide25.xml"/><Relationship Id="rId52" Type="http://schemas.openxmlformats.org/officeDocument/2006/relationships/slide" Target="slides/slide46.xml"/><Relationship Id="rId73" Type="http://schemas.openxmlformats.org/officeDocument/2006/relationships/slide" Target="slides/slide67.xml"/><Relationship Id="rId78" Type="http://schemas.openxmlformats.org/officeDocument/2006/relationships/slide" Target="slides/slide72.xml"/><Relationship Id="rId94" Type="http://schemas.openxmlformats.org/officeDocument/2006/relationships/notesMaster" Target="notesMasters/notesMaster1.xml"/><Relationship Id="rId99" Type="http://schemas.openxmlformats.org/officeDocument/2006/relationships/font" Target="fonts/font4.fntdata"/><Relationship Id="rId101" Type="http://schemas.openxmlformats.org/officeDocument/2006/relationships/font" Target="fonts/font6.fntdata"/><Relationship Id="rId12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ousuf, Arsalan" userId="1f742cd1-60f2-4cc5-8102-e09412e517e3" providerId="ADAL" clId="{D740A55B-2757-4A26-8416-16C1FA58AE51}"/>
    <pc:docChg chg="custSel delSld modSld modSection">
      <pc:chgData name="Yousuf, Arsalan" userId="1f742cd1-60f2-4cc5-8102-e09412e517e3" providerId="ADAL" clId="{D740A55B-2757-4A26-8416-16C1FA58AE51}" dt="2024-01-19T13:52:43.084" v="55" actId="47"/>
      <pc:docMkLst>
        <pc:docMk/>
      </pc:docMkLst>
      <pc:sldChg chg="modSp mod">
        <pc:chgData name="Yousuf, Arsalan" userId="1f742cd1-60f2-4cc5-8102-e09412e517e3" providerId="ADAL" clId="{D740A55B-2757-4A26-8416-16C1FA58AE51}" dt="2024-01-19T13:51:41.267" v="52" actId="313"/>
        <pc:sldMkLst>
          <pc:docMk/>
          <pc:sldMk cId="963063207" sldId="2147479551"/>
        </pc:sldMkLst>
        <pc:spChg chg="mod">
          <ac:chgData name="Yousuf, Arsalan" userId="1f742cd1-60f2-4cc5-8102-e09412e517e3" providerId="ADAL" clId="{D740A55B-2757-4A26-8416-16C1FA58AE51}" dt="2024-01-19T13:51:19.894" v="15"/>
          <ac:spMkLst>
            <pc:docMk/>
            <pc:sldMk cId="963063207" sldId="2147479551"/>
            <ac:spMk id="21" creationId="{AECFE85C-6B00-CC95-86AA-FFCFBEF60451}"/>
          </ac:spMkLst>
        </pc:spChg>
        <pc:spChg chg="mod">
          <ac:chgData name="Yousuf, Arsalan" userId="1f742cd1-60f2-4cc5-8102-e09412e517e3" providerId="ADAL" clId="{D740A55B-2757-4A26-8416-16C1FA58AE51}" dt="2024-01-19T13:51:24.333" v="16"/>
          <ac:spMkLst>
            <pc:docMk/>
            <pc:sldMk cId="963063207" sldId="2147479551"/>
            <ac:spMk id="23" creationId="{AFDA9751-69E3-091A-9D32-6555CB329ADA}"/>
          </ac:spMkLst>
        </pc:spChg>
        <pc:spChg chg="mod">
          <ac:chgData name="Yousuf, Arsalan" userId="1f742cd1-60f2-4cc5-8102-e09412e517e3" providerId="ADAL" clId="{D740A55B-2757-4A26-8416-16C1FA58AE51}" dt="2024-01-19T13:51:41.267" v="52" actId="313"/>
          <ac:spMkLst>
            <pc:docMk/>
            <pc:sldMk cId="963063207" sldId="2147479551"/>
            <ac:spMk id="24" creationId="{56EDF2F9-6048-0F31-B11D-098F6251AFDF}"/>
          </ac:spMkLst>
        </pc:spChg>
        <pc:spChg chg="mod">
          <ac:chgData name="Yousuf, Arsalan" userId="1f742cd1-60f2-4cc5-8102-e09412e517e3" providerId="ADAL" clId="{D740A55B-2757-4A26-8416-16C1FA58AE51}" dt="2024-01-19T13:51:05.780" v="0"/>
          <ac:spMkLst>
            <pc:docMk/>
            <pc:sldMk cId="963063207" sldId="2147479551"/>
            <ac:spMk id="31" creationId="{EB336CB1-F0AF-00B0-D7E1-DFC95C0695C1}"/>
          </ac:spMkLst>
        </pc:spChg>
        <pc:spChg chg="mod">
          <ac:chgData name="Yousuf, Arsalan" userId="1f742cd1-60f2-4cc5-8102-e09412e517e3" providerId="ADAL" clId="{D740A55B-2757-4A26-8416-16C1FA58AE51}" dt="2024-01-19T13:51:10.060" v="14" actId="20577"/>
          <ac:spMkLst>
            <pc:docMk/>
            <pc:sldMk cId="963063207" sldId="2147479551"/>
            <ac:spMk id="34" creationId="{4D62FD28-571E-CB2C-B195-7BA2E02A9D6F}"/>
          </ac:spMkLst>
        </pc:spChg>
      </pc:sldChg>
      <pc:sldChg chg="addSp delSp modSp mod">
        <pc:chgData name="Yousuf, Arsalan" userId="1f742cd1-60f2-4cc5-8102-e09412e517e3" providerId="ADAL" clId="{D740A55B-2757-4A26-8416-16C1FA58AE51}" dt="2024-01-19T13:52:05.168" v="54"/>
        <pc:sldMkLst>
          <pc:docMk/>
          <pc:sldMk cId="234615984" sldId="2147479577"/>
        </pc:sldMkLst>
        <pc:spChg chg="add mod">
          <ac:chgData name="Yousuf, Arsalan" userId="1f742cd1-60f2-4cc5-8102-e09412e517e3" providerId="ADAL" clId="{D740A55B-2757-4A26-8416-16C1FA58AE51}" dt="2024-01-19T13:52:05.168" v="54"/>
          <ac:spMkLst>
            <pc:docMk/>
            <pc:sldMk cId="234615984" sldId="2147479577"/>
            <ac:spMk id="2" creationId="{0186CC89-3549-2116-3703-40F8AC696E92}"/>
          </ac:spMkLst>
        </pc:spChg>
        <pc:spChg chg="add mod">
          <ac:chgData name="Yousuf, Arsalan" userId="1f742cd1-60f2-4cc5-8102-e09412e517e3" providerId="ADAL" clId="{D740A55B-2757-4A26-8416-16C1FA58AE51}" dt="2024-01-19T13:52:05.168" v="54"/>
          <ac:spMkLst>
            <pc:docMk/>
            <pc:sldMk cId="234615984" sldId="2147479577"/>
            <ac:spMk id="3" creationId="{82EEE00A-EDA9-797E-CB82-56978AFDB29B}"/>
          </ac:spMkLst>
        </pc:spChg>
        <pc:spChg chg="add mod">
          <ac:chgData name="Yousuf, Arsalan" userId="1f742cd1-60f2-4cc5-8102-e09412e517e3" providerId="ADAL" clId="{D740A55B-2757-4A26-8416-16C1FA58AE51}" dt="2024-01-19T13:52:05.168" v="54"/>
          <ac:spMkLst>
            <pc:docMk/>
            <pc:sldMk cId="234615984" sldId="2147479577"/>
            <ac:spMk id="4" creationId="{3E420BC3-9BD4-CFA4-48D8-D824BC4E479A}"/>
          </ac:spMkLst>
        </pc:spChg>
        <pc:spChg chg="add mod">
          <ac:chgData name="Yousuf, Arsalan" userId="1f742cd1-60f2-4cc5-8102-e09412e517e3" providerId="ADAL" clId="{D740A55B-2757-4A26-8416-16C1FA58AE51}" dt="2024-01-19T13:52:05.168" v="54"/>
          <ac:spMkLst>
            <pc:docMk/>
            <pc:sldMk cId="234615984" sldId="2147479577"/>
            <ac:spMk id="5" creationId="{EA423F95-59DC-7E5B-606F-88B4CC712827}"/>
          </ac:spMkLst>
        </pc:spChg>
        <pc:spChg chg="mod">
          <ac:chgData name="Yousuf, Arsalan" userId="1f742cd1-60f2-4cc5-8102-e09412e517e3" providerId="ADAL" clId="{D740A55B-2757-4A26-8416-16C1FA58AE51}" dt="2024-01-19T13:52:05.168" v="54"/>
          <ac:spMkLst>
            <pc:docMk/>
            <pc:sldMk cId="234615984" sldId="2147479577"/>
            <ac:spMk id="7" creationId="{72E7AF71-C733-D0A1-2AC0-FBFEE2D9AA15}"/>
          </ac:spMkLst>
        </pc:spChg>
        <pc:spChg chg="mod">
          <ac:chgData name="Yousuf, Arsalan" userId="1f742cd1-60f2-4cc5-8102-e09412e517e3" providerId="ADAL" clId="{D740A55B-2757-4A26-8416-16C1FA58AE51}" dt="2024-01-19T13:52:05.168" v="54"/>
          <ac:spMkLst>
            <pc:docMk/>
            <pc:sldMk cId="234615984" sldId="2147479577"/>
            <ac:spMk id="9" creationId="{3FFE57B7-618D-89D2-3BFA-3F549DB9025C}"/>
          </ac:spMkLst>
        </pc:spChg>
        <pc:spChg chg="mod">
          <ac:chgData name="Yousuf, Arsalan" userId="1f742cd1-60f2-4cc5-8102-e09412e517e3" providerId="ADAL" clId="{D740A55B-2757-4A26-8416-16C1FA58AE51}" dt="2024-01-19T13:52:05.168" v="54"/>
          <ac:spMkLst>
            <pc:docMk/>
            <pc:sldMk cId="234615984" sldId="2147479577"/>
            <ac:spMk id="11" creationId="{BA60AC73-737A-DC4C-009A-14B8F0831810}"/>
          </ac:spMkLst>
        </pc:spChg>
        <pc:spChg chg="mod">
          <ac:chgData name="Yousuf, Arsalan" userId="1f742cd1-60f2-4cc5-8102-e09412e517e3" providerId="ADAL" clId="{D740A55B-2757-4A26-8416-16C1FA58AE51}" dt="2024-01-19T13:52:05.168" v="54"/>
          <ac:spMkLst>
            <pc:docMk/>
            <pc:sldMk cId="234615984" sldId="2147479577"/>
            <ac:spMk id="12" creationId="{81F32A41-5993-074D-87B2-41DE2F03C677}"/>
          </ac:spMkLst>
        </pc:spChg>
        <pc:spChg chg="mod">
          <ac:chgData name="Yousuf, Arsalan" userId="1f742cd1-60f2-4cc5-8102-e09412e517e3" providerId="ADAL" clId="{D740A55B-2757-4A26-8416-16C1FA58AE51}" dt="2024-01-19T13:52:05.168" v="54"/>
          <ac:spMkLst>
            <pc:docMk/>
            <pc:sldMk cId="234615984" sldId="2147479577"/>
            <ac:spMk id="14" creationId="{B529CE63-8E98-7025-A2BE-E6E3FD37BB97}"/>
          </ac:spMkLst>
        </pc:spChg>
        <pc:spChg chg="mod">
          <ac:chgData name="Yousuf, Arsalan" userId="1f742cd1-60f2-4cc5-8102-e09412e517e3" providerId="ADAL" clId="{D740A55B-2757-4A26-8416-16C1FA58AE51}" dt="2024-01-19T13:52:05.168" v="54"/>
          <ac:spMkLst>
            <pc:docMk/>
            <pc:sldMk cId="234615984" sldId="2147479577"/>
            <ac:spMk id="15" creationId="{EFDD8109-4186-B7DF-EA8C-291604414DAE}"/>
          </ac:spMkLst>
        </pc:spChg>
        <pc:spChg chg="mod">
          <ac:chgData name="Yousuf, Arsalan" userId="1f742cd1-60f2-4cc5-8102-e09412e517e3" providerId="ADAL" clId="{D740A55B-2757-4A26-8416-16C1FA58AE51}" dt="2024-01-19T13:52:05.168" v="54"/>
          <ac:spMkLst>
            <pc:docMk/>
            <pc:sldMk cId="234615984" sldId="2147479577"/>
            <ac:spMk id="17" creationId="{8F799A5F-3EBF-2701-F716-6E4386EB2828}"/>
          </ac:spMkLst>
        </pc:spChg>
        <pc:spChg chg="del">
          <ac:chgData name="Yousuf, Arsalan" userId="1f742cd1-60f2-4cc5-8102-e09412e517e3" providerId="ADAL" clId="{D740A55B-2757-4A26-8416-16C1FA58AE51}" dt="2024-01-19T13:52:04.860" v="53" actId="478"/>
          <ac:spMkLst>
            <pc:docMk/>
            <pc:sldMk cId="234615984" sldId="2147479577"/>
            <ac:spMk id="18" creationId="{499D7EF1-0DE3-F73B-4F95-B7096718917B}"/>
          </ac:spMkLst>
        </pc:spChg>
        <pc:spChg chg="del">
          <ac:chgData name="Yousuf, Arsalan" userId="1f742cd1-60f2-4cc5-8102-e09412e517e3" providerId="ADAL" clId="{D740A55B-2757-4A26-8416-16C1FA58AE51}" dt="2024-01-19T13:52:04.860" v="53" actId="478"/>
          <ac:spMkLst>
            <pc:docMk/>
            <pc:sldMk cId="234615984" sldId="2147479577"/>
            <ac:spMk id="22" creationId="{5595AD26-F007-1B62-AEED-C1A05FB49AFC}"/>
          </ac:spMkLst>
        </pc:spChg>
        <pc:spChg chg="del">
          <ac:chgData name="Yousuf, Arsalan" userId="1f742cd1-60f2-4cc5-8102-e09412e517e3" providerId="ADAL" clId="{D740A55B-2757-4A26-8416-16C1FA58AE51}" dt="2024-01-19T13:52:04.860" v="53" actId="478"/>
          <ac:spMkLst>
            <pc:docMk/>
            <pc:sldMk cId="234615984" sldId="2147479577"/>
            <ac:spMk id="23" creationId="{FAF80287-2DB3-EDBB-71B0-C956B2853C91}"/>
          </ac:spMkLst>
        </pc:spChg>
        <pc:spChg chg="del">
          <ac:chgData name="Yousuf, Arsalan" userId="1f742cd1-60f2-4cc5-8102-e09412e517e3" providerId="ADAL" clId="{D740A55B-2757-4A26-8416-16C1FA58AE51}" dt="2024-01-19T13:52:04.860" v="53" actId="478"/>
          <ac:spMkLst>
            <pc:docMk/>
            <pc:sldMk cId="234615984" sldId="2147479577"/>
            <ac:spMk id="24" creationId="{F8A86503-7696-F300-E811-3BB3E3E3B206}"/>
          </ac:spMkLst>
        </pc:spChg>
        <pc:spChg chg="mod">
          <ac:chgData name="Yousuf, Arsalan" userId="1f742cd1-60f2-4cc5-8102-e09412e517e3" providerId="ADAL" clId="{D740A55B-2757-4A26-8416-16C1FA58AE51}" dt="2024-01-19T13:52:05.168" v="54"/>
          <ac:spMkLst>
            <pc:docMk/>
            <pc:sldMk cId="234615984" sldId="2147479577"/>
            <ac:spMk id="28" creationId="{B409E8C4-E698-2CC1-71BF-14D593D63355}"/>
          </ac:spMkLst>
        </pc:spChg>
        <pc:spChg chg="mod">
          <ac:chgData name="Yousuf, Arsalan" userId="1f742cd1-60f2-4cc5-8102-e09412e517e3" providerId="ADAL" clId="{D740A55B-2757-4A26-8416-16C1FA58AE51}" dt="2024-01-19T13:52:05.168" v="54"/>
          <ac:spMkLst>
            <pc:docMk/>
            <pc:sldMk cId="234615984" sldId="2147479577"/>
            <ac:spMk id="30" creationId="{E5B46474-293A-9910-D959-27F8ED86E245}"/>
          </ac:spMkLst>
        </pc:spChg>
        <pc:spChg chg="mod">
          <ac:chgData name="Yousuf, Arsalan" userId="1f742cd1-60f2-4cc5-8102-e09412e517e3" providerId="ADAL" clId="{D740A55B-2757-4A26-8416-16C1FA58AE51}" dt="2024-01-19T13:52:05.168" v="54"/>
          <ac:spMkLst>
            <pc:docMk/>
            <pc:sldMk cId="234615984" sldId="2147479577"/>
            <ac:spMk id="31" creationId="{F0045A3C-9F3D-3664-4381-DDCE69406E3B}"/>
          </ac:spMkLst>
        </pc:spChg>
        <pc:spChg chg="mod">
          <ac:chgData name="Yousuf, Arsalan" userId="1f742cd1-60f2-4cc5-8102-e09412e517e3" providerId="ADAL" clId="{D740A55B-2757-4A26-8416-16C1FA58AE51}" dt="2024-01-19T13:52:05.168" v="54"/>
          <ac:spMkLst>
            <pc:docMk/>
            <pc:sldMk cId="234615984" sldId="2147479577"/>
            <ac:spMk id="33" creationId="{A354F5B9-B7B0-045C-6B3E-AE76FD90B5D5}"/>
          </ac:spMkLst>
        </pc:spChg>
        <pc:spChg chg="mod">
          <ac:chgData name="Yousuf, Arsalan" userId="1f742cd1-60f2-4cc5-8102-e09412e517e3" providerId="ADAL" clId="{D740A55B-2757-4A26-8416-16C1FA58AE51}" dt="2024-01-19T13:52:05.168" v="54"/>
          <ac:spMkLst>
            <pc:docMk/>
            <pc:sldMk cId="234615984" sldId="2147479577"/>
            <ac:spMk id="34" creationId="{FC89CED5-8A4E-CCAE-379D-45400CBCFD59}"/>
          </ac:spMkLst>
        </pc:spChg>
        <pc:spChg chg="add mod">
          <ac:chgData name="Yousuf, Arsalan" userId="1f742cd1-60f2-4cc5-8102-e09412e517e3" providerId="ADAL" clId="{D740A55B-2757-4A26-8416-16C1FA58AE51}" dt="2024-01-19T13:52:05.168" v="54"/>
          <ac:spMkLst>
            <pc:docMk/>
            <pc:sldMk cId="234615984" sldId="2147479577"/>
            <ac:spMk id="35" creationId="{D295258C-EBB7-C8DD-34E0-C4FE85183E4F}"/>
          </ac:spMkLst>
        </pc:spChg>
        <pc:spChg chg="add mod">
          <ac:chgData name="Yousuf, Arsalan" userId="1f742cd1-60f2-4cc5-8102-e09412e517e3" providerId="ADAL" clId="{D740A55B-2757-4A26-8416-16C1FA58AE51}" dt="2024-01-19T13:52:05.168" v="54"/>
          <ac:spMkLst>
            <pc:docMk/>
            <pc:sldMk cId="234615984" sldId="2147479577"/>
            <ac:spMk id="36" creationId="{5BC212CA-9E53-CFC3-03D2-47132EC52B9E}"/>
          </ac:spMkLst>
        </pc:spChg>
        <pc:spChg chg="add mod">
          <ac:chgData name="Yousuf, Arsalan" userId="1f742cd1-60f2-4cc5-8102-e09412e517e3" providerId="ADAL" clId="{D740A55B-2757-4A26-8416-16C1FA58AE51}" dt="2024-01-19T13:52:05.168" v="54"/>
          <ac:spMkLst>
            <pc:docMk/>
            <pc:sldMk cId="234615984" sldId="2147479577"/>
            <ac:spMk id="37" creationId="{7D638E0C-0F5E-E18A-1DE7-9DE5E84A20E2}"/>
          </ac:spMkLst>
        </pc:spChg>
        <pc:spChg chg="del">
          <ac:chgData name="Yousuf, Arsalan" userId="1f742cd1-60f2-4cc5-8102-e09412e517e3" providerId="ADAL" clId="{D740A55B-2757-4A26-8416-16C1FA58AE51}" dt="2024-01-19T13:52:04.860" v="53" actId="478"/>
          <ac:spMkLst>
            <pc:docMk/>
            <pc:sldMk cId="234615984" sldId="2147479577"/>
            <ac:spMk id="60" creationId="{45A509B6-7C4B-530C-3307-1827C2B048DB}"/>
          </ac:spMkLst>
        </pc:spChg>
        <pc:spChg chg="del">
          <ac:chgData name="Yousuf, Arsalan" userId="1f742cd1-60f2-4cc5-8102-e09412e517e3" providerId="ADAL" clId="{D740A55B-2757-4A26-8416-16C1FA58AE51}" dt="2024-01-19T13:52:04.860" v="53" actId="478"/>
          <ac:spMkLst>
            <pc:docMk/>
            <pc:sldMk cId="234615984" sldId="2147479577"/>
            <ac:spMk id="61" creationId="{A04CD333-1066-6A08-98B1-80C33A329076}"/>
          </ac:spMkLst>
        </pc:spChg>
        <pc:spChg chg="del">
          <ac:chgData name="Yousuf, Arsalan" userId="1f742cd1-60f2-4cc5-8102-e09412e517e3" providerId="ADAL" clId="{D740A55B-2757-4A26-8416-16C1FA58AE51}" dt="2024-01-19T13:52:04.860" v="53" actId="478"/>
          <ac:spMkLst>
            <pc:docMk/>
            <pc:sldMk cId="234615984" sldId="2147479577"/>
            <ac:spMk id="62" creationId="{AF13B8EF-00D7-9B6D-E2BD-5D0588E363BC}"/>
          </ac:spMkLst>
        </pc:spChg>
        <pc:grpChg chg="add mod">
          <ac:chgData name="Yousuf, Arsalan" userId="1f742cd1-60f2-4cc5-8102-e09412e517e3" providerId="ADAL" clId="{D740A55B-2757-4A26-8416-16C1FA58AE51}" dt="2024-01-19T13:52:05.168" v="54"/>
          <ac:grpSpMkLst>
            <pc:docMk/>
            <pc:sldMk cId="234615984" sldId="2147479577"/>
            <ac:grpSpMk id="6" creationId="{7C8AEE7D-9421-650F-17F1-AAF45313EA63}"/>
          </ac:grpSpMkLst>
        </pc:grpChg>
        <pc:grpChg chg="add mod">
          <ac:chgData name="Yousuf, Arsalan" userId="1f742cd1-60f2-4cc5-8102-e09412e517e3" providerId="ADAL" clId="{D740A55B-2757-4A26-8416-16C1FA58AE51}" dt="2024-01-19T13:52:05.168" v="54"/>
          <ac:grpSpMkLst>
            <pc:docMk/>
            <pc:sldMk cId="234615984" sldId="2147479577"/>
            <ac:grpSpMk id="10" creationId="{061EA202-7CF9-AD6B-1350-DFB24A49EDDA}"/>
          </ac:grpSpMkLst>
        </pc:grpChg>
        <pc:grpChg chg="add mod">
          <ac:chgData name="Yousuf, Arsalan" userId="1f742cd1-60f2-4cc5-8102-e09412e517e3" providerId="ADAL" clId="{D740A55B-2757-4A26-8416-16C1FA58AE51}" dt="2024-01-19T13:52:05.168" v="54"/>
          <ac:grpSpMkLst>
            <pc:docMk/>
            <pc:sldMk cId="234615984" sldId="2147479577"/>
            <ac:grpSpMk id="13" creationId="{D020EEFA-F20E-1E5F-A823-E61CD3275E43}"/>
          </ac:grpSpMkLst>
        </pc:grpChg>
        <pc:grpChg chg="add mod">
          <ac:chgData name="Yousuf, Arsalan" userId="1f742cd1-60f2-4cc5-8102-e09412e517e3" providerId="ADAL" clId="{D740A55B-2757-4A26-8416-16C1FA58AE51}" dt="2024-01-19T13:52:05.168" v="54"/>
          <ac:grpSpMkLst>
            <pc:docMk/>
            <pc:sldMk cId="234615984" sldId="2147479577"/>
            <ac:grpSpMk id="16" creationId="{5B9A76FA-EF32-6D35-476E-73349740AD97}"/>
          </ac:grpSpMkLst>
        </pc:grpChg>
        <pc:grpChg chg="del">
          <ac:chgData name="Yousuf, Arsalan" userId="1f742cd1-60f2-4cc5-8102-e09412e517e3" providerId="ADAL" clId="{D740A55B-2757-4A26-8416-16C1FA58AE51}" dt="2024-01-19T13:52:04.860" v="53" actId="478"/>
          <ac:grpSpMkLst>
            <pc:docMk/>
            <pc:sldMk cId="234615984" sldId="2147479577"/>
            <ac:grpSpMk id="25" creationId="{9FAB7DA3-90D5-455C-E9DD-E28023A90D93}"/>
          </ac:grpSpMkLst>
        </pc:grpChg>
        <pc:grpChg chg="add mod">
          <ac:chgData name="Yousuf, Arsalan" userId="1f742cd1-60f2-4cc5-8102-e09412e517e3" providerId="ADAL" clId="{D740A55B-2757-4A26-8416-16C1FA58AE51}" dt="2024-01-19T13:52:05.168" v="54"/>
          <ac:grpSpMkLst>
            <pc:docMk/>
            <pc:sldMk cId="234615984" sldId="2147479577"/>
            <ac:grpSpMk id="29" creationId="{3EDC19A2-ECD2-6BFD-4CA5-EB1CABBC0487}"/>
          </ac:grpSpMkLst>
        </pc:grpChg>
        <pc:grpChg chg="add mod">
          <ac:chgData name="Yousuf, Arsalan" userId="1f742cd1-60f2-4cc5-8102-e09412e517e3" providerId="ADAL" clId="{D740A55B-2757-4A26-8416-16C1FA58AE51}" dt="2024-01-19T13:52:05.168" v="54"/>
          <ac:grpSpMkLst>
            <pc:docMk/>
            <pc:sldMk cId="234615984" sldId="2147479577"/>
            <ac:grpSpMk id="32" creationId="{1C0F51EB-0855-625A-1E92-26EF071A533C}"/>
          </ac:grpSpMkLst>
        </pc:grpChg>
        <pc:grpChg chg="del">
          <ac:chgData name="Yousuf, Arsalan" userId="1f742cd1-60f2-4cc5-8102-e09412e517e3" providerId="ADAL" clId="{D740A55B-2757-4A26-8416-16C1FA58AE51}" dt="2024-01-19T13:52:04.860" v="53" actId="478"/>
          <ac:grpSpMkLst>
            <pc:docMk/>
            <pc:sldMk cId="234615984" sldId="2147479577"/>
            <ac:grpSpMk id="39" creationId="{353F041C-2EA4-78E8-B290-1FB8AF4F9D55}"/>
          </ac:grpSpMkLst>
        </pc:grpChg>
        <pc:grpChg chg="del">
          <ac:chgData name="Yousuf, Arsalan" userId="1f742cd1-60f2-4cc5-8102-e09412e517e3" providerId="ADAL" clId="{D740A55B-2757-4A26-8416-16C1FA58AE51}" dt="2024-01-19T13:52:04.860" v="53" actId="478"/>
          <ac:grpSpMkLst>
            <pc:docMk/>
            <pc:sldMk cId="234615984" sldId="2147479577"/>
            <ac:grpSpMk id="42" creationId="{7BDC50BB-6AF0-16F1-FD0F-1F6D8D250522}"/>
          </ac:grpSpMkLst>
        </pc:grpChg>
        <pc:grpChg chg="del">
          <ac:chgData name="Yousuf, Arsalan" userId="1f742cd1-60f2-4cc5-8102-e09412e517e3" providerId="ADAL" clId="{D740A55B-2757-4A26-8416-16C1FA58AE51}" dt="2024-01-19T13:52:04.860" v="53" actId="478"/>
          <ac:grpSpMkLst>
            <pc:docMk/>
            <pc:sldMk cId="234615984" sldId="2147479577"/>
            <ac:grpSpMk id="45" creationId="{74EE7EC0-84E6-2911-E44A-7DF1AADD756A}"/>
          </ac:grpSpMkLst>
        </pc:grpChg>
        <pc:grpChg chg="del">
          <ac:chgData name="Yousuf, Arsalan" userId="1f742cd1-60f2-4cc5-8102-e09412e517e3" providerId="ADAL" clId="{D740A55B-2757-4A26-8416-16C1FA58AE51}" dt="2024-01-19T13:52:04.860" v="53" actId="478"/>
          <ac:grpSpMkLst>
            <pc:docMk/>
            <pc:sldMk cId="234615984" sldId="2147479577"/>
            <ac:grpSpMk id="54" creationId="{0805EBA8-7AF1-AB4B-4654-B4C5AF2FC38B}"/>
          </ac:grpSpMkLst>
        </pc:grpChg>
        <pc:grpChg chg="del">
          <ac:chgData name="Yousuf, Arsalan" userId="1f742cd1-60f2-4cc5-8102-e09412e517e3" providerId="ADAL" clId="{D740A55B-2757-4A26-8416-16C1FA58AE51}" dt="2024-01-19T13:52:04.860" v="53" actId="478"/>
          <ac:grpSpMkLst>
            <pc:docMk/>
            <pc:sldMk cId="234615984" sldId="2147479577"/>
            <ac:grpSpMk id="57" creationId="{212F52D7-7927-A303-0B35-29E3A9EA61FB}"/>
          </ac:grpSpMkLst>
        </pc:grpChg>
      </pc:sldChg>
      <pc:sldChg chg="del">
        <pc:chgData name="Yousuf, Arsalan" userId="1f742cd1-60f2-4cc5-8102-e09412e517e3" providerId="ADAL" clId="{D740A55B-2757-4A26-8416-16C1FA58AE51}" dt="2024-01-19T13:52:43.084" v="55" actId="47"/>
        <pc:sldMkLst>
          <pc:docMk/>
          <pc:sldMk cId="1614713002" sldId="2147479582"/>
        </pc:sldMkLst>
      </pc:sldChg>
    </pc:docChg>
  </pc:docChgLst>
  <pc:docChgLst>
    <pc:chgData name="Yousuf, Arsalan" userId="1f742cd1-60f2-4cc5-8102-e09412e517e3" providerId="ADAL" clId="{15464559-230C-484E-9C98-D7B9D3FDBA96}"/>
    <pc:docChg chg="undo redo custSel addSld delSld modSld sldOrd modMainMaster modSection">
      <pc:chgData name="Yousuf, Arsalan" userId="1f742cd1-60f2-4cc5-8102-e09412e517e3" providerId="ADAL" clId="{15464559-230C-484E-9C98-D7B9D3FDBA96}" dt="2024-01-11T17:18:20.133" v="8032" actId="2696"/>
      <pc:docMkLst>
        <pc:docMk/>
      </pc:docMkLst>
      <pc:sldChg chg="addSp delSp modSp mod">
        <pc:chgData name="Yousuf, Arsalan" userId="1f742cd1-60f2-4cc5-8102-e09412e517e3" providerId="ADAL" clId="{15464559-230C-484E-9C98-D7B9D3FDBA96}" dt="2024-01-11T16:35:33.518" v="7669" actId="478"/>
        <pc:sldMkLst>
          <pc:docMk/>
          <pc:sldMk cId="0" sldId="290"/>
        </pc:sldMkLst>
        <pc:spChg chg="add del mod">
          <ac:chgData name="Yousuf, Arsalan" userId="1f742cd1-60f2-4cc5-8102-e09412e517e3" providerId="ADAL" clId="{15464559-230C-484E-9C98-D7B9D3FDBA96}" dt="2024-01-11T16:35:33.518" v="7669" actId="478"/>
          <ac:spMkLst>
            <pc:docMk/>
            <pc:sldMk cId="0" sldId="290"/>
            <ac:spMk id="3" creationId="{EC9807EB-EE9A-3E4A-D7DA-65DE6986C3CF}"/>
          </ac:spMkLst>
        </pc:spChg>
        <pc:spChg chg="del">
          <ac:chgData name="Yousuf, Arsalan" userId="1f742cd1-60f2-4cc5-8102-e09412e517e3" providerId="ADAL" clId="{15464559-230C-484E-9C98-D7B9D3FDBA96}" dt="2024-01-11T16:35:32.490" v="7668" actId="478"/>
          <ac:spMkLst>
            <pc:docMk/>
            <pc:sldMk cId="0" sldId="290"/>
            <ac:spMk id="977" creationId="{00000000-0000-0000-0000-000000000000}"/>
          </ac:spMkLst>
        </pc:spChg>
      </pc:sldChg>
      <pc:sldChg chg="del">
        <pc:chgData name="Yousuf, Arsalan" userId="1f742cd1-60f2-4cc5-8102-e09412e517e3" providerId="ADAL" clId="{15464559-230C-484E-9C98-D7B9D3FDBA96}" dt="2024-01-11T15:59:52.889" v="5364" actId="47"/>
        <pc:sldMkLst>
          <pc:docMk/>
          <pc:sldMk cId="3177471617" sldId="1930"/>
        </pc:sldMkLst>
      </pc:sldChg>
      <pc:sldChg chg="addSp delSp modSp mod chgLayout">
        <pc:chgData name="Yousuf, Arsalan" userId="1f742cd1-60f2-4cc5-8102-e09412e517e3" providerId="ADAL" clId="{15464559-230C-484E-9C98-D7B9D3FDBA96}" dt="2024-01-11T10:28:17.378" v="242" actId="20577"/>
        <pc:sldMkLst>
          <pc:docMk/>
          <pc:sldMk cId="898348701" sldId="2491"/>
        </pc:sldMkLst>
        <pc:spChg chg="add del mod ord">
          <ac:chgData name="Yousuf, Arsalan" userId="1f742cd1-60f2-4cc5-8102-e09412e517e3" providerId="ADAL" clId="{15464559-230C-484E-9C98-D7B9D3FDBA96}" dt="2024-01-11T10:12:30.770" v="30" actId="700"/>
          <ac:spMkLst>
            <pc:docMk/>
            <pc:sldMk cId="898348701" sldId="2491"/>
            <ac:spMk id="2" creationId="{24D670D9-16BE-8BCB-08BF-B77D89876AD5}"/>
          </ac:spMkLst>
        </pc:spChg>
        <pc:spChg chg="add del mod ord">
          <ac:chgData name="Yousuf, Arsalan" userId="1f742cd1-60f2-4cc5-8102-e09412e517e3" providerId="ADAL" clId="{15464559-230C-484E-9C98-D7B9D3FDBA96}" dt="2024-01-11T10:12:30.770" v="30" actId="700"/>
          <ac:spMkLst>
            <pc:docMk/>
            <pc:sldMk cId="898348701" sldId="2491"/>
            <ac:spMk id="3" creationId="{F216F0DA-ADA0-1DBD-633B-4FEC47B6D71E}"/>
          </ac:spMkLst>
        </pc:spChg>
        <pc:spChg chg="add del mod ord">
          <ac:chgData name="Yousuf, Arsalan" userId="1f742cd1-60f2-4cc5-8102-e09412e517e3" providerId="ADAL" clId="{15464559-230C-484E-9C98-D7B9D3FDBA96}" dt="2024-01-11T10:12:30.770" v="30" actId="700"/>
          <ac:spMkLst>
            <pc:docMk/>
            <pc:sldMk cId="898348701" sldId="2491"/>
            <ac:spMk id="4" creationId="{1A3204FB-1D3C-6964-41BC-42B2E0055C39}"/>
          </ac:spMkLst>
        </pc:spChg>
        <pc:spChg chg="mod">
          <ac:chgData name="Yousuf, Arsalan" userId="1f742cd1-60f2-4cc5-8102-e09412e517e3" providerId="ADAL" clId="{15464559-230C-484E-9C98-D7B9D3FDBA96}" dt="2024-01-11T10:28:17.378" v="242" actId="20577"/>
          <ac:spMkLst>
            <pc:docMk/>
            <pc:sldMk cId="898348701" sldId="2491"/>
            <ac:spMk id="13" creationId="{6D0E63B3-BAB8-A7A7-9C0D-02487EB52407}"/>
          </ac:spMkLst>
        </pc:spChg>
        <pc:spChg chg="mod">
          <ac:chgData name="Yousuf, Arsalan" userId="1f742cd1-60f2-4cc5-8102-e09412e517e3" providerId="ADAL" clId="{15464559-230C-484E-9C98-D7B9D3FDBA96}" dt="2024-01-11T10:15:15.755" v="92" actId="20577"/>
          <ac:spMkLst>
            <pc:docMk/>
            <pc:sldMk cId="898348701" sldId="2491"/>
            <ac:spMk id="15" creationId="{7446B9AC-B94F-3A8A-B012-3020CAAEF1F5}"/>
          </ac:spMkLst>
        </pc:spChg>
        <pc:spChg chg="mod">
          <ac:chgData name="Yousuf, Arsalan" userId="1f742cd1-60f2-4cc5-8102-e09412e517e3" providerId="ADAL" clId="{15464559-230C-484E-9C98-D7B9D3FDBA96}" dt="2024-01-11T10:26:01.093" v="118"/>
          <ac:spMkLst>
            <pc:docMk/>
            <pc:sldMk cId="898348701" sldId="2491"/>
            <ac:spMk id="16" creationId="{E714DE90-2E57-4528-CF84-CFF56EACE46B}"/>
          </ac:spMkLst>
        </pc:spChg>
        <pc:picChg chg="add del mod">
          <ac:chgData name="Yousuf, Arsalan" userId="1f742cd1-60f2-4cc5-8102-e09412e517e3" providerId="ADAL" clId="{15464559-230C-484E-9C98-D7B9D3FDBA96}" dt="2024-01-11T10:12:48.218" v="33" actId="478"/>
          <ac:picMkLst>
            <pc:docMk/>
            <pc:sldMk cId="898348701" sldId="2491"/>
            <ac:picMk id="5" creationId="{1D297453-31B8-20F6-A29A-6360367416A7}"/>
          </ac:picMkLst>
        </pc:picChg>
        <pc:picChg chg="add del">
          <ac:chgData name="Yousuf, Arsalan" userId="1f742cd1-60f2-4cc5-8102-e09412e517e3" providerId="ADAL" clId="{15464559-230C-484E-9C98-D7B9D3FDBA96}" dt="2024-01-11T10:12:55.487" v="35" actId="478"/>
          <ac:picMkLst>
            <pc:docMk/>
            <pc:sldMk cId="898348701" sldId="2491"/>
            <ac:picMk id="6" creationId="{F3BCD6A2-4B94-D2B4-9061-F487A3F630EF}"/>
          </ac:picMkLst>
        </pc:picChg>
        <pc:picChg chg="add mod modCrop">
          <ac:chgData name="Yousuf, Arsalan" userId="1f742cd1-60f2-4cc5-8102-e09412e517e3" providerId="ADAL" clId="{15464559-230C-484E-9C98-D7B9D3FDBA96}" dt="2024-01-11T10:14:35.105" v="65" actId="1076"/>
          <ac:picMkLst>
            <pc:docMk/>
            <pc:sldMk cId="898348701" sldId="2491"/>
            <ac:picMk id="7" creationId="{2EC9464E-2C45-B5BC-56D6-4548977FC31B}"/>
          </ac:picMkLst>
        </pc:picChg>
        <pc:picChg chg="del">
          <ac:chgData name="Yousuf, Arsalan" userId="1f742cd1-60f2-4cc5-8102-e09412e517e3" providerId="ADAL" clId="{15464559-230C-484E-9C98-D7B9D3FDBA96}" dt="2024-01-11T10:14:08.258" v="56" actId="478"/>
          <ac:picMkLst>
            <pc:docMk/>
            <pc:sldMk cId="898348701" sldId="2491"/>
            <ac:picMk id="25" creationId="{914E8034-D74E-540D-9731-FD4CA7F38305}"/>
          </ac:picMkLst>
        </pc:picChg>
      </pc:sldChg>
      <pc:sldChg chg="del">
        <pc:chgData name="Yousuf, Arsalan" userId="1f742cd1-60f2-4cc5-8102-e09412e517e3" providerId="ADAL" clId="{15464559-230C-484E-9C98-D7B9D3FDBA96}" dt="2024-01-11T15:59:52.889" v="5364" actId="47"/>
        <pc:sldMkLst>
          <pc:docMk/>
          <pc:sldMk cId="2326156301" sldId="2147376854"/>
        </pc:sldMkLst>
      </pc:sldChg>
      <pc:sldChg chg="addSp delSp modSp mod">
        <pc:chgData name="Yousuf, Arsalan" userId="1f742cd1-60f2-4cc5-8102-e09412e517e3" providerId="ADAL" clId="{15464559-230C-484E-9C98-D7B9D3FDBA96}" dt="2024-01-11T16:00:09.307" v="5371" actId="207"/>
        <pc:sldMkLst>
          <pc:docMk/>
          <pc:sldMk cId="3151105576" sldId="2147376855"/>
        </pc:sldMkLst>
        <pc:spChg chg="add mod">
          <ac:chgData name="Yousuf, Arsalan" userId="1f742cd1-60f2-4cc5-8102-e09412e517e3" providerId="ADAL" clId="{15464559-230C-484E-9C98-D7B9D3FDBA96}" dt="2024-01-11T16:00:09.307" v="5371" actId="207"/>
          <ac:spMkLst>
            <pc:docMk/>
            <pc:sldMk cId="3151105576" sldId="2147376855"/>
            <ac:spMk id="2" creationId="{EF869277-3AD1-1DD2-B8CE-AD7EE6C37CCC}"/>
          </ac:spMkLst>
        </pc:spChg>
        <pc:spChg chg="del">
          <ac:chgData name="Yousuf, Arsalan" userId="1f742cd1-60f2-4cc5-8102-e09412e517e3" providerId="ADAL" clId="{15464559-230C-484E-9C98-D7B9D3FDBA96}" dt="2024-01-11T15:59:46.773" v="5363" actId="478"/>
          <ac:spMkLst>
            <pc:docMk/>
            <pc:sldMk cId="3151105576" sldId="2147376855"/>
            <ac:spMk id="44" creationId="{04140727-1091-4F0A-833F-8EC6BC949C3A}"/>
          </ac:spMkLst>
        </pc:spChg>
        <pc:spChg chg="del">
          <ac:chgData name="Yousuf, Arsalan" userId="1f742cd1-60f2-4cc5-8102-e09412e517e3" providerId="ADAL" clId="{15464559-230C-484E-9C98-D7B9D3FDBA96}" dt="2024-01-11T15:59:46.773" v="5363" actId="478"/>
          <ac:spMkLst>
            <pc:docMk/>
            <pc:sldMk cId="3151105576" sldId="2147376855"/>
            <ac:spMk id="45" creationId="{DDCA2564-E2DA-4BF8-AF6C-6043EA10BD05}"/>
          </ac:spMkLst>
        </pc:spChg>
        <pc:spChg chg="del">
          <ac:chgData name="Yousuf, Arsalan" userId="1f742cd1-60f2-4cc5-8102-e09412e517e3" providerId="ADAL" clId="{15464559-230C-484E-9C98-D7B9D3FDBA96}" dt="2024-01-11T15:59:46.773" v="5363" actId="478"/>
          <ac:spMkLst>
            <pc:docMk/>
            <pc:sldMk cId="3151105576" sldId="2147376855"/>
            <ac:spMk id="46" creationId="{5BAAE4AF-620E-49BD-9BE6-C5CEEC859CB3}"/>
          </ac:spMkLst>
        </pc:spChg>
        <pc:spChg chg="del">
          <ac:chgData name="Yousuf, Arsalan" userId="1f742cd1-60f2-4cc5-8102-e09412e517e3" providerId="ADAL" clId="{15464559-230C-484E-9C98-D7B9D3FDBA96}" dt="2024-01-11T15:59:46.773" v="5363" actId="478"/>
          <ac:spMkLst>
            <pc:docMk/>
            <pc:sldMk cId="3151105576" sldId="2147376855"/>
            <ac:spMk id="47" creationId="{EEA99F71-9254-4FD4-B8EF-732AF76618E5}"/>
          </ac:spMkLst>
        </pc:spChg>
        <pc:spChg chg="del">
          <ac:chgData name="Yousuf, Arsalan" userId="1f742cd1-60f2-4cc5-8102-e09412e517e3" providerId="ADAL" clId="{15464559-230C-484E-9C98-D7B9D3FDBA96}" dt="2024-01-11T15:59:46.773" v="5363" actId="478"/>
          <ac:spMkLst>
            <pc:docMk/>
            <pc:sldMk cId="3151105576" sldId="2147376855"/>
            <ac:spMk id="48" creationId="{4290A2AC-A334-4C18-AEEB-07CA92DCED81}"/>
          </ac:spMkLst>
        </pc:spChg>
        <pc:spChg chg="del">
          <ac:chgData name="Yousuf, Arsalan" userId="1f742cd1-60f2-4cc5-8102-e09412e517e3" providerId="ADAL" clId="{15464559-230C-484E-9C98-D7B9D3FDBA96}" dt="2024-01-11T15:59:46.773" v="5363" actId="478"/>
          <ac:spMkLst>
            <pc:docMk/>
            <pc:sldMk cId="3151105576" sldId="2147376855"/>
            <ac:spMk id="49" creationId="{7DE0E70E-4753-41A5-B2B5-4557699E5B5E}"/>
          </ac:spMkLst>
        </pc:spChg>
        <pc:spChg chg="del">
          <ac:chgData name="Yousuf, Arsalan" userId="1f742cd1-60f2-4cc5-8102-e09412e517e3" providerId="ADAL" clId="{15464559-230C-484E-9C98-D7B9D3FDBA96}" dt="2024-01-11T15:59:46.773" v="5363" actId="478"/>
          <ac:spMkLst>
            <pc:docMk/>
            <pc:sldMk cId="3151105576" sldId="2147376855"/>
            <ac:spMk id="50" creationId="{266C5E0A-044F-4C4D-BD2F-100BB47532DA}"/>
          </ac:spMkLst>
        </pc:spChg>
        <pc:spChg chg="del">
          <ac:chgData name="Yousuf, Arsalan" userId="1f742cd1-60f2-4cc5-8102-e09412e517e3" providerId="ADAL" clId="{15464559-230C-484E-9C98-D7B9D3FDBA96}" dt="2024-01-11T15:59:46.773" v="5363" actId="478"/>
          <ac:spMkLst>
            <pc:docMk/>
            <pc:sldMk cId="3151105576" sldId="2147376855"/>
            <ac:spMk id="51" creationId="{BC8A1542-3CB1-4916-BBD2-7B8DAE098DC7}"/>
          </ac:spMkLst>
        </pc:spChg>
        <pc:spChg chg="del">
          <ac:chgData name="Yousuf, Arsalan" userId="1f742cd1-60f2-4cc5-8102-e09412e517e3" providerId="ADAL" clId="{15464559-230C-484E-9C98-D7B9D3FDBA96}" dt="2024-01-11T15:59:46.773" v="5363" actId="478"/>
          <ac:spMkLst>
            <pc:docMk/>
            <pc:sldMk cId="3151105576" sldId="2147376855"/>
            <ac:spMk id="52" creationId="{3FC093AF-F94F-43B0-8795-54CFED1EB83D}"/>
          </ac:spMkLst>
        </pc:spChg>
        <pc:spChg chg="del">
          <ac:chgData name="Yousuf, Arsalan" userId="1f742cd1-60f2-4cc5-8102-e09412e517e3" providerId="ADAL" clId="{15464559-230C-484E-9C98-D7B9D3FDBA96}" dt="2024-01-11T15:59:46.773" v="5363" actId="478"/>
          <ac:spMkLst>
            <pc:docMk/>
            <pc:sldMk cId="3151105576" sldId="2147376855"/>
            <ac:spMk id="53" creationId="{51BFCF56-E88F-4ADC-862F-9EAC0C2F137A}"/>
          </ac:spMkLst>
        </pc:spChg>
        <pc:spChg chg="del">
          <ac:chgData name="Yousuf, Arsalan" userId="1f742cd1-60f2-4cc5-8102-e09412e517e3" providerId="ADAL" clId="{15464559-230C-484E-9C98-D7B9D3FDBA96}" dt="2024-01-11T15:59:46.773" v="5363" actId="478"/>
          <ac:spMkLst>
            <pc:docMk/>
            <pc:sldMk cId="3151105576" sldId="2147376855"/>
            <ac:spMk id="54" creationId="{0B2A4F53-7A66-44C2-8387-2242D8F9BF7D}"/>
          </ac:spMkLst>
        </pc:spChg>
        <pc:spChg chg="del">
          <ac:chgData name="Yousuf, Arsalan" userId="1f742cd1-60f2-4cc5-8102-e09412e517e3" providerId="ADAL" clId="{15464559-230C-484E-9C98-D7B9D3FDBA96}" dt="2024-01-11T15:59:46.773" v="5363" actId="478"/>
          <ac:spMkLst>
            <pc:docMk/>
            <pc:sldMk cId="3151105576" sldId="2147376855"/>
            <ac:spMk id="55" creationId="{CFF4C81C-696C-4D51-BD76-B40C24EC0E0C}"/>
          </ac:spMkLst>
        </pc:spChg>
        <pc:grpChg chg="add mod">
          <ac:chgData name="Yousuf, Arsalan" userId="1f742cd1-60f2-4cc5-8102-e09412e517e3" providerId="ADAL" clId="{15464559-230C-484E-9C98-D7B9D3FDBA96}" dt="2024-01-11T16:00:06.246" v="5370"/>
          <ac:grpSpMkLst>
            <pc:docMk/>
            <pc:sldMk cId="3151105576" sldId="2147376855"/>
            <ac:grpSpMk id="3" creationId="{9C5DB190-8792-2F3A-1849-78493344B146}"/>
          </ac:grpSpMkLst>
        </pc:grpChg>
        <pc:grpChg chg="mod">
          <ac:chgData name="Yousuf, Arsalan" userId="1f742cd1-60f2-4cc5-8102-e09412e517e3" providerId="ADAL" clId="{15464559-230C-484E-9C98-D7B9D3FDBA96}" dt="2024-01-11T16:00:06.246" v="5370"/>
          <ac:grpSpMkLst>
            <pc:docMk/>
            <pc:sldMk cId="3151105576" sldId="2147376855"/>
            <ac:grpSpMk id="5" creationId="{53FDA781-0850-D728-C521-FD7CA88C8CAD}"/>
          </ac:grpSpMkLst>
        </pc:grpChg>
        <pc:grpChg chg="mod">
          <ac:chgData name="Yousuf, Arsalan" userId="1f742cd1-60f2-4cc5-8102-e09412e517e3" providerId="ADAL" clId="{15464559-230C-484E-9C98-D7B9D3FDBA96}" dt="2024-01-11T16:00:06.246" v="5370"/>
          <ac:grpSpMkLst>
            <pc:docMk/>
            <pc:sldMk cId="3151105576" sldId="2147376855"/>
            <ac:grpSpMk id="6" creationId="{D2DD3506-1967-CEF4-2B04-5432BBF16C9C}"/>
          </ac:grpSpMkLst>
        </pc:grpChg>
        <pc:grpChg chg="mod">
          <ac:chgData name="Yousuf, Arsalan" userId="1f742cd1-60f2-4cc5-8102-e09412e517e3" providerId="ADAL" clId="{15464559-230C-484E-9C98-D7B9D3FDBA96}" dt="2024-01-11T16:00:06.246" v="5370"/>
          <ac:grpSpMkLst>
            <pc:docMk/>
            <pc:sldMk cId="3151105576" sldId="2147376855"/>
            <ac:grpSpMk id="7" creationId="{6821CD92-9134-D6DE-7BD1-211282E3724C}"/>
          </ac:grpSpMkLst>
        </pc:grpChg>
        <pc:grpChg chg="mod">
          <ac:chgData name="Yousuf, Arsalan" userId="1f742cd1-60f2-4cc5-8102-e09412e517e3" providerId="ADAL" clId="{15464559-230C-484E-9C98-D7B9D3FDBA96}" dt="2024-01-11T16:00:06.246" v="5370"/>
          <ac:grpSpMkLst>
            <pc:docMk/>
            <pc:sldMk cId="3151105576" sldId="2147376855"/>
            <ac:grpSpMk id="12" creationId="{F3AE8BD5-4CA4-43E2-9D73-50A6B946A79F}"/>
          </ac:grpSpMkLst>
        </pc:grpChg>
        <pc:grpChg chg="mod">
          <ac:chgData name="Yousuf, Arsalan" userId="1f742cd1-60f2-4cc5-8102-e09412e517e3" providerId="ADAL" clId="{15464559-230C-484E-9C98-D7B9D3FDBA96}" dt="2024-01-11T16:00:06.246" v="5370"/>
          <ac:grpSpMkLst>
            <pc:docMk/>
            <pc:sldMk cId="3151105576" sldId="2147376855"/>
            <ac:grpSpMk id="17" creationId="{DD51185D-D3CC-EAF4-CDB7-282B26DFA874}"/>
          </ac:grpSpMkLst>
        </pc:grpChg>
        <pc:graphicFrameChg chg="mod">
          <ac:chgData name="Yousuf, Arsalan" userId="1f742cd1-60f2-4cc5-8102-e09412e517e3" providerId="ADAL" clId="{15464559-230C-484E-9C98-D7B9D3FDBA96}" dt="2024-01-11T16:00:06.246" v="5370"/>
          <ac:graphicFrameMkLst>
            <pc:docMk/>
            <pc:sldMk cId="3151105576" sldId="2147376855"/>
            <ac:graphicFrameMk id="28" creationId="{260C1C5C-53B9-4F61-BBC3-B3787025A14E}"/>
          </ac:graphicFrameMkLst>
        </pc:graphicFrameChg>
        <pc:picChg chg="mod">
          <ac:chgData name="Yousuf, Arsalan" userId="1f742cd1-60f2-4cc5-8102-e09412e517e3" providerId="ADAL" clId="{15464559-230C-484E-9C98-D7B9D3FDBA96}" dt="2024-01-11T16:00:06.246" v="5370"/>
          <ac:picMkLst>
            <pc:docMk/>
            <pc:sldMk cId="3151105576" sldId="2147376855"/>
            <ac:picMk id="8" creationId="{DE358FF5-0CA1-854B-7DB3-E3303CA798E5}"/>
          </ac:picMkLst>
        </pc:picChg>
        <pc:picChg chg="mod">
          <ac:chgData name="Yousuf, Arsalan" userId="1f742cd1-60f2-4cc5-8102-e09412e517e3" providerId="ADAL" clId="{15464559-230C-484E-9C98-D7B9D3FDBA96}" dt="2024-01-11T16:00:06.246" v="5370"/>
          <ac:picMkLst>
            <pc:docMk/>
            <pc:sldMk cId="3151105576" sldId="2147376855"/>
            <ac:picMk id="9" creationId="{823A95F6-1F54-CD87-7BA4-AB84E0FB25F1}"/>
          </ac:picMkLst>
        </pc:picChg>
        <pc:picChg chg="mod">
          <ac:chgData name="Yousuf, Arsalan" userId="1f742cd1-60f2-4cc5-8102-e09412e517e3" providerId="ADAL" clId="{15464559-230C-484E-9C98-D7B9D3FDBA96}" dt="2024-01-11T16:00:06.246" v="5370"/>
          <ac:picMkLst>
            <pc:docMk/>
            <pc:sldMk cId="3151105576" sldId="2147376855"/>
            <ac:picMk id="10" creationId="{AB90FE88-0E44-1DDD-C88D-A1A283B8A2D2}"/>
          </ac:picMkLst>
        </pc:picChg>
        <pc:picChg chg="mod">
          <ac:chgData name="Yousuf, Arsalan" userId="1f742cd1-60f2-4cc5-8102-e09412e517e3" providerId="ADAL" clId="{15464559-230C-484E-9C98-D7B9D3FDBA96}" dt="2024-01-11T16:00:06.246" v="5370"/>
          <ac:picMkLst>
            <pc:docMk/>
            <pc:sldMk cId="3151105576" sldId="2147376855"/>
            <ac:picMk id="11" creationId="{6E149A6A-DFD1-1685-093D-48D330D0317B}"/>
          </ac:picMkLst>
        </pc:picChg>
        <pc:picChg chg="mod">
          <ac:chgData name="Yousuf, Arsalan" userId="1f742cd1-60f2-4cc5-8102-e09412e517e3" providerId="ADAL" clId="{15464559-230C-484E-9C98-D7B9D3FDBA96}" dt="2024-01-11T16:00:06.246" v="5370"/>
          <ac:picMkLst>
            <pc:docMk/>
            <pc:sldMk cId="3151105576" sldId="2147376855"/>
            <ac:picMk id="13" creationId="{BEB5FFC9-069A-FD25-9EB2-E0B21442B2FB}"/>
          </ac:picMkLst>
        </pc:picChg>
        <pc:picChg chg="mod">
          <ac:chgData name="Yousuf, Arsalan" userId="1f742cd1-60f2-4cc5-8102-e09412e517e3" providerId="ADAL" clId="{15464559-230C-484E-9C98-D7B9D3FDBA96}" dt="2024-01-11T16:00:06.246" v="5370"/>
          <ac:picMkLst>
            <pc:docMk/>
            <pc:sldMk cId="3151105576" sldId="2147376855"/>
            <ac:picMk id="14" creationId="{8040100C-D149-34F1-C6CA-8D6B7008F25D}"/>
          </ac:picMkLst>
        </pc:picChg>
        <pc:picChg chg="mod">
          <ac:chgData name="Yousuf, Arsalan" userId="1f742cd1-60f2-4cc5-8102-e09412e517e3" providerId="ADAL" clId="{15464559-230C-484E-9C98-D7B9D3FDBA96}" dt="2024-01-11T16:00:06.246" v="5370"/>
          <ac:picMkLst>
            <pc:docMk/>
            <pc:sldMk cId="3151105576" sldId="2147376855"/>
            <ac:picMk id="15" creationId="{B22E531F-E790-63E6-9302-04B77D52E133}"/>
          </ac:picMkLst>
        </pc:picChg>
        <pc:picChg chg="mod">
          <ac:chgData name="Yousuf, Arsalan" userId="1f742cd1-60f2-4cc5-8102-e09412e517e3" providerId="ADAL" clId="{15464559-230C-484E-9C98-D7B9D3FDBA96}" dt="2024-01-11T16:00:06.246" v="5370"/>
          <ac:picMkLst>
            <pc:docMk/>
            <pc:sldMk cId="3151105576" sldId="2147376855"/>
            <ac:picMk id="16" creationId="{100F3C54-D373-02FE-4CAF-A4A4A2DCAA77}"/>
          </ac:picMkLst>
        </pc:picChg>
        <pc:picChg chg="mod">
          <ac:chgData name="Yousuf, Arsalan" userId="1f742cd1-60f2-4cc5-8102-e09412e517e3" providerId="ADAL" clId="{15464559-230C-484E-9C98-D7B9D3FDBA96}" dt="2024-01-11T16:00:06.246" v="5370"/>
          <ac:picMkLst>
            <pc:docMk/>
            <pc:sldMk cId="3151105576" sldId="2147376855"/>
            <ac:picMk id="18" creationId="{588A1767-E2CD-CFEB-D2D9-255C89B438BC}"/>
          </ac:picMkLst>
        </pc:picChg>
        <pc:picChg chg="mod">
          <ac:chgData name="Yousuf, Arsalan" userId="1f742cd1-60f2-4cc5-8102-e09412e517e3" providerId="ADAL" clId="{15464559-230C-484E-9C98-D7B9D3FDBA96}" dt="2024-01-11T16:00:06.246" v="5370"/>
          <ac:picMkLst>
            <pc:docMk/>
            <pc:sldMk cId="3151105576" sldId="2147376855"/>
            <ac:picMk id="19" creationId="{E8C4CB00-D3ED-2688-D1C5-49B92C8C66FF}"/>
          </ac:picMkLst>
        </pc:picChg>
        <pc:picChg chg="mod">
          <ac:chgData name="Yousuf, Arsalan" userId="1f742cd1-60f2-4cc5-8102-e09412e517e3" providerId="ADAL" clId="{15464559-230C-484E-9C98-D7B9D3FDBA96}" dt="2024-01-11T16:00:06.246" v="5370"/>
          <ac:picMkLst>
            <pc:docMk/>
            <pc:sldMk cId="3151105576" sldId="2147376855"/>
            <ac:picMk id="20" creationId="{F8BC8CF6-99AE-8DA2-1171-DD70FFC76F34}"/>
          </ac:picMkLst>
        </pc:picChg>
        <pc:picChg chg="mod">
          <ac:chgData name="Yousuf, Arsalan" userId="1f742cd1-60f2-4cc5-8102-e09412e517e3" providerId="ADAL" clId="{15464559-230C-484E-9C98-D7B9D3FDBA96}" dt="2024-01-11T16:00:06.246" v="5370"/>
          <ac:picMkLst>
            <pc:docMk/>
            <pc:sldMk cId="3151105576" sldId="2147376855"/>
            <ac:picMk id="21" creationId="{665B0AFF-C292-0A33-52EC-074DFC3685EE}"/>
          </ac:picMkLst>
        </pc:picChg>
        <pc:picChg chg="mod">
          <ac:chgData name="Yousuf, Arsalan" userId="1f742cd1-60f2-4cc5-8102-e09412e517e3" providerId="ADAL" clId="{15464559-230C-484E-9C98-D7B9D3FDBA96}" dt="2024-01-11T16:00:06.246" v="5370"/>
          <ac:picMkLst>
            <pc:docMk/>
            <pc:sldMk cId="3151105576" sldId="2147376855"/>
            <ac:picMk id="22" creationId="{A312492D-C23E-5225-1286-255FB4940FA0}"/>
          </ac:picMkLst>
        </pc:picChg>
        <pc:picChg chg="mod">
          <ac:chgData name="Yousuf, Arsalan" userId="1f742cd1-60f2-4cc5-8102-e09412e517e3" providerId="ADAL" clId="{15464559-230C-484E-9C98-D7B9D3FDBA96}" dt="2024-01-11T16:00:06.246" v="5370"/>
          <ac:picMkLst>
            <pc:docMk/>
            <pc:sldMk cId="3151105576" sldId="2147376855"/>
            <ac:picMk id="23" creationId="{516DD48A-4F10-5910-9704-7BABC6019CC1}"/>
          </ac:picMkLst>
        </pc:picChg>
        <pc:picChg chg="mod">
          <ac:chgData name="Yousuf, Arsalan" userId="1f742cd1-60f2-4cc5-8102-e09412e517e3" providerId="ADAL" clId="{15464559-230C-484E-9C98-D7B9D3FDBA96}" dt="2024-01-11T16:00:06.246" v="5370"/>
          <ac:picMkLst>
            <pc:docMk/>
            <pc:sldMk cId="3151105576" sldId="2147376855"/>
            <ac:picMk id="24" creationId="{8F3D140D-0378-AFC3-3EAD-3DD98238D087}"/>
          </ac:picMkLst>
        </pc:picChg>
        <pc:picChg chg="mod">
          <ac:chgData name="Yousuf, Arsalan" userId="1f742cd1-60f2-4cc5-8102-e09412e517e3" providerId="ADAL" clId="{15464559-230C-484E-9C98-D7B9D3FDBA96}" dt="2024-01-11T16:00:06.246" v="5370"/>
          <ac:picMkLst>
            <pc:docMk/>
            <pc:sldMk cId="3151105576" sldId="2147376855"/>
            <ac:picMk id="25" creationId="{78780870-625F-8E3B-D3B6-D361DE2F83CE}"/>
          </ac:picMkLst>
        </pc:picChg>
        <pc:picChg chg="mod">
          <ac:chgData name="Yousuf, Arsalan" userId="1f742cd1-60f2-4cc5-8102-e09412e517e3" providerId="ADAL" clId="{15464559-230C-484E-9C98-D7B9D3FDBA96}" dt="2024-01-11T16:00:06.246" v="5370"/>
          <ac:picMkLst>
            <pc:docMk/>
            <pc:sldMk cId="3151105576" sldId="2147376855"/>
            <ac:picMk id="26" creationId="{DAC3FDD5-3077-5701-7FBA-C73E7BC0031A}"/>
          </ac:picMkLst>
        </pc:picChg>
        <pc:picChg chg="mod">
          <ac:chgData name="Yousuf, Arsalan" userId="1f742cd1-60f2-4cc5-8102-e09412e517e3" providerId="ADAL" clId="{15464559-230C-484E-9C98-D7B9D3FDBA96}" dt="2024-01-11T16:00:06.246" v="5370"/>
          <ac:picMkLst>
            <pc:docMk/>
            <pc:sldMk cId="3151105576" sldId="2147376855"/>
            <ac:picMk id="27" creationId="{84019FD8-1A2C-9326-5042-B49F1DF67DB6}"/>
          </ac:picMkLst>
        </pc:picChg>
        <pc:picChg chg="mod">
          <ac:chgData name="Yousuf, Arsalan" userId="1f742cd1-60f2-4cc5-8102-e09412e517e3" providerId="ADAL" clId="{15464559-230C-484E-9C98-D7B9D3FDBA96}" dt="2024-01-11T16:00:06.246" v="5370"/>
          <ac:picMkLst>
            <pc:docMk/>
            <pc:sldMk cId="3151105576" sldId="2147376855"/>
            <ac:picMk id="29" creationId="{18991B9B-AB03-5ED2-DDE4-F17F3234AAB8}"/>
          </ac:picMkLst>
        </pc:picChg>
        <pc:picChg chg="mod">
          <ac:chgData name="Yousuf, Arsalan" userId="1f742cd1-60f2-4cc5-8102-e09412e517e3" providerId="ADAL" clId="{15464559-230C-484E-9C98-D7B9D3FDBA96}" dt="2024-01-11T16:00:06.246" v="5370"/>
          <ac:picMkLst>
            <pc:docMk/>
            <pc:sldMk cId="3151105576" sldId="2147376855"/>
            <ac:picMk id="30" creationId="{AFC2E3E4-5F58-CAEA-B3D5-2C788FBBB7BF}"/>
          </ac:picMkLst>
        </pc:picChg>
        <pc:picChg chg="mod">
          <ac:chgData name="Yousuf, Arsalan" userId="1f742cd1-60f2-4cc5-8102-e09412e517e3" providerId="ADAL" clId="{15464559-230C-484E-9C98-D7B9D3FDBA96}" dt="2024-01-11T16:00:06.246" v="5370"/>
          <ac:picMkLst>
            <pc:docMk/>
            <pc:sldMk cId="3151105576" sldId="2147376855"/>
            <ac:picMk id="31" creationId="{CA64CC0E-7F12-0351-457E-0595A0017B76}"/>
          </ac:picMkLst>
        </pc:picChg>
        <pc:picChg chg="mod">
          <ac:chgData name="Yousuf, Arsalan" userId="1f742cd1-60f2-4cc5-8102-e09412e517e3" providerId="ADAL" clId="{15464559-230C-484E-9C98-D7B9D3FDBA96}" dt="2024-01-11T16:00:06.246" v="5370"/>
          <ac:picMkLst>
            <pc:docMk/>
            <pc:sldMk cId="3151105576" sldId="2147376855"/>
            <ac:picMk id="32" creationId="{C2E440C5-3411-E88F-6C86-E37465F2E308}"/>
          </ac:picMkLst>
        </pc:picChg>
        <pc:picChg chg="mod">
          <ac:chgData name="Yousuf, Arsalan" userId="1f742cd1-60f2-4cc5-8102-e09412e517e3" providerId="ADAL" clId="{15464559-230C-484E-9C98-D7B9D3FDBA96}" dt="2024-01-11T16:00:06.246" v="5370"/>
          <ac:picMkLst>
            <pc:docMk/>
            <pc:sldMk cId="3151105576" sldId="2147376855"/>
            <ac:picMk id="33" creationId="{85FE1A63-6E78-1FDE-F2E1-9BEFF64D96A4}"/>
          </ac:picMkLst>
        </pc:picChg>
        <pc:picChg chg="mod">
          <ac:chgData name="Yousuf, Arsalan" userId="1f742cd1-60f2-4cc5-8102-e09412e517e3" providerId="ADAL" clId="{15464559-230C-484E-9C98-D7B9D3FDBA96}" dt="2024-01-11T16:00:06.246" v="5370"/>
          <ac:picMkLst>
            <pc:docMk/>
            <pc:sldMk cId="3151105576" sldId="2147376855"/>
            <ac:picMk id="34" creationId="{B535F1C0-D216-5CA3-933E-7D76946C4B29}"/>
          </ac:picMkLst>
        </pc:picChg>
        <pc:picChg chg="mod">
          <ac:chgData name="Yousuf, Arsalan" userId="1f742cd1-60f2-4cc5-8102-e09412e517e3" providerId="ADAL" clId="{15464559-230C-484E-9C98-D7B9D3FDBA96}" dt="2024-01-11T16:00:06.246" v="5370"/>
          <ac:picMkLst>
            <pc:docMk/>
            <pc:sldMk cId="3151105576" sldId="2147376855"/>
            <ac:picMk id="35" creationId="{B7B64C57-F2C1-F90B-19E3-801CBFD16348}"/>
          </ac:picMkLst>
        </pc:picChg>
        <pc:picChg chg="mod">
          <ac:chgData name="Yousuf, Arsalan" userId="1f742cd1-60f2-4cc5-8102-e09412e517e3" providerId="ADAL" clId="{15464559-230C-484E-9C98-D7B9D3FDBA96}" dt="2024-01-11T16:00:06.246" v="5370"/>
          <ac:picMkLst>
            <pc:docMk/>
            <pc:sldMk cId="3151105576" sldId="2147376855"/>
            <ac:picMk id="36" creationId="{6E880779-CFA2-6A67-CF84-BEF96B11D30E}"/>
          </ac:picMkLst>
        </pc:picChg>
        <pc:picChg chg="mod">
          <ac:chgData name="Yousuf, Arsalan" userId="1f742cd1-60f2-4cc5-8102-e09412e517e3" providerId="ADAL" clId="{15464559-230C-484E-9C98-D7B9D3FDBA96}" dt="2024-01-11T16:00:06.246" v="5370"/>
          <ac:picMkLst>
            <pc:docMk/>
            <pc:sldMk cId="3151105576" sldId="2147376855"/>
            <ac:picMk id="37" creationId="{966EFA85-5CA4-F70E-E5EF-E797F44ADF0F}"/>
          </ac:picMkLst>
        </pc:picChg>
        <pc:picChg chg="mod">
          <ac:chgData name="Yousuf, Arsalan" userId="1f742cd1-60f2-4cc5-8102-e09412e517e3" providerId="ADAL" clId="{15464559-230C-484E-9C98-D7B9D3FDBA96}" dt="2024-01-11T16:00:06.246" v="5370"/>
          <ac:picMkLst>
            <pc:docMk/>
            <pc:sldMk cId="3151105576" sldId="2147376855"/>
            <ac:picMk id="38" creationId="{3242EEF8-DCB4-581E-E75F-BBF171E2565B}"/>
          </ac:picMkLst>
        </pc:picChg>
        <pc:picChg chg="mod">
          <ac:chgData name="Yousuf, Arsalan" userId="1f742cd1-60f2-4cc5-8102-e09412e517e3" providerId="ADAL" clId="{15464559-230C-484E-9C98-D7B9D3FDBA96}" dt="2024-01-11T16:00:06.246" v="5370"/>
          <ac:picMkLst>
            <pc:docMk/>
            <pc:sldMk cId="3151105576" sldId="2147376855"/>
            <ac:picMk id="39" creationId="{99BFDBED-0BA5-0ACE-29C3-503AA5D78C3A}"/>
          </ac:picMkLst>
        </pc:picChg>
        <pc:picChg chg="mod">
          <ac:chgData name="Yousuf, Arsalan" userId="1f742cd1-60f2-4cc5-8102-e09412e517e3" providerId="ADAL" clId="{15464559-230C-484E-9C98-D7B9D3FDBA96}" dt="2024-01-11T16:00:06.246" v="5370"/>
          <ac:picMkLst>
            <pc:docMk/>
            <pc:sldMk cId="3151105576" sldId="2147376855"/>
            <ac:picMk id="40" creationId="{B0132270-AE9D-60D6-AB19-AC8805720B97}"/>
          </ac:picMkLst>
        </pc:picChg>
        <pc:picChg chg="mod">
          <ac:chgData name="Yousuf, Arsalan" userId="1f742cd1-60f2-4cc5-8102-e09412e517e3" providerId="ADAL" clId="{15464559-230C-484E-9C98-D7B9D3FDBA96}" dt="2024-01-11T16:00:06.246" v="5370"/>
          <ac:picMkLst>
            <pc:docMk/>
            <pc:sldMk cId="3151105576" sldId="2147376855"/>
            <ac:picMk id="41" creationId="{CB44827C-7BFC-0B03-FA62-701FAA3ECF98}"/>
          </ac:picMkLst>
        </pc:picChg>
        <pc:picChg chg="mod">
          <ac:chgData name="Yousuf, Arsalan" userId="1f742cd1-60f2-4cc5-8102-e09412e517e3" providerId="ADAL" clId="{15464559-230C-484E-9C98-D7B9D3FDBA96}" dt="2024-01-11T16:00:06.246" v="5370"/>
          <ac:picMkLst>
            <pc:docMk/>
            <pc:sldMk cId="3151105576" sldId="2147376855"/>
            <ac:picMk id="42" creationId="{2DAE1CD8-7B48-7CDB-5EF0-1B62CF564465}"/>
          </ac:picMkLst>
        </pc:picChg>
        <pc:picChg chg="mod">
          <ac:chgData name="Yousuf, Arsalan" userId="1f742cd1-60f2-4cc5-8102-e09412e517e3" providerId="ADAL" clId="{15464559-230C-484E-9C98-D7B9D3FDBA96}" dt="2024-01-11T16:00:06.246" v="5370"/>
          <ac:picMkLst>
            <pc:docMk/>
            <pc:sldMk cId="3151105576" sldId="2147376855"/>
            <ac:picMk id="43" creationId="{B193BB44-330E-9446-2C43-0667CE2D40DD}"/>
          </ac:picMkLst>
        </pc:picChg>
        <pc:picChg chg="del">
          <ac:chgData name="Yousuf, Arsalan" userId="1f742cd1-60f2-4cc5-8102-e09412e517e3" providerId="ADAL" clId="{15464559-230C-484E-9C98-D7B9D3FDBA96}" dt="2024-01-11T15:59:46.773" v="5363" actId="478"/>
          <ac:picMkLst>
            <pc:docMk/>
            <pc:sldMk cId="3151105576" sldId="2147376855"/>
            <ac:picMk id="57" creationId="{E1FDD80D-C5F4-472D-97BE-6F54648C65CC}"/>
          </ac:picMkLst>
        </pc:picChg>
        <pc:picChg chg="del">
          <ac:chgData name="Yousuf, Arsalan" userId="1f742cd1-60f2-4cc5-8102-e09412e517e3" providerId="ADAL" clId="{15464559-230C-484E-9C98-D7B9D3FDBA96}" dt="2024-01-11T15:59:46.773" v="5363" actId="478"/>
          <ac:picMkLst>
            <pc:docMk/>
            <pc:sldMk cId="3151105576" sldId="2147376855"/>
            <ac:picMk id="58" creationId="{5BA4F909-878F-4813-BA4A-2667F4E88A12}"/>
          </ac:picMkLst>
        </pc:picChg>
        <pc:picChg chg="del">
          <ac:chgData name="Yousuf, Arsalan" userId="1f742cd1-60f2-4cc5-8102-e09412e517e3" providerId="ADAL" clId="{15464559-230C-484E-9C98-D7B9D3FDBA96}" dt="2024-01-11T15:59:46.773" v="5363" actId="478"/>
          <ac:picMkLst>
            <pc:docMk/>
            <pc:sldMk cId="3151105576" sldId="2147376855"/>
            <ac:picMk id="59" creationId="{D2DFAAE6-93C4-48ED-B13E-B83260903023}"/>
          </ac:picMkLst>
        </pc:picChg>
        <pc:picChg chg="del">
          <ac:chgData name="Yousuf, Arsalan" userId="1f742cd1-60f2-4cc5-8102-e09412e517e3" providerId="ADAL" clId="{15464559-230C-484E-9C98-D7B9D3FDBA96}" dt="2024-01-11T15:59:46.773" v="5363" actId="478"/>
          <ac:picMkLst>
            <pc:docMk/>
            <pc:sldMk cId="3151105576" sldId="2147376855"/>
            <ac:picMk id="60" creationId="{3E68BDE0-064D-4409-884E-8BA96B0E7265}"/>
          </ac:picMkLst>
        </pc:picChg>
        <pc:picChg chg="mod">
          <ac:chgData name="Yousuf, Arsalan" userId="1f742cd1-60f2-4cc5-8102-e09412e517e3" providerId="ADAL" clId="{15464559-230C-484E-9C98-D7B9D3FDBA96}" dt="2024-01-11T16:00:06.246" v="5370"/>
          <ac:picMkLst>
            <pc:docMk/>
            <pc:sldMk cId="3151105576" sldId="2147376855"/>
            <ac:picMk id="61" creationId="{2A2B8C2C-8818-5999-74F9-D36BB9826FA2}"/>
          </ac:picMkLst>
        </pc:picChg>
      </pc:sldChg>
      <pc:sldChg chg="del">
        <pc:chgData name="Yousuf, Arsalan" userId="1f742cd1-60f2-4cc5-8102-e09412e517e3" providerId="ADAL" clId="{15464559-230C-484E-9C98-D7B9D3FDBA96}" dt="2024-01-11T15:59:52.889" v="5364" actId="47"/>
        <pc:sldMkLst>
          <pc:docMk/>
          <pc:sldMk cId="2210067631" sldId="2147376856"/>
        </pc:sldMkLst>
      </pc:sldChg>
      <pc:sldChg chg="addSp delSp modSp mod delCm">
        <pc:chgData name="Yousuf, Arsalan" userId="1f742cd1-60f2-4cc5-8102-e09412e517e3" providerId="ADAL" clId="{15464559-230C-484E-9C98-D7B9D3FDBA96}" dt="2024-01-11T16:48:34.658" v="7940" actId="20577"/>
        <pc:sldMkLst>
          <pc:docMk/>
          <pc:sldMk cId="854730228" sldId="2147376882"/>
        </pc:sldMkLst>
        <pc:spChg chg="del mod">
          <ac:chgData name="Yousuf, Arsalan" userId="1f742cd1-60f2-4cc5-8102-e09412e517e3" providerId="ADAL" clId="{15464559-230C-484E-9C98-D7B9D3FDBA96}" dt="2024-01-11T10:25:06.507" v="105" actId="478"/>
          <ac:spMkLst>
            <pc:docMk/>
            <pc:sldMk cId="854730228" sldId="2147376882"/>
            <ac:spMk id="2" creationId="{DC1100D7-F8F9-3012-0AD6-09317D816C92}"/>
          </ac:spMkLst>
        </pc:spChg>
        <pc:spChg chg="add mod">
          <ac:chgData name="Yousuf, Arsalan" userId="1f742cd1-60f2-4cc5-8102-e09412e517e3" providerId="ADAL" clId="{15464559-230C-484E-9C98-D7B9D3FDBA96}" dt="2024-01-11T10:25:10.549" v="107" actId="14100"/>
          <ac:spMkLst>
            <pc:docMk/>
            <pc:sldMk cId="854730228" sldId="2147376882"/>
            <ac:spMk id="6" creationId="{2E0A79D4-8259-2562-8601-77BFA36B0E4C}"/>
          </ac:spMkLst>
        </pc:spChg>
        <pc:spChg chg="add mod">
          <ac:chgData name="Yousuf, Arsalan" userId="1f742cd1-60f2-4cc5-8102-e09412e517e3" providerId="ADAL" clId="{15464559-230C-484E-9C98-D7B9D3FDBA96}" dt="2024-01-11T10:26:08.707" v="119"/>
          <ac:spMkLst>
            <pc:docMk/>
            <pc:sldMk cId="854730228" sldId="2147376882"/>
            <ac:spMk id="7" creationId="{DF53F291-21C4-516B-CE25-E2C5D45261C1}"/>
          </ac:spMkLst>
        </pc:spChg>
        <pc:spChg chg="add del mod">
          <ac:chgData name="Yousuf, Arsalan" userId="1f742cd1-60f2-4cc5-8102-e09412e517e3" providerId="ADAL" clId="{15464559-230C-484E-9C98-D7B9D3FDBA96}" dt="2024-01-11T10:27:13.683" v="163"/>
          <ac:spMkLst>
            <pc:docMk/>
            <pc:sldMk cId="854730228" sldId="2147376882"/>
            <ac:spMk id="8" creationId="{BB95AB7D-5653-F955-E8BD-3F76A4A23096}"/>
          </ac:spMkLst>
        </pc:spChg>
        <pc:spChg chg="add del mod">
          <ac:chgData name="Yousuf, Arsalan" userId="1f742cd1-60f2-4cc5-8102-e09412e517e3" providerId="ADAL" clId="{15464559-230C-484E-9C98-D7B9D3FDBA96}" dt="2024-01-11T10:27:13.683" v="163"/>
          <ac:spMkLst>
            <pc:docMk/>
            <pc:sldMk cId="854730228" sldId="2147376882"/>
            <ac:spMk id="9" creationId="{1A5B4247-5A28-B80A-7325-BFB650027C3D}"/>
          </ac:spMkLst>
        </pc:spChg>
        <pc:spChg chg="add mod">
          <ac:chgData name="Yousuf, Arsalan" userId="1f742cd1-60f2-4cc5-8102-e09412e517e3" providerId="ADAL" clId="{15464559-230C-484E-9C98-D7B9D3FDBA96}" dt="2024-01-11T10:27:39.079" v="182" actId="255"/>
          <ac:spMkLst>
            <pc:docMk/>
            <pc:sldMk cId="854730228" sldId="2147376882"/>
            <ac:spMk id="10" creationId="{888F7D82-9921-9FBF-F13A-9E7DF807C38D}"/>
          </ac:spMkLst>
        </pc:spChg>
        <pc:spChg chg="add mod">
          <ac:chgData name="Yousuf, Arsalan" userId="1f742cd1-60f2-4cc5-8102-e09412e517e3" providerId="ADAL" clId="{15464559-230C-484E-9C98-D7B9D3FDBA96}" dt="2024-01-11T10:27:39.079" v="182" actId="255"/>
          <ac:spMkLst>
            <pc:docMk/>
            <pc:sldMk cId="854730228" sldId="2147376882"/>
            <ac:spMk id="11" creationId="{C486627A-B6BB-24DA-6742-F66ADEB11FB6}"/>
          </ac:spMkLst>
        </pc:spChg>
        <pc:spChg chg="mod">
          <ac:chgData name="Yousuf, Arsalan" userId="1f742cd1-60f2-4cc5-8102-e09412e517e3" providerId="ADAL" clId="{15464559-230C-484E-9C98-D7B9D3FDBA96}" dt="2024-01-11T10:27:39.079" v="182" actId="255"/>
          <ac:spMkLst>
            <pc:docMk/>
            <pc:sldMk cId="854730228" sldId="2147376882"/>
            <ac:spMk id="20" creationId="{00000000-0000-0000-0000-000000000000}"/>
          </ac:spMkLst>
        </pc:spChg>
        <pc:graphicFrameChg chg="add del mod">
          <ac:chgData name="Yousuf, Arsalan" userId="1f742cd1-60f2-4cc5-8102-e09412e517e3" providerId="ADAL" clId="{15464559-230C-484E-9C98-D7B9D3FDBA96}" dt="2024-01-11T10:24:47.115" v="96"/>
          <ac:graphicFrameMkLst>
            <pc:docMk/>
            <pc:sldMk cId="854730228" sldId="2147376882"/>
            <ac:graphicFrameMk id="3" creationId="{CBA05447-D997-24D1-9192-030786718C5C}"/>
          </ac:graphicFrameMkLst>
        </pc:graphicFrameChg>
        <pc:graphicFrameChg chg="del">
          <ac:chgData name="Yousuf, Arsalan" userId="1f742cd1-60f2-4cc5-8102-e09412e517e3" providerId="ADAL" clId="{15464559-230C-484E-9C98-D7B9D3FDBA96}" dt="2024-01-11T10:24:43.136" v="94" actId="478"/>
          <ac:graphicFrameMkLst>
            <pc:docMk/>
            <pc:sldMk cId="854730228" sldId="2147376882"/>
            <ac:graphicFrameMk id="4" creationId="{96769F40-FD08-B4A7-CA40-D338F4D4AF55}"/>
          </ac:graphicFrameMkLst>
        </pc:graphicFrameChg>
        <pc:graphicFrameChg chg="add mod modGraphic">
          <ac:chgData name="Yousuf, Arsalan" userId="1f742cd1-60f2-4cc5-8102-e09412e517e3" providerId="ADAL" clId="{15464559-230C-484E-9C98-D7B9D3FDBA96}" dt="2024-01-11T16:48:34.658" v="7940" actId="20577"/>
          <ac:graphicFrameMkLst>
            <pc:docMk/>
            <pc:sldMk cId="854730228" sldId="2147376882"/>
            <ac:graphicFrameMk id="5" creationId="{90AB59D8-1377-5B9C-BF8F-F67FE730092B}"/>
          </ac:graphicFrameMkLst>
        </pc:graphicFrameChg>
      </pc:sldChg>
      <pc:sldChg chg="del">
        <pc:chgData name="Yousuf, Arsalan" userId="1f742cd1-60f2-4cc5-8102-e09412e517e3" providerId="ADAL" clId="{15464559-230C-484E-9C98-D7B9D3FDBA96}" dt="2024-01-11T15:59:52.889" v="5364" actId="47"/>
        <pc:sldMkLst>
          <pc:docMk/>
          <pc:sldMk cId="3614529180" sldId="2147376886"/>
        </pc:sldMkLst>
      </pc:sldChg>
      <pc:sldChg chg="modSp mod">
        <pc:chgData name="Yousuf, Arsalan" userId="1f742cd1-60f2-4cc5-8102-e09412e517e3" providerId="ADAL" clId="{15464559-230C-484E-9C98-D7B9D3FDBA96}" dt="2024-01-11T16:03:11.862" v="5407" actId="113"/>
        <pc:sldMkLst>
          <pc:docMk/>
          <pc:sldMk cId="3815032160" sldId="2147469415"/>
        </pc:sldMkLst>
        <pc:spChg chg="mod">
          <ac:chgData name="Yousuf, Arsalan" userId="1f742cd1-60f2-4cc5-8102-e09412e517e3" providerId="ADAL" clId="{15464559-230C-484E-9C98-D7B9D3FDBA96}" dt="2024-01-11T16:03:11.862" v="5407" actId="113"/>
          <ac:spMkLst>
            <pc:docMk/>
            <pc:sldMk cId="3815032160" sldId="2147469415"/>
            <ac:spMk id="2" creationId="{BC34625A-4F50-4216-97E9-D8C18D7981AA}"/>
          </ac:spMkLst>
        </pc:spChg>
        <pc:spChg chg="mod">
          <ac:chgData name="Yousuf, Arsalan" userId="1f742cd1-60f2-4cc5-8102-e09412e517e3" providerId="ADAL" clId="{15464559-230C-484E-9C98-D7B9D3FDBA96}" dt="2024-01-11T16:03:07.172" v="5406" actId="2711"/>
          <ac:spMkLst>
            <pc:docMk/>
            <pc:sldMk cId="3815032160" sldId="2147469415"/>
            <ac:spMk id="3" creationId="{A3C6915B-73DD-4DB7-BF83-AC8365F75693}"/>
          </ac:spMkLst>
        </pc:spChg>
      </pc:sldChg>
      <pc:sldChg chg="delSp modSp del mod">
        <pc:chgData name="Yousuf, Arsalan" userId="1f742cd1-60f2-4cc5-8102-e09412e517e3" providerId="ADAL" clId="{15464559-230C-484E-9C98-D7B9D3FDBA96}" dt="2024-01-11T16:39:32.825" v="7703" actId="47"/>
        <pc:sldMkLst>
          <pc:docMk/>
          <pc:sldMk cId="618232867" sldId="2147469426"/>
        </pc:sldMkLst>
        <pc:spChg chg="mod">
          <ac:chgData name="Yousuf, Arsalan" userId="1f742cd1-60f2-4cc5-8102-e09412e517e3" providerId="ADAL" clId="{15464559-230C-484E-9C98-D7B9D3FDBA96}" dt="2024-01-11T16:39:05.720" v="7701"/>
          <ac:spMkLst>
            <pc:docMk/>
            <pc:sldMk cId="618232867" sldId="2147469426"/>
            <ac:spMk id="3" creationId="{6F914314-A01C-44E3-AC84-C79B490DD84B}"/>
          </ac:spMkLst>
        </pc:spChg>
        <pc:spChg chg="del">
          <ac:chgData name="Yousuf, Arsalan" userId="1f742cd1-60f2-4cc5-8102-e09412e517e3" providerId="ADAL" clId="{15464559-230C-484E-9C98-D7B9D3FDBA96}" dt="2024-01-11T16:34:29.681" v="7649" actId="478"/>
          <ac:spMkLst>
            <pc:docMk/>
            <pc:sldMk cId="618232867" sldId="2147469426"/>
            <ac:spMk id="6" creationId="{F4C78F83-41B0-4965-B128-DA8A072FFA11}"/>
          </ac:spMkLst>
        </pc:spChg>
        <pc:spChg chg="del">
          <ac:chgData name="Yousuf, Arsalan" userId="1f742cd1-60f2-4cc5-8102-e09412e517e3" providerId="ADAL" clId="{15464559-230C-484E-9C98-D7B9D3FDBA96}" dt="2024-01-11T16:34:29.681" v="7649" actId="478"/>
          <ac:spMkLst>
            <pc:docMk/>
            <pc:sldMk cId="618232867" sldId="2147469426"/>
            <ac:spMk id="7" creationId="{F2A7DDB8-0B06-4AC0-B5E4-6683C7EF796E}"/>
          </ac:spMkLst>
        </pc:spChg>
      </pc:sldChg>
      <pc:sldChg chg="del">
        <pc:chgData name="Yousuf, Arsalan" userId="1f742cd1-60f2-4cc5-8102-e09412e517e3" providerId="ADAL" clId="{15464559-230C-484E-9C98-D7B9D3FDBA96}" dt="2024-01-11T16:34:38.925" v="7651" actId="47"/>
        <pc:sldMkLst>
          <pc:docMk/>
          <pc:sldMk cId="1833341781" sldId="2147469427"/>
        </pc:sldMkLst>
      </pc:sldChg>
      <pc:sldChg chg="del">
        <pc:chgData name="Yousuf, Arsalan" userId="1f742cd1-60f2-4cc5-8102-e09412e517e3" providerId="ADAL" clId="{15464559-230C-484E-9C98-D7B9D3FDBA96}" dt="2024-01-11T16:34:38.925" v="7651" actId="47"/>
        <pc:sldMkLst>
          <pc:docMk/>
          <pc:sldMk cId="893027299" sldId="2147469428"/>
        </pc:sldMkLst>
      </pc:sldChg>
      <pc:sldChg chg="del">
        <pc:chgData name="Yousuf, Arsalan" userId="1f742cd1-60f2-4cc5-8102-e09412e517e3" providerId="ADAL" clId="{15464559-230C-484E-9C98-D7B9D3FDBA96}" dt="2024-01-11T16:34:38.925" v="7651" actId="47"/>
        <pc:sldMkLst>
          <pc:docMk/>
          <pc:sldMk cId="2877793751" sldId="2147469429"/>
        </pc:sldMkLst>
      </pc:sldChg>
      <pc:sldChg chg="del">
        <pc:chgData name="Yousuf, Arsalan" userId="1f742cd1-60f2-4cc5-8102-e09412e517e3" providerId="ADAL" clId="{15464559-230C-484E-9C98-D7B9D3FDBA96}" dt="2024-01-11T16:34:38.925" v="7651" actId="47"/>
        <pc:sldMkLst>
          <pc:docMk/>
          <pc:sldMk cId="1086324409" sldId="2147469430"/>
        </pc:sldMkLst>
      </pc:sldChg>
      <pc:sldChg chg="del">
        <pc:chgData name="Yousuf, Arsalan" userId="1f742cd1-60f2-4cc5-8102-e09412e517e3" providerId="ADAL" clId="{15464559-230C-484E-9C98-D7B9D3FDBA96}" dt="2024-01-11T16:34:38.925" v="7651" actId="47"/>
        <pc:sldMkLst>
          <pc:docMk/>
          <pc:sldMk cId="1941732062" sldId="2147469431"/>
        </pc:sldMkLst>
      </pc:sldChg>
      <pc:sldChg chg="del">
        <pc:chgData name="Yousuf, Arsalan" userId="1f742cd1-60f2-4cc5-8102-e09412e517e3" providerId="ADAL" clId="{15464559-230C-484E-9C98-D7B9D3FDBA96}" dt="2024-01-11T16:34:38.925" v="7651" actId="47"/>
        <pc:sldMkLst>
          <pc:docMk/>
          <pc:sldMk cId="1638462135" sldId="2147469433"/>
        </pc:sldMkLst>
      </pc:sldChg>
      <pc:sldChg chg="del">
        <pc:chgData name="Yousuf, Arsalan" userId="1f742cd1-60f2-4cc5-8102-e09412e517e3" providerId="ADAL" clId="{15464559-230C-484E-9C98-D7B9D3FDBA96}" dt="2024-01-11T16:34:38.925" v="7651" actId="47"/>
        <pc:sldMkLst>
          <pc:docMk/>
          <pc:sldMk cId="1950388612" sldId="2147469442"/>
        </pc:sldMkLst>
      </pc:sldChg>
      <pc:sldChg chg="modSp del mod">
        <pc:chgData name="Yousuf, Arsalan" userId="1f742cd1-60f2-4cc5-8102-e09412e517e3" providerId="ADAL" clId="{15464559-230C-484E-9C98-D7B9D3FDBA96}" dt="2024-01-11T10:15:19.410" v="93" actId="47"/>
        <pc:sldMkLst>
          <pc:docMk/>
          <pc:sldMk cId="0" sldId="2147469492"/>
        </pc:sldMkLst>
        <pc:spChg chg="mod">
          <ac:chgData name="Yousuf, Arsalan" userId="1f742cd1-60f2-4cc5-8102-e09412e517e3" providerId="ADAL" clId="{15464559-230C-484E-9C98-D7B9D3FDBA96}" dt="2024-01-11T10:10:52.278" v="28" actId="20577"/>
          <ac:spMkLst>
            <pc:docMk/>
            <pc:sldMk cId="0" sldId="2147469492"/>
            <ac:spMk id="400" creationId="{00000000-0000-0000-0000-000000000000}"/>
          </ac:spMkLst>
        </pc:spChg>
      </pc:sldChg>
      <pc:sldChg chg="modSp mod">
        <pc:chgData name="Yousuf, Arsalan" userId="1f742cd1-60f2-4cc5-8102-e09412e517e3" providerId="ADAL" clId="{15464559-230C-484E-9C98-D7B9D3FDBA96}" dt="2024-01-11T16:04:43.165" v="5429" actId="2711"/>
        <pc:sldMkLst>
          <pc:docMk/>
          <pc:sldMk cId="3812115710" sldId="2147469513"/>
        </pc:sldMkLst>
        <pc:spChg chg="mod">
          <ac:chgData name="Yousuf, Arsalan" userId="1f742cd1-60f2-4cc5-8102-e09412e517e3" providerId="ADAL" clId="{15464559-230C-484E-9C98-D7B9D3FDBA96}" dt="2024-01-11T16:04:43.165" v="5429" actId="2711"/>
          <ac:spMkLst>
            <pc:docMk/>
            <pc:sldMk cId="3812115710" sldId="2147469513"/>
            <ac:spMk id="5" creationId="{361504AD-9623-9115-82D2-B4972C529EFF}"/>
          </ac:spMkLst>
        </pc:spChg>
        <pc:spChg chg="mod">
          <ac:chgData name="Yousuf, Arsalan" userId="1f742cd1-60f2-4cc5-8102-e09412e517e3" providerId="ADAL" clId="{15464559-230C-484E-9C98-D7B9D3FDBA96}" dt="2024-01-11T16:04:43.165" v="5429" actId="2711"/>
          <ac:spMkLst>
            <pc:docMk/>
            <pc:sldMk cId="3812115710" sldId="2147469513"/>
            <ac:spMk id="752" creationId="{00000000-0000-0000-0000-000000000000}"/>
          </ac:spMkLst>
        </pc:spChg>
      </pc:sldChg>
      <pc:sldChg chg="modSp mod delCm">
        <pc:chgData name="Yousuf, Arsalan" userId="1f742cd1-60f2-4cc5-8102-e09412e517e3" providerId="ADAL" clId="{15464559-230C-484E-9C98-D7B9D3FDBA96}" dt="2024-01-11T16:05:44.493" v="5436" actId="2711"/>
        <pc:sldMkLst>
          <pc:docMk/>
          <pc:sldMk cId="1677855615" sldId="2147469515"/>
        </pc:sldMkLst>
        <pc:spChg chg="mod">
          <ac:chgData name="Yousuf, Arsalan" userId="1f742cd1-60f2-4cc5-8102-e09412e517e3" providerId="ADAL" clId="{15464559-230C-484E-9C98-D7B9D3FDBA96}" dt="2024-01-11T16:05:44.493" v="5436" actId="2711"/>
          <ac:spMkLst>
            <pc:docMk/>
            <pc:sldMk cId="1677855615" sldId="2147469515"/>
            <ac:spMk id="752" creationId="{00000000-0000-0000-0000-000000000000}"/>
          </ac:spMkLst>
        </pc:spChg>
      </pc:sldChg>
      <pc:sldChg chg="addSp delSp modSp mod">
        <pc:chgData name="Yousuf, Arsalan" userId="1f742cd1-60f2-4cc5-8102-e09412e517e3" providerId="ADAL" clId="{15464559-230C-484E-9C98-D7B9D3FDBA96}" dt="2024-01-11T16:05:04.618" v="5431" actId="2711"/>
        <pc:sldMkLst>
          <pc:docMk/>
          <pc:sldMk cId="1693645011" sldId="2147469516"/>
        </pc:sldMkLst>
        <pc:spChg chg="add del mod">
          <ac:chgData name="Yousuf, Arsalan" userId="1f742cd1-60f2-4cc5-8102-e09412e517e3" providerId="ADAL" clId="{15464559-230C-484E-9C98-D7B9D3FDBA96}" dt="2024-01-11T15:20:04.408" v="4129" actId="478"/>
          <ac:spMkLst>
            <pc:docMk/>
            <pc:sldMk cId="1693645011" sldId="2147469516"/>
            <ac:spMk id="2" creationId="{957E12E5-0B7F-72FA-DF9C-2ED21BD73D57}"/>
          </ac:spMkLst>
        </pc:spChg>
        <pc:spChg chg="add mod">
          <ac:chgData name="Yousuf, Arsalan" userId="1f742cd1-60f2-4cc5-8102-e09412e517e3" providerId="ADAL" clId="{15464559-230C-484E-9C98-D7B9D3FDBA96}" dt="2024-01-11T15:21:43.684" v="4264" actId="20577"/>
          <ac:spMkLst>
            <pc:docMk/>
            <pc:sldMk cId="1693645011" sldId="2147469516"/>
            <ac:spMk id="3" creationId="{EB781409-9258-CF75-0649-AFB1716B0206}"/>
          </ac:spMkLst>
        </pc:spChg>
        <pc:spChg chg="mod">
          <ac:chgData name="Yousuf, Arsalan" userId="1f742cd1-60f2-4cc5-8102-e09412e517e3" providerId="ADAL" clId="{15464559-230C-484E-9C98-D7B9D3FDBA96}" dt="2024-01-11T16:05:04.618" v="5431" actId="2711"/>
          <ac:spMkLst>
            <pc:docMk/>
            <pc:sldMk cId="1693645011" sldId="2147469516"/>
            <ac:spMk id="752" creationId="{00000000-0000-0000-0000-000000000000}"/>
          </ac:spMkLst>
        </pc:spChg>
      </pc:sldChg>
      <pc:sldChg chg="modSp mod">
        <pc:chgData name="Yousuf, Arsalan" userId="1f742cd1-60f2-4cc5-8102-e09412e517e3" providerId="ADAL" clId="{15464559-230C-484E-9C98-D7B9D3FDBA96}" dt="2024-01-11T16:05:36.257" v="5435" actId="2711"/>
        <pc:sldMkLst>
          <pc:docMk/>
          <pc:sldMk cId="3520647913" sldId="2147469518"/>
        </pc:sldMkLst>
        <pc:spChg chg="mod">
          <ac:chgData name="Yousuf, Arsalan" userId="1f742cd1-60f2-4cc5-8102-e09412e517e3" providerId="ADAL" clId="{15464559-230C-484E-9C98-D7B9D3FDBA96}" dt="2024-01-11T16:05:36.257" v="5435" actId="2711"/>
          <ac:spMkLst>
            <pc:docMk/>
            <pc:sldMk cId="3520647913" sldId="2147469518"/>
            <ac:spMk id="752" creationId="{00000000-0000-0000-0000-000000000000}"/>
          </ac:spMkLst>
        </pc:spChg>
      </pc:sldChg>
      <pc:sldChg chg="modSp mod">
        <pc:chgData name="Yousuf, Arsalan" userId="1f742cd1-60f2-4cc5-8102-e09412e517e3" providerId="ADAL" clId="{15464559-230C-484E-9C98-D7B9D3FDBA96}" dt="2024-01-11T16:05:27.693" v="5434" actId="2711"/>
        <pc:sldMkLst>
          <pc:docMk/>
          <pc:sldMk cId="2825169362" sldId="2147469519"/>
        </pc:sldMkLst>
        <pc:spChg chg="mod">
          <ac:chgData name="Yousuf, Arsalan" userId="1f742cd1-60f2-4cc5-8102-e09412e517e3" providerId="ADAL" clId="{15464559-230C-484E-9C98-D7B9D3FDBA96}" dt="2024-01-11T16:05:27.693" v="5434" actId="2711"/>
          <ac:spMkLst>
            <pc:docMk/>
            <pc:sldMk cId="2825169362" sldId="2147469519"/>
            <ac:spMk id="752" creationId="{00000000-0000-0000-0000-000000000000}"/>
          </ac:spMkLst>
        </pc:spChg>
      </pc:sldChg>
      <pc:sldChg chg="modSp mod delCm">
        <pc:chgData name="Yousuf, Arsalan" userId="1f742cd1-60f2-4cc5-8102-e09412e517e3" providerId="ADAL" clId="{15464559-230C-484E-9C98-D7B9D3FDBA96}" dt="2024-01-11T16:47:29.774" v="7899" actId="20577"/>
        <pc:sldMkLst>
          <pc:docMk/>
          <pc:sldMk cId="2936310886" sldId="2147469520"/>
        </pc:sldMkLst>
        <pc:spChg chg="mod">
          <ac:chgData name="Yousuf, Arsalan" userId="1f742cd1-60f2-4cc5-8102-e09412e517e3" providerId="ADAL" clId="{15464559-230C-484E-9C98-D7B9D3FDBA96}" dt="2024-01-11T16:47:29.774" v="7899" actId="20577"/>
          <ac:spMkLst>
            <pc:docMk/>
            <pc:sldMk cId="2936310886" sldId="2147469520"/>
            <ac:spMk id="752" creationId="{00000000-0000-0000-0000-000000000000}"/>
          </ac:spMkLst>
        </pc:spChg>
      </pc:sldChg>
      <pc:sldChg chg="addSp delSp modSp mod">
        <pc:chgData name="Yousuf, Arsalan" userId="1f742cd1-60f2-4cc5-8102-e09412e517e3" providerId="ADAL" clId="{15464559-230C-484E-9C98-D7B9D3FDBA96}" dt="2024-01-11T16:06:55.875" v="5446"/>
        <pc:sldMkLst>
          <pc:docMk/>
          <pc:sldMk cId="2225119885" sldId="2147469538"/>
        </pc:sldMkLst>
        <pc:spChg chg="mod">
          <ac:chgData name="Yousuf, Arsalan" userId="1f742cd1-60f2-4cc5-8102-e09412e517e3" providerId="ADAL" clId="{15464559-230C-484E-9C98-D7B9D3FDBA96}" dt="2024-01-11T16:06:39.964" v="5442" actId="113"/>
          <ac:spMkLst>
            <pc:docMk/>
            <pc:sldMk cId="2225119885" sldId="2147469538"/>
            <ac:spMk id="2" creationId="{CC93B7E7-8D0A-1A99-7EF2-95F71E057368}"/>
          </ac:spMkLst>
        </pc:spChg>
        <pc:spChg chg="mod">
          <ac:chgData name="Yousuf, Arsalan" userId="1f742cd1-60f2-4cc5-8102-e09412e517e3" providerId="ADAL" clId="{15464559-230C-484E-9C98-D7B9D3FDBA96}" dt="2024-01-11T16:06:34.707" v="5441" actId="2711"/>
          <ac:spMkLst>
            <pc:docMk/>
            <pc:sldMk cId="2225119885" sldId="2147469538"/>
            <ac:spMk id="3" creationId="{349E825D-7E80-8FCA-A82E-1A57A034F362}"/>
          </ac:spMkLst>
        </pc:spChg>
        <pc:spChg chg="add del mod">
          <ac:chgData name="Yousuf, Arsalan" userId="1f742cd1-60f2-4cc5-8102-e09412e517e3" providerId="ADAL" clId="{15464559-230C-484E-9C98-D7B9D3FDBA96}" dt="2024-01-11T16:06:55.875" v="5446"/>
          <ac:spMkLst>
            <pc:docMk/>
            <pc:sldMk cId="2225119885" sldId="2147469538"/>
            <ac:spMk id="5" creationId="{2D9B0331-8EE2-3646-32A9-A819CB597AD2}"/>
          </ac:spMkLst>
        </pc:spChg>
        <pc:spChg chg="add del mod">
          <ac:chgData name="Yousuf, Arsalan" userId="1f742cd1-60f2-4cc5-8102-e09412e517e3" providerId="ADAL" clId="{15464559-230C-484E-9C98-D7B9D3FDBA96}" dt="2024-01-11T16:06:55.479" v="5445" actId="478"/>
          <ac:spMkLst>
            <pc:docMk/>
            <pc:sldMk cId="2225119885" sldId="2147469538"/>
            <ac:spMk id="7" creationId="{030B3698-37E0-E27C-9FF1-C3F88CDA56F3}"/>
          </ac:spMkLst>
        </pc:spChg>
        <pc:graphicFrameChg chg="modGraphic">
          <ac:chgData name="Yousuf, Arsalan" userId="1f742cd1-60f2-4cc5-8102-e09412e517e3" providerId="ADAL" clId="{15464559-230C-484E-9C98-D7B9D3FDBA96}" dt="2024-01-11T16:05:52.355" v="5437" actId="2711"/>
          <ac:graphicFrameMkLst>
            <pc:docMk/>
            <pc:sldMk cId="2225119885" sldId="2147469538"/>
            <ac:graphicFrameMk id="4" creationId="{830EC1A2-A855-F9C1-F2B7-B7A96BD51DB1}"/>
          </ac:graphicFrameMkLst>
        </pc:graphicFrameChg>
      </pc:sldChg>
      <pc:sldChg chg="addSp delSp modSp mod">
        <pc:chgData name="Yousuf, Arsalan" userId="1f742cd1-60f2-4cc5-8102-e09412e517e3" providerId="ADAL" clId="{15464559-230C-484E-9C98-D7B9D3FDBA96}" dt="2024-01-11T16:07:12.237" v="5451" actId="20577"/>
        <pc:sldMkLst>
          <pc:docMk/>
          <pc:sldMk cId="1797203977" sldId="2147469539"/>
        </pc:sldMkLst>
        <pc:spChg chg="del">
          <ac:chgData name="Yousuf, Arsalan" userId="1f742cd1-60f2-4cc5-8102-e09412e517e3" providerId="ADAL" clId="{15464559-230C-484E-9C98-D7B9D3FDBA96}" dt="2024-01-11T16:07:05.305" v="5447" actId="478"/>
          <ac:spMkLst>
            <pc:docMk/>
            <pc:sldMk cId="1797203977" sldId="2147469539"/>
            <ac:spMk id="2" creationId="{CC93B7E7-8D0A-1A99-7EF2-95F71E057368}"/>
          </ac:spMkLst>
        </pc:spChg>
        <pc:spChg chg="del">
          <ac:chgData name="Yousuf, Arsalan" userId="1f742cd1-60f2-4cc5-8102-e09412e517e3" providerId="ADAL" clId="{15464559-230C-484E-9C98-D7B9D3FDBA96}" dt="2024-01-11T16:07:05.305" v="5447" actId="478"/>
          <ac:spMkLst>
            <pc:docMk/>
            <pc:sldMk cId="1797203977" sldId="2147469539"/>
            <ac:spMk id="3" creationId="{349E825D-7E80-8FCA-A82E-1A57A034F362}"/>
          </ac:spMkLst>
        </pc:spChg>
        <pc:spChg chg="add del mod">
          <ac:chgData name="Yousuf, Arsalan" userId="1f742cd1-60f2-4cc5-8102-e09412e517e3" providerId="ADAL" clId="{15464559-230C-484E-9C98-D7B9D3FDBA96}" dt="2024-01-11T16:07:06.275" v="5448" actId="478"/>
          <ac:spMkLst>
            <pc:docMk/>
            <pc:sldMk cId="1797203977" sldId="2147469539"/>
            <ac:spMk id="6" creationId="{34741D86-34B3-6BCF-4034-7A1D761D9291}"/>
          </ac:spMkLst>
        </pc:spChg>
        <pc:spChg chg="add mod">
          <ac:chgData name="Yousuf, Arsalan" userId="1f742cd1-60f2-4cc5-8102-e09412e517e3" providerId="ADAL" clId="{15464559-230C-484E-9C98-D7B9D3FDBA96}" dt="2024-01-11T16:07:12.237" v="5451" actId="20577"/>
          <ac:spMkLst>
            <pc:docMk/>
            <pc:sldMk cId="1797203977" sldId="2147469539"/>
            <ac:spMk id="7" creationId="{346AD917-EEF5-169F-D21A-B7BEC5C47BAA}"/>
          </ac:spMkLst>
        </pc:spChg>
        <pc:spChg chg="add mod">
          <ac:chgData name="Yousuf, Arsalan" userId="1f742cd1-60f2-4cc5-8102-e09412e517e3" providerId="ADAL" clId="{15464559-230C-484E-9C98-D7B9D3FDBA96}" dt="2024-01-11T16:07:08.581" v="5449"/>
          <ac:spMkLst>
            <pc:docMk/>
            <pc:sldMk cId="1797203977" sldId="2147469539"/>
            <ac:spMk id="8" creationId="{1E6147DC-60ED-0335-AA8B-226230DEC86E}"/>
          </ac:spMkLst>
        </pc:spChg>
        <pc:graphicFrameChg chg="modGraphic">
          <ac:chgData name="Yousuf, Arsalan" userId="1f742cd1-60f2-4cc5-8102-e09412e517e3" providerId="ADAL" clId="{15464559-230C-484E-9C98-D7B9D3FDBA96}" dt="2024-01-11T16:05:58.033" v="5438" actId="2711"/>
          <ac:graphicFrameMkLst>
            <pc:docMk/>
            <pc:sldMk cId="1797203977" sldId="2147469539"/>
            <ac:graphicFrameMk id="5" creationId="{E9AE7BA3-E382-37AF-A4D7-457B619974F4}"/>
          </ac:graphicFrameMkLst>
        </pc:graphicFrameChg>
      </pc:sldChg>
      <pc:sldChg chg="addSp delSp modSp mod">
        <pc:chgData name="Yousuf, Arsalan" userId="1f742cd1-60f2-4cc5-8102-e09412e517e3" providerId="ADAL" clId="{15464559-230C-484E-9C98-D7B9D3FDBA96}" dt="2024-01-11T16:07:19.126" v="5456" actId="20577"/>
        <pc:sldMkLst>
          <pc:docMk/>
          <pc:sldMk cId="2371961389" sldId="2147469541"/>
        </pc:sldMkLst>
        <pc:spChg chg="del">
          <ac:chgData name="Yousuf, Arsalan" userId="1f742cd1-60f2-4cc5-8102-e09412e517e3" providerId="ADAL" clId="{15464559-230C-484E-9C98-D7B9D3FDBA96}" dt="2024-01-11T16:07:15.806" v="5452" actId="478"/>
          <ac:spMkLst>
            <pc:docMk/>
            <pc:sldMk cId="2371961389" sldId="2147469541"/>
            <ac:spMk id="2" creationId="{CC93B7E7-8D0A-1A99-7EF2-95F71E057368}"/>
          </ac:spMkLst>
        </pc:spChg>
        <pc:spChg chg="del">
          <ac:chgData name="Yousuf, Arsalan" userId="1f742cd1-60f2-4cc5-8102-e09412e517e3" providerId="ADAL" clId="{15464559-230C-484E-9C98-D7B9D3FDBA96}" dt="2024-01-11T16:07:15.806" v="5452" actId="478"/>
          <ac:spMkLst>
            <pc:docMk/>
            <pc:sldMk cId="2371961389" sldId="2147469541"/>
            <ac:spMk id="3" creationId="{349E825D-7E80-8FCA-A82E-1A57A034F362}"/>
          </ac:spMkLst>
        </pc:spChg>
        <pc:spChg chg="add del mod">
          <ac:chgData name="Yousuf, Arsalan" userId="1f742cd1-60f2-4cc5-8102-e09412e517e3" providerId="ADAL" clId="{15464559-230C-484E-9C98-D7B9D3FDBA96}" dt="2024-01-11T16:07:16.531" v="5453" actId="478"/>
          <ac:spMkLst>
            <pc:docMk/>
            <pc:sldMk cId="2371961389" sldId="2147469541"/>
            <ac:spMk id="6" creationId="{79F13EC9-3F8D-0C66-55D0-FAEDCAB78BED}"/>
          </ac:spMkLst>
        </pc:spChg>
        <pc:spChg chg="add mod">
          <ac:chgData name="Yousuf, Arsalan" userId="1f742cd1-60f2-4cc5-8102-e09412e517e3" providerId="ADAL" clId="{15464559-230C-484E-9C98-D7B9D3FDBA96}" dt="2024-01-11T16:07:19.126" v="5456" actId="20577"/>
          <ac:spMkLst>
            <pc:docMk/>
            <pc:sldMk cId="2371961389" sldId="2147469541"/>
            <ac:spMk id="7" creationId="{F904131E-16E6-1BE7-1B85-68B5AB67E58A}"/>
          </ac:spMkLst>
        </pc:spChg>
        <pc:spChg chg="add mod">
          <ac:chgData name="Yousuf, Arsalan" userId="1f742cd1-60f2-4cc5-8102-e09412e517e3" providerId="ADAL" clId="{15464559-230C-484E-9C98-D7B9D3FDBA96}" dt="2024-01-11T16:07:16.868" v="5454"/>
          <ac:spMkLst>
            <pc:docMk/>
            <pc:sldMk cId="2371961389" sldId="2147469541"/>
            <ac:spMk id="8" creationId="{C88B8D19-3933-24C2-B833-323DB14F58A0}"/>
          </ac:spMkLst>
        </pc:spChg>
        <pc:graphicFrameChg chg="modGraphic">
          <ac:chgData name="Yousuf, Arsalan" userId="1f742cd1-60f2-4cc5-8102-e09412e517e3" providerId="ADAL" clId="{15464559-230C-484E-9C98-D7B9D3FDBA96}" dt="2024-01-11T16:06:03.671" v="5439" actId="2711"/>
          <ac:graphicFrameMkLst>
            <pc:docMk/>
            <pc:sldMk cId="2371961389" sldId="2147469541"/>
            <ac:graphicFrameMk id="5" creationId="{E9AE7BA3-E382-37AF-A4D7-457B619974F4}"/>
          </ac:graphicFrameMkLst>
        </pc:graphicFrameChg>
      </pc:sldChg>
      <pc:sldChg chg="modSp mod">
        <pc:chgData name="Yousuf, Arsalan" userId="1f742cd1-60f2-4cc5-8102-e09412e517e3" providerId="ADAL" clId="{15464559-230C-484E-9C98-D7B9D3FDBA96}" dt="2024-01-11T16:03:19.694" v="5409" actId="113"/>
        <pc:sldMkLst>
          <pc:docMk/>
          <pc:sldMk cId="3341327640" sldId="2147469543"/>
        </pc:sldMkLst>
        <pc:spChg chg="mod">
          <ac:chgData name="Yousuf, Arsalan" userId="1f742cd1-60f2-4cc5-8102-e09412e517e3" providerId="ADAL" clId="{15464559-230C-484E-9C98-D7B9D3FDBA96}" dt="2024-01-11T16:03:19.694" v="5409" actId="113"/>
          <ac:spMkLst>
            <pc:docMk/>
            <pc:sldMk cId="3341327640" sldId="2147469543"/>
            <ac:spMk id="2" creationId="{BC34625A-4F50-4216-97E9-D8C18D7981AA}"/>
          </ac:spMkLst>
        </pc:spChg>
        <pc:spChg chg="mod">
          <ac:chgData name="Yousuf, Arsalan" userId="1f742cd1-60f2-4cc5-8102-e09412e517e3" providerId="ADAL" clId="{15464559-230C-484E-9C98-D7B9D3FDBA96}" dt="2024-01-11T16:03:16.662" v="5408" actId="2711"/>
          <ac:spMkLst>
            <pc:docMk/>
            <pc:sldMk cId="3341327640" sldId="2147469543"/>
            <ac:spMk id="3" creationId="{A3C6915B-73DD-4DB7-BF83-AC8365F75693}"/>
          </ac:spMkLst>
        </pc:spChg>
      </pc:sldChg>
      <pc:sldChg chg="modSp mod">
        <pc:chgData name="Yousuf, Arsalan" userId="1f742cd1-60f2-4cc5-8102-e09412e517e3" providerId="ADAL" clId="{15464559-230C-484E-9C98-D7B9D3FDBA96}" dt="2024-01-11T16:03:25.091" v="5411" actId="2711"/>
        <pc:sldMkLst>
          <pc:docMk/>
          <pc:sldMk cId="2890209600" sldId="2147469544"/>
        </pc:sldMkLst>
        <pc:spChg chg="mod">
          <ac:chgData name="Yousuf, Arsalan" userId="1f742cd1-60f2-4cc5-8102-e09412e517e3" providerId="ADAL" clId="{15464559-230C-484E-9C98-D7B9D3FDBA96}" dt="2024-01-11T16:03:25.091" v="5411" actId="2711"/>
          <ac:spMkLst>
            <pc:docMk/>
            <pc:sldMk cId="2890209600" sldId="2147469544"/>
            <ac:spMk id="2" creationId="{BC34625A-4F50-4216-97E9-D8C18D7981AA}"/>
          </ac:spMkLst>
        </pc:spChg>
        <pc:spChg chg="mod">
          <ac:chgData name="Yousuf, Arsalan" userId="1f742cd1-60f2-4cc5-8102-e09412e517e3" providerId="ADAL" clId="{15464559-230C-484E-9C98-D7B9D3FDBA96}" dt="2024-01-11T16:03:25.091" v="5411" actId="2711"/>
          <ac:spMkLst>
            <pc:docMk/>
            <pc:sldMk cId="2890209600" sldId="2147469544"/>
            <ac:spMk id="3" creationId="{A3C6915B-73DD-4DB7-BF83-AC8365F75693}"/>
          </ac:spMkLst>
        </pc:spChg>
      </pc:sldChg>
      <pc:sldChg chg="modSp mod">
        <pc:chgData name="Yousuf, Arsalan" userId="1f742cd1-60f2-4cc5-8102-e09412e517e3" providerId="ADAL" clId="{15464559-230C-484E-9C98-D7B9D3FDBA96}" dt="2024-01-11T16:03:33.304" v="5413" actId="113"/>
        <pc:sldMkLst>
          <pc:docMk/>
          <pc:sldMk cId="1805013628" sldId="2147469545"/>
        </pc:sldMkLst>
        <pc:spChg chg="mod">
          <ac:chgData name="Yousuf, Arsalan" userId="1f742cd1-60f2-4cc5-8102-e09412e517e3" providerId="ADAL" clId="{15464559-230C-484E-9C98-D7B9D3FDBA96}" dt="2024-01-11T16:03:33.304" v="5413" actId="113"/>
          <ac:spMkLst>
            <pc:docMk/>
            <pc:sldMk cId="1805013628" sldId="2147469545"/>
            <ac:spMk id="2" creationId="{BC34625A-4F50-4216-97E9-D8C18D7981AA}"/>
          </ac:spMkLst>
        </pc:spChg>
        <pc:spChg chg="mod">
          <ac:chgData name="Yousuf, Arsalan" userId="1f742cd1-60f2-4cc5-8102-e09412e517e3" providerId="ADAL" clId="{15464559-230C-484E-9C98-D7B9D3FDBA96}" dt="2024-01-11T16:03:30.916" v="5412" actId="2711"/>
          <ac:spMkLst>
            <pc:docMk/>
            <pc:sldMk cId="1805013628" sldId="2147469545"/>
            <ac:spMk id="3" creationId="{A3C6915B-73DD-4DB7-BF83-AC8365F75693}"/>
          </ac:spMkLst>
        </pc:spChg>
      </pc:sldChg>
      <pc:sldChg chg="modSp mod">
        <pc:chgData name="Yousuf, Arsalan" userId="1f742cd1-60f2-4cc5-8102-e09412e517e3" providerId="ADAL" clId="{15464559-230C-484E-9C98-D7B9D3FDBA96}" dt="2024-01-11T16:03:38.861" v="5415" actId="2711"/>
        <pc:sldMkLst>
          <pc:docMk/>
          <pc:sldMk cId="1396595397" sldId="2147469546"/>
        </pc:sldMkLst>
        <pc:spChg chg="mod">
          <ac:chgData name="Yousuf, Arsalan" userId="1f742cd1-60f2-4cc5-8102-e09412e517e3" providerId="ADAL" clId="{15464559-230C-484E-9C98-D7B9D3FDBA96}" dt="2024-01-11T16:03:38.861" v="5415" actId="2711"/>
          <ac:spMkLst>
            <pc:docMk/>
            <pc:sldMk cId="1396595397" sldId="2147469546"/>
            <ac:spMk id="2" creationId="{BC34625A-4F50-4216-97E9-D8C18D7981AA}"/>
          </ac:spMkLst>
        </pc:spChg>
        <pc:spChg chg="mod">
          <ac:chgData name="Yousuf, Arsalan" userId="1f742cd1-60f2-4cc5-8102-e09412e517e3" providerId="ADAL" clId="{15464559-230C-484E-9C98-D7B9D3FDBA96}" dt="2024-01-11T16:03:38.861" v="5415" actId="2711"/>
          <ac:spMkLst>
            <pc:docMk/>
            <pc:sldMk cId="1396595397" sldId="2147469546"/>
            <ac:spMk id="3" creationId="{A3C6915B-73DD-4DB7-BF83-AC8365F75693}"/>
          </ac:spMkLst>
        </pc:spChg>
      </pc:sldChg>
      <pc:sldChg chg="modSp mod">
        <pc:chgData name="Yousuf, Arsalan" userId="1f742cd1-60f2-4cc5-8102-e09412e517e3" providerId="ADAL" clId="{15464559-230C-484E-9C98-D7B9D3FDBA96}" dt="2024-01-11T16:03:46.045" v="5417" actId="113"/>
        <pc:sldMkLst>
          <pc:docMk/>
          <pc:sldMk cId="1122217707" sldId="2147469547"/>
        </pc:sldMkLst>
        <pc:spChg chg="mod">
          <ac:chgData name="Yousuf, Arsalan" userId="1f742cd1-60f2-4cc5-8102-e09412e517e3" providerId="ADAL" clId="{15464559-230C-484E-9C98-D7B9D3FDBA96}" dt="2024-01-11T16:03:46.045" v="5417" actId="113"/>
          <ac:spMkLst>
            <pc:docMk/>
            <pc:sldMk cId="1122217707" sldId="2147469547"/>
            <ac:spMk id="2" creationId="{BC34625A-4F50-4216-97E9-D8C18D7981AA}"/>
          </ac:spMkLst>
        </pc:spChg>
        <pc:spChg chg="mod">
          <ac:chgData name="Yousuf, Arsalan" userId="1f742cd1-60f2-4cc5-8102-e09412e517e3" providerId="ADAL" clId="{15464559-230C-484E-9C98-D7B9D3FDBA96}" dt="2024-01-11T16:03:43.979" v="5416" actId="2711"/>
          <ac:spMkLst>
            <pc:docMk/>
            <pc:sldMk cId="1122217707" sldId="2147469547"/>
            <ac:spMk id="3" creationId="{A3C6915B-73DD-4DB7-BF83-AC8365F75693}"/>
          </ac:spMkLst>
        </pc:spChg>
      </pc:sldChg>
      <pc:sldChg chg="modSp mod">
        <pc:chgData name="Yousuf, Arsalan" userId="1f742cd1-60f2-4cc5-8102-e09412e517e3" providerId="ADAL" clId="{15464559-230C-484E-9C98-D7B9D3FDBA96}" dt="2024-01-11T16:03:54.762" v="5419" actId="2711"/>
        <pc:sldMkLst>
          <pc:docMk/>
          <pc:sldMk cId="70155409" sldId="2147469548"/>
        </pc:sldMkLst>
        <pc:spChg chg="mod">
          <ac:chgData name="Yousuf, Arsalan" userId="1f742cd1-60f2-4cc5-8102-e09412e517e3" providerId="ADAL" clId="{15464559-230C-484E-9C98-D7B9D3FDBA96}" dt="2024-01-11T16:03:54.762" v="5419" actId="2711"/>
          <ac:spMkLst>
            <pc:docMk/>
            <pc:sldMk cId="70155409" sldId="2147469548"/>
            <ac:spMk id="2" creationId="{BC34625A-4F50-4216-97E9-D8C18D7981AA}"/>
          </ac:spMkLst>
        </pc:spChg>
        <pc:spChg chg="mod">
          <ac:chgData name="Yousuf, Arsalan" userId="1f742cd1-60f2-4cc5-8102-e09412e517e3" providerId="ADAL" clId="{15464559-230C-484E-9C98-D7B9D3FDBA96}" dt="2024-01-11T16:03:54.762" v="5419" actId="2711"/>
          <ac:spMkLst>
            <pc:docMk/>
            <pc:sldMk cId="70155409" sldId="2147469548"/>
            <ac:spMk id="6" creationId="{6E1B6C76-B698-2766-43B7-A4616E65FA80}"/>
          </ac:spMkLst>
        </pc:spChg>
      </pc:sldChg>
      <pc:sldChg chg="modSp mod">
        <pc:chgData name="Yousuf, Arsalan" userId="1f742cd1-60f2-4cc5-8102-e09412e517e3" providerId="ADAL" clId="{15464559-230C-484E-9C98-D7B9D3FDBA96}" dt="2024-01-11T16:04:02.446" v="5421" actId="113"/>
        <pc:sldMkLst>
          <pc:docMk/>
          <pc:sldMk cId="3100116633" sldId="2147469550"/>
        </pc:sldMkLst>
        <pc:spChg chg="mod">
          <ac:chgData name="Yousuf, Arsalan" userId="1f742cd1-60f2-4cc5-8102-e09412e517e3" providerId="ADAL" clId="{15464559-230C-484E-9C98-D7B9D3FDBA96}" dt="2024-01-11T16:04:02.446" v="5421" actId="113"/>
          <ac:spMkLst>
            <pc:docMk/>
            <pc:sldMk cId="3100116633" sldId="2147469550"/>
            <ac:spMk id="2" creationId="{BC34625A-4F50-4216-97E9-D8C18D7981AA}"/>
          </ac:spMkLst>
        </pc:spChg>
        <pc:spChg chg="mod">
          <ac:chgData name="Yousuf, Arsalan" userId="1f742cd1-60f2-4cc5-8102-e09412e517e3" providerId="ADAL" clId="{15464559-230C-484E-9C98-D7B9D3FDBA96}" dt="2024-01-11T16:03:59.977" v="5420" actId="2711"/>
          <ac:spMkLst>
            <pc:docMk/>
            <pc:sldMk cId="3100116633" sldId="2147469550"/>
            <ac:spMk id="3" creationId="{A3C6915B-73DD-4DB7-BF83-AC8365F75693}"/>
          </ac:spMkLst>
        </pc:spChg>
      </pc:sldChg>
      <pc:sldChg chg="addSp delSp modSp mod">
        <pc:chgData name="Yousuf, Arsalan" userId="1f742cd1-60f2-4cc5-8102-e09412e517e3" providerId="ADAL" clId="{15464559-230C-484E-9C98-D7B9D3FDBA96}" dt="2024-01-11T11:11:27.164" v="581" actId="404"/>
        <pc:sldMkLst>
          <pc:docMk/>
          <pc:sldMk cId="1060625888" sldId="2147469628"/>
        </pc:sldMkLst>
        <pc:spChg chg="mod">
          <ac:chgData name="Yousuf, Arsalan" userId="1f742cd1-60f2-4cc5-8102-e09412e517e3" providerId="ADAL" clId="{15464559-230C-484E-9C98-D7B9D3FDBA96}" dt="2024-01-11T11:11:07.505" v="577" actId="2711"/>
          <ac:spMkLst>
            <pc:docMk/>
            <pc:sldMk cId="1060625888" sldId="2147469628"/>
            <ac:spMk id="64" creationId="{63564B59-D43F-70E3-47C4-ADB3B5CCAF6E}"/>
          </ac:spMkLst>
        </pc:spChg>
        <pc:spChg chg="mod">
          <ac:chgData name="Yousuf, Arsalan" userId="1f742cd1-60f2-4cc5-8102-e09412e517e3" providerId="ADAL" clId="{15464559-230C-484E-9C98-D7B9D3FDBA96}" dt="2024-01-11T11:11:07.505" v="577" actId="2711"/>
          <ac:spMkLst>
            <pc:docMk/>
            <pc:sldMk cId="1060625888" sldId="2147469628"/>
            <ac:spMk id="66" creationId="{B2A34F81-550C-7FC1-B9A7-DDAC4F8DF9F6}"/>
          </ac:spMkLst>
        </pc:spChg>
        <pc:spChg chg="mod">
          <ac:chgData name="Yousuf, Arsalan" userId="1f742cd1-60f2-4cc5-8102-e09412e517e3" providerId="ADAL" clId="{15464559-230C-484E-9C98-D7B9D3FDBA96}" dt="2024-01-11T11:11:07.505" v="577" actId="2711"/>
          <ac:spMkLst>
            <pc:docMk/>
            <pc:sldMk cId="1060625888" sldId="2147469628"/>
            <ac:spMk id="67" creationId="{9CF07AA1-0ED0-8225-8AA8-7CBB8ACB55A8}"/>
          </ac:spMkLst>
        </pc:spChg>
        <pc:spChg chg="mod">
          <ac:chgData name="Yousuf, Arsalan" userId="1f742cd1-60f2-4cc5-8102-e09412e517e3" providerId="ADAL" clId="{15464559-230C-484E-9C98-D7B9D3FDBA96}" dt="2024-01-11T11:11:07.505" v="577" actId="2711"/>
          <ac:spMkLst>
            <pc:docMk/>
            <pc:sldMk cId="1060625888" sldId="2147469628"/>
            <ac:spMk id="68" creationId="{4155CB17-158A-4771-BDAB-ABC0E43E0EBD}"/>
          </ac:spMkLst>
        </pc:spChg>
        <pc:spChg chg="mod">
          <ac:chgData name="Yousuf, Arsalan" userId="1f742cd1-60f2-4cc5-8102-e09412e517e3" providerId="ADAL" clId="{15464559-230C-484E-9C98-D7B9D3FDBA96}" dt="2024-01-11T11:11:07.505" v="577" actId="2711"/>
          <ac:spMkLst>
            <pc:docMk/>
            <pc:sldMk cId="1060625888" sldId="2147469628"/>
            <ac:spMk id="69" creationId="{DBD3B282-D8B4-25BB-B67E-897AF4A92BC7}"/>
          </ac:spMkLst>
        </pc:spChg>
        <pc:spChg chg="mod">
          <ac:chgData name="Yousuf, Arsalan" userId="1f742cd1-60f2-4cc5-8102-e09412e517e3" providerId="ADAL" clId="{15464559-230C-484E-9C98-D7B9D3FDBA96}" dt="2024-01-11T11:11:07.505" v="577" actId="2711"/>
          <ac:spMkLst>
            <pc:docMk/>
            <pc:sldMk cId="1060625888" sldId="2147469628"/>
            <ac:spMk id="70" creationId="{E5A4B0AF-B497-AEAF-9038-3F606ADEE7ED}"/>
          </ac:spMkLst>
        </pc:spChg>
        <pc:spChg chg="mod">
          <ac:chgData name="Yousuf, Arsalan" userId="1f742cd1-60f2-4cc5-8102-e09412e517e3" providerId="ADAL" clId="{15464559-230C-484E-9C98-D7B9D3FDBA96}" dt="2024-01-11T11:11:07.505" v="577" actId="2711"/>
          <ac:spMkLst>
            <pc:docMk/>
            <pc:sldMk cId="1060625888" sldId="2147469628"/>
            <ac:spMk id="75" creationId="{0B00487E-9A8E-46E0-B60F-BB884C23310C}"/>
          </ac:spMkLst>
        </pc:spChg>
        <pc:spChg chg="mod">
          <ac:chgData name="Yousuf, Arsalan" userId="1f742cd1-60f2-4cc5-8102-e09412e517e3" providerId="ADAL" clId="{15464559-230C-484E-9C98-D7B9D3FDBA96}" dt="2024-01-11T11:11:07.505" v="577" actId="2711"/>
          <ac:spMkLst>
            <pc:docMk/>
            <pc:sldMk cId="1060625888" sldId="2147469628"/>
            <ac:spMk id="76" creationId="{11F95CE4-70DC-4FF6-9740-A5C6EC6923E7}"/>
          </ac:spMkLst>
        </pc:spChg>
        <pc:spChg chg="add del mod">
          <ac:chgData name="Yousuf, Arsalan" userId="1f742cd1-60f2-4cc5-8102-e09412e517e3" providerId="ADAL" clId="{15464559-230C-484E-9C98-D7B9D3FDBA96}" dt="2024-01-11T11:11:23.024" v="580" actId="403"/>
          <ac:spMkLst>
            <pc:docMk/>
            <pc:sldMk cId="1060625888" sldId="2147469628"/>
            <ac:spMk id="452" creationId="{36A74CA6-2EEB-B30A-0F3C-C3B4C1ED6C2A}"/>
          </ac:spMkLst>
        </pc:spChg>
        <pc:spChg chg="mod">
          <ac:chgData name="Yousuf, Arsalan" userId="1f742cd1-60f2-4cc5-8102-e09412e517e3" providerId="ADAL" clId="{15464559-230C-484E-9C98-D7B9D3FDBA96}" dt="2024-01-11T11:11:07.505" v="577" actId="2711"/>
          <ac:spMkLst>
            <pc:docMk/>
            <pc:sldMk cId="1060625888" sldId="2147469628"/>
            <ac:spMk id="454" creationId="{C5E14F5E-23AC-90FB-551F-1CAA9C7FBF11}"/>
          </ac:spMkLst>
        </pc:spChg>
        <pc:spChg chg="mod">
          <ac:chgData name="Yousuf, Arsalan" userId="1f742cd1-60f2-4cc5-8102-e09412e517e3" providerId="ADAL" clId="{15464559-230C-484E-9C98-D7B9D3FDBA96}" dt="2024-01-11T11:11:07.505" v="577" actId="2711"/>
          <ac:spMkLst>
            <pc:docMk/>
            <pc:sldMk cId="1060625888" sldId="2147469628"/>
            <ac:spMk id="456" creationId="{C1D4159E-7CAB-0515-B589-627E9AA5BB57}"/>
          </ac:spMkLst>
        </pc:spChg>
        <pc:spChg chg="mod">
          <ac:chgData name="Yousuf, Arsalan" userId="1f742cd1-60f2-4cc5-8102-e09412e517e3" providerId="ADAL" clId="{15464559-230C-484E-9C98-D7B9D3FDBA96}" dt="2024-01-11T11:11:07.505" v="577" actId="2711"/>
          <ac:spMkLst>
            <pc:docMk/>
            <pc:sldMk cId="1060625888" sldId="2147469628"/>
            <ac:spMk id="457" creationId="{6A4B58B4-71E6-FDDC-A49E-16626B37174F}"/>
          </ac:spMkLst>
        </pc:spChg>
        <pc:spChg chg="mod">
          <ac:chgData name="Yousuf, Arsalan" userId="1f742cd1-60f2-4cc5-8102-e09412e517e3" providerId="ADAL" clId="{15464559-230C-484E-9C98-D7B9D3FDBA96}" dt="2024-01-11T11:11:23.024" v="580" actId="403"/>
          <ac:spMkLst>
            <pc:docMk/>
            <pc:sldMk cId="1060625888" sldId="2147469628"/>
            <ac:spMk id="458" creationId="{88CBE7B4-E535-72F1-8983-D8BBBBA59337}"/>
          </ac:spMkLst>
        </pc:spChg>
        <pc:spChg chg="mod">
          <ac:chgData name="Yousuf, Arsalan" userId="1f742cd1-60f2-4cc5-8102-e09412e517e3" providerId="ADAL" clId="{15464559-230C-484E-9C98-D7B9D3FDBA96}" dt="2024-01-11T11:11:07.505" v="577" actId="2711"/>
          <ac:spMkLst>
            <pc:docMk/>
            <pc:sldMk cId="1060625888" sldId="2147469628"/>
            <ac:spMk id="460" creationId="{5EC81108-A120-F3DD-A4A5-85C894AF76C1}"/>
          </ac:spMkLst>
        </pc:spChg>
        <pc:spChg chg="mod">
          <ac:chgData name="Yousuf, Arsalan" userId="1f742cd1-60f2-4cc5-8102-e09412e517e3" providerId="ADAL" clId="{15464559-230C-484E-9C98-D7B9D3FDBA96}" dt="2024-01-11T11:11:07.505" v="577" actId="2711"/>
          <ac:spMkLst>
            <pc:docMk/>
            <pc:sldMk cId="1060625888" sldId="2147469628"/>
            <ac:spMk id="462" creationId="{78E99EA6-8161-B9DC-34CC-11AEB9E5D77C}"/>
          </ac:spMkLst>
        </pc:spChg>
        <pc:spChg chg="mod">
          <ac:chgData name="Yousuf, Arsalan" userId="1f742cd1-60f2-4cc5-8102-e09412e517e3" providerId="ADAL" clId="{15464559-230C-484E-9C98-D7B9D3FDBA96}" dt="2024-01-11T11:11:07.505" v="577" actId="2711"/>
          <ac:spMkLst>
            <pc:docMk/>
            <pc:sldMk cId="1060625888" sldId="2147469628"/>
            <ac:spMk id="463" creationId="{81A91D4B-0149-BCAC-A926-F591CE6EBDF0}"/>
          </ac:spMkLst>
        </pc:spChg>
        <pc:spChg chg="mod">
          <ac:chgData name="Yousuf, Arsalan" userId="1f742cd1-60f2-4cc5-8102-e09412e517e3" providerId="ADAL" clId="{15464559-230C-484E-9C98-D7B9D3FDBA96}" dt="2024-01-11T11:11:23.024" v="580" actId="403"/>
          <ac:spMkLst>
            <pc:docMk/>
            <pc:sldMk cId="1060625888" sldId="2147469628"/>
            <ac:spMk id="464" creationId="{3F3F3791-B5BC-4BF4-94C7-09C8766EB5BA}"/>
          </ac:spMkLst>
        </pc:spChg>
        <pc:spChg chg="mod">
          <ac:chgData name="Yousuf, Arsalan" userId="1f742cd1-60f2-4cc5-8102-e09412e517e3" providerId="ADAL" clId="{15464559-230C-484E-9C98-D7B9D3FDBA96}" dt="2024-01-11T11:11:07.505" v="577" actId="2711"/>
          <ac:spMkLst>
            <pc:docMk/>
            <pc:sldMk cId="1060625888" sldId="2147469628"/>
            <ac:spMk id="466" creationId="{FDAE8B03-29C2-7797-BAD1-08A9A74A9EF9}"/>
          </ac:spMkLst>
        </pc:spChg>
        <pc:spChg chg="mod">
          <ac:chgData name="Yousuf, Arsalan" userId="1f742cd1-60f2-4cc5-8102-e09412e517e3" providerId="ADAL" clId="{15464559-230C-484E-9C98-D7B9D3FDBA96}" dt="2024-01-11T11:11:07.505" v="577" actId="2711"/>
          <ac:spMkLst>
            <pc:docMk/>
            <pc:sldMk cId="1060625888" sldId="2147469628"/>
            <ac:spMk id="468" creationId="{1DC93F38-D8E2-2033-E53E-56C32A2920F0}"/>
          </ac:spMkLst>
        </pc:spChg>
        <pc:spChg chg="mod">
          <ac:chgData name="Yousuf, Arsalan" userId="1f742cd1-60f2-4cc5-8102-e09412e517e3" providerId="ADAL" clId="{15464559-230C-484E-9C98-D7B9D3FDBA96}" dt="2024-01-11T11:11:07.505" v="577" actId="2711"/>
          <ac:spMkLst>
            <pc:docMk/>
            <pc:sldMk cId="1060625888" sldId="2147469628"/>
            <ac:spMk id="469" creationId="{310A465B-3246-EC58-25F8-858768296236}"/>
          </ac:spMkLst>
        </pc:spChg>
        <pc:spChg chg="mod">
          <ac:chgData name="Yousuf, Arsalan" userId="1f742cd1-60f2-4cc5-8102-e09412e517e3" providerId="ADAL" clId="{15464559-230C-484E-9C98-D7B9D3FDBA96}" dt="2024-01-11T11:11:23.024" v="580" actId="403"/>
          <ac:spMkLst>
            <pc:docMk/>
            <pc:sldMk cId="1060625888" sldId="2147469628"/>
            <ac:spMk id="470" creationId="{EF7D1D61-7AC2-DE8E-F889-798865142487}"/>
          </ac:spMkLst>
        </pc:spChg>
        <pc:spChg chg="mod">
          <ac:chgData name="Yousuf, Arsalan" userId="1f742cd1-60f2-4cc5-8102-e09412e517e3" providerId="ADAL" clId="{15464559-230C-484E-9C98-D7B9D3FDBA96}" dt="2024-01-11T11:11:07.505" v="577" actId="2711"/>
          <ac:spMkLst>
            <pc:docMk/>
            <pc:sldMk cId="1060625888" sldId="2147469628"/>
            <ac:spMk id="471" creationId="{38A6EDD1-DA80-5DC6-85A6-041A3F952DF6}"/>
          </ac:spMkLst>
        </pc:spChg>
        <pc:spChg chg="mod">
          <ac:chgData name="Yousuf, Arsalan" userId="1f742cd1-60f2-4cc5-8102-e09412e517e3" providerId="ADAL" clId="{15464559-230C-484E-9C98-D7B9D3FDBA96}" dt="2024-01-11T11:11:07.505" v="577" actId="2711"/>
          <ac:spMkLst>
            <pc:docMk/>
            <pc:sldMk cId="1060625888" sldId="2147469628"/>
            <ac:spMk id="473" creationId="{2C5298D7-91A3-6896-FCC2-C68DD7B44D4D}"/>
          </ac:spMkLst>
        </pc:spChg>
        <pc:spChg chg="mod">
          <ac:chgData name="Yousuf, Arsalan" userId="1f742cd1-60f2-4cc5-8102-e09412e517e3" providerId="ADAL" clId="{15464559-230C-484E-9C98-D7B9D3FDBA96}" dt="2024-01-11T11:11:07.505" v="577" actId="2711"/>
          <ac:spMkLst>
            <pc:docMk/>
            <pc:sldMk cId="1060625888" sldId="2147469628"/>
            <ac:spMk id="474" creationId="{8F6207A2-AD10-AF3B-E250-C0104199F6E7}"/>
          </ac:spMkLst>
        </pc:spChg>
        <pc:spChg chg="mod">
          <ac:chgData name="Yousuf, Arsalan" userId="1f742cd1-60f2-4cc5-8102-e09412e517e3" providerId="ADAL" clId="{15464559-230C-484E-9C98-D7B9D3FDBA96}" dt="2024-01-11T11:11:23.024" v="580" actId="403"/>
          <ac:spMkLst>
            <pc:docMk/>
            <pc:sldMk cId="1060625888" sldId="2147469628"/>
            <ac:spMk id="475" creationId="{44678160-0C14-A2A0-F238-F841F443DEA5}"/>
          </ac:spMkLst>
        </pc:spChg>
        <pc:spChg chg="mod">
          <ac:chgData name="Yousuf, Arsalan" userId="1f742cd1-60f2-4cc5-8102-e09412e517e3" providerId="ADAL" clId="{15464559-230C-484E-9C98-D7B9D3FDBA96}" dt="2024-01-11T11:11:07.505" v="577" actId="2711"/>
          <ac:spMkLst>
            <pc:docMk/>
            <pc:sldMk cId="1060625888" sldId="2147469628"/>
            <ac:spMk id="477" creationId="{D825DFE6-CF25-7B94-810C-D447F994EC81}"/>
          </ac:spMkLst>
        </pc:spChg>
        <pc:spChg chg="mod">
          <ac:chgData name="Yousuf, Arsalan" userId="1f742cd1-60f2-4cc5-8102-e09412e517e3" providerId="ADAL" clId="{15464559-230C-484E-9C98-D7B9D3FDBA96}" dt="2024-01-11T11:11:07.505" v="577" actId="2711"/>
          <ac:spMkLst>
            <pc:docMk/>
            <pc:sldMk cId="1060625888" sldId="2147469628"/>
            <ac:spMk id="486" creationId="{03FC55CE-5029-78CA-A3DC-60E328D02C5E}"/>
          </ac:spMkLst>
        </pc:spChg>
        <pc:spChg chg="mod">
          <ac:chgData name="Yousuf, Arsalan" userId="1f742cd1-60f2-4cc5-8102-e09412e517e3" providerId="ADAL" clId="{15464559-230C-484E-9C98-D7B9D3FDBA96}" dt="2024-01-11T11:11:07.505" v="577" actId="2711"/>
          <ac:spMkLst>
            <pc:docMk/>
            <pc:sldMk cId="1060625888" sldId="2147469628"/>
            <ac:spMk id="487" creationId="{D322FA96-60A1-C6FB-8F36-1E12CAE2D08F}"/>
          </ac:spMkLst>
        </pc:spChg>
        <pc:spChg chg="mod">
          <ac:chgData name="Yousuf, Arsalan" userId="1f742cd1-60f2-4cc5-8102-e09412e517e3" providerId="ADAL" clId="{15464559-230C-484E-9C98-D7B9D3FDBA96}" dt="2024-01-11T11:11:23.024" v="580" actId="403"/>
          <ac:spMkLst>
            <pc:docMk/>
            <pc:sldMk cId="1060625888" sldId="2147469628"/>
            <ac:spMk id="488" creationId="{59A09EE9-D4DD-8416-2031-BF86AE30E098}"/>
          </ac:spMkLst>
        </pc:spChg>
        <pc:spChg chg="mod">
          <ac:chgData name="Yousuf, Arsalan" userId="1f742cd1-60f2-4cc5-8102-e09412e517e3" providerId="ADAL" clId="{15464559-230C-484E-9C98-D7B9D3FDBA96}" dt="2024-01-11T11:11:07.505" v="577" actId="2711"/>
          <ac:spMkLst>
            <pc:docMk/>
            <pc:sldMk cId="1060625888" sldId="2147469628"/>
            <ac:spMk id="490" creationId="{FF2296C8-6C97-3A3B-4014-EC3D1BCBEF38}"/>
          </ac:spMkLst>
        </pc:spChg>
        <pc:spChg chg="mod">
          <ac:chgData name="Yousuf, Arsalan" userId="1f742cd1-60f2-4cc5-8102-e09412e517e3" providerId="ADAL" clId="{15464559-230C-484E-9C98-D7B9D3FDBA96}" dt="2024-01-11T11:11:07.505" v="577" actId="2711"/>
          <ac:spMkLst>
            <pc:docMk/>
            <pc:sldMk cId="1060625888" sldId="2147469628"/>
            <ac:spMk id="492" creationId="{C7C6ADA7-D272-1D69-91F1-B195C2BFAAE8}"/>
          </ac:spMkLst>
        </pc:spChg>
        <pc:spChg chg="mod">
          <ac:chgData name="Yousuf, Arsalan" userId="1f742cd1-60f2-4cc5-8102-e09412e517e3" providerId="ADAL" clId="{15464559-230C-484E-9C98-D7B9D3FDBA96}" dt="2024-01-11T11:11:07.505" v="577" actId="2711"/>
          <ac:spMkLst>
            <pc:docMk/>
            <pc:sldMk cId="1060625888" sldId="2147469628"/>
            <ac:spMk id="493" creationId="{DB93F03C-F90C-218E-9B38-84226E394752}"/>
          </ac:spMkLst>
        </pc:spChg>
        <pc:spChg chg="mod">
          <ac:chgData name="Yousuf, Arsalan" userId="1f742cd1-60f2-4cc5-8102-e09412e517e3" providerId="ADAL" clId="{15464559-230C-484E-9C98-D7B9D3FDBA96}" dt="2024-01-11T11:11:07.505" v="577" actId="2711"/>
          <ac:spMkLst>
            <pc:docMk/>
            <pc:sldMk cId="1060625888" sldId="2147469628"/>
            <ac:spMk id="494" creationId="{4959E140-D084-D43E-E2B1-902D1C8F17EE}"/>
          </ac:spMkLst>
        </pc:spChg>
        <pc:spChg chg="mod">
          <ac:chgData name="Yousuf, Arsalan" userId="1f742cd1-60f2-4cc5-8102-e09412e517e3" providerId="ADAL" clId="{15464559-230C-484E-9C98-D7B9D3FDBA96}" dt="2024-01-11T11:11:07.505" v="577" actId="2711"/>
          <ac:spMkLst>
            <pc:docMk/>
            <pc:sldMk cId="1060625888" sldId="2147469628"/>
            <ac:spMk id="500" creationId="{24DFB175-5D29-16FE-27E3-E4408F65241E}"/>
          </ac:spMkLst>
        </pc:spChg>
        <pc:spChg chg="mod">
          <ac:chgData name="Yousuf, Arsalan" userId="1f742cd1-60f2-4cc5-8102-e09412e517e3" providerId="ADAL" clId="{15464559-230C-484E-9C98-D7B9D3FDBA96}" dt="2024-01-11T11:11:07.505" v="577" actId="2711"/>
          <ac:spMkLst>
            <pc:docMk/>
            <pc:sldMk cId="1060625888" sldId="2147469628"/>
            <ac:spMk id="501" creationId="{FD673E84-8D0B-9858-E343-30A7F5C83A91}"/>
          </ac:spMkLst>
        </pc:spChg>
        <pc:spChg chg="mod">
          <ac:chgData name="Yousuf, Arsalan" userId="1f742cd1-60f2-4cc5-8102-e09412e517e3" providerId="ADAL" clId="{15464559-230C-484E-9C98-D7B9D3FDBA96}" dt="2024-01-11T11:11:07.505" v="577" actId="2711"/>
          <ac:spMkLst>
            <pc:docMk/>
            <pc:sldMk cId="1060625888" sldId="2147469628"/>
            <ac:spMk id="502" creationId="{1F963A1F-702C-CD8D-2B92-E977C58042CE}"/>
          </ac:spMkLst>
        </pc:spChg>
        <pc:spChg chg="mod">
          <ac:chgData name="Yousuf, Arsalan" userId="1f742cd1-60f2-4cc5-8102-e09412e517e3" providerId="ADAL" clId="{15464559-230C-484E-9C98-D7B9D3FDBA96}" dt="2024-01-11T11:11:07.505" v="577" actId="2711"/>
          <ac:spMkLst>
            <pc:docMk/>
            <pc:sldMk cId="1060625888" sldId="2147469628"/>
            <ac:spMk id="503" creationId="{84DC3CCF-1050-3B9D-1D12-9A8B889CE405}"/>
          </ac:spMkLst>
        </pc:spChg>
        <pc:spChg chg="mod">
          <ac:chgData name="Yousuf, Arsalan" userId="1f742cd1-60f2-4cc5-8102-e09412e517e3" providerId="ADAL" clId="{15464559-230C-484E-9C98-D7B9D3FDBA96}" dt="2024-01-11T11:11:07.505" v="577" actId="2711"/>
          <ac:spMkLst>
            <pc:docMk/>
            <pc:sldMk cId="1060625888" sldId="2147469628"/>
            <ac:spMk id="504" creationId="{5F70D689-AF9A-625D-3C30-AD8B20EDF24F}"/>
          </ac:spMkLst>
        </pc:spChg>
        <pc:spChg chg="mod">
          <ac:chgData name="Yousuf, Arsalan" userId="1f742cd1-60f2-4cc5-8102-e09412e517e3" providerId="ADAL" clId="{15464559-230C-484E-9C98-D7B9D3FDBA96}" dt="2024-01-11T11:11:07.505" v="577" actId="2711"/>
          <ac:spMkLst>
            <pc:docMk/>
            <pc:sldMk cId="1060625888" sldId="2147469628"/>
            <ac:spMk id="505" creationId="{7CF73FA9-BFDF-3839-65DA-C0FD61897736}"/>
          </ac:spMkLst>
        </pc:spChg>
        <pc:spChg chg="mod">
          <ac:chgData name="Yousuf, Arsalan" userId="1f742cd1-60f2-4cc5-8102-e09412e517e3" providerId="ADAL" clId="{15464559-230C-484E-9C98-D7B9D3FDBA96}" dt="2024-01-11T11:11:07.505" v="577" actId="2711"/>
          <ac:spMkLst>
            <pc:docMk/>
            <pc:sldMk cId="1060625888" sldId="2147469628"/>
            <ac:spMk id="506" creationId="{B1787FBA-DF5D-4A58-70EB-8EA0BEE42838}"/>
          </ac:spMkLst>
        </pc:spChg>
        <pc:spChg chg="mod">
          <ac:chgData name="Yousuf, Arsalan" userId="1f742cd1-60f2-4cc5-8102-e09412e517e3" providerId="ADAL" clId="{15464559-230C-484E-9C98-D7B9D3FDBA96}" dt="2024-01-11T11:11:27.164" v="581" actId="404"/>
          <ac:spMkLst>
            <pc:docMk/>
            <pc:sldMk cId="1060625888" sldId="2147469628"/>
            <ac:spMk id="507" creationId="{42A25287-6DDF-D975-7AAE-33B629EF2BC8}"/>
          </ac:spMkLst>
        </pc:spChg>
        <pc:spChg chg="mod">
          <ac:chgData name="Yousuf, Arsalan" userId="1f742cd1-60f2-4cc5-8102-e09412e517e3" providerId="ADAL" clId="{15464559-230C-484E-9C98-D7B9D3FDBA96}" dt="2024-01-11T11:11:07.505" v="577" actId="2711"/>
          <ac:spMkLst>
            <pc:docMk/>
            <pc:sldMk cId="1060625888" sldId="2147469628"/>
            <ac:spMk id="511" creationId="{14DE8F98-83F9-08CF-8BCD-F3E15596EE93}"/>
          </ac:spMkLst>
        </pc:spChg>
      </pc:sldChg>
      <pc:sldChg chg="del">
        <pc:chgData name="Yousuf, Arsalan" userId="1f742cd1-60f2-4cc5-8102-e09412e517e3" providerId="ADAL" clId="{15464559-230C-484E-9C98-D7B9D3FDBA96}" dt="2024-01-11T15:48:57.834" v="5132" actId="47"/>
        <pc:sldMkLst>
          <pc:docMk/>
          <pc:sldMk cId="3552140453" sldId="2147469713"/>
        </pc:sldMkLst>
      </pc:sldChg>
      <pc:sldChg chg="addSp delSp modSp mod">
        <pc:chgData name="Yousuf, Arsalan" userId="1f742cd1-60f2-4cc5-8102-e09412e517e3" providerId="ADAL" clId="{15464559-230C-484E-9C98-D7B9D3FDBA96}" dt="2024-01-11T16:05:19.183" v="5433" actId="20577"/>
        <pc:sldMkLst>
          <pc:docMk/>
          <pc:sldMk cId="4277273097" sldId="2147472019"/>
        </pc:sldMkLst>
        <pc:spChg chg="add del mod">
          <ac:chgData name="Yousuf, Arsalan" userId="1f742cd1-60f2-4cc5-8102-e09412e517e3" providerId="ADAL" clId="{15464559-230C-484E-9C98-D7B9D3FDBA96}" dt="2024-01-11T15:48:15.676" v="5113"/>
          <ac:spMkLst>
            <pc:docMk/>
            <pc:sldMk cId="4277273097" sldId="2147472019"/>
            <ac:spMk id="2" creationId="{79E8303D-5BDD-FFED-4B2A-7E66DC8FB25F}"/>
          </ac:spMkLst>
        </pc:spChg>
        <pc:spChg chg="add del mod">
          <ac:chgData name="Yousuf, Arsalan" userId="1f742cd1-60f2-4cc5-8102-e09412e517e3" providerId="ADAL" clId="{15464559-230C-484E-9C98-D7B9D3FDBA96}" dt="2024-01-11T15:48:15.676" v="5113"/>
          <ac:spMkLst>
            <pc:docMk/>
            <pc:sldMk cId="4277273097" sldId="2147472019"/>
            <ac:spMk id="3" creationId="{53C278E5-7085-C35E-F644-5428617BB2FE}"/>
          </ac:spMkLst>
        </pc:spChg>
        <pc:spChg chg="add del mod">
          <ac:chgData name="Yousuf, Arsalan" userId="1f742cd1-60f2-4cc5-8102-e09412e517e3" providerId="ADAL" clId="{15464559-230C-484E-9C98-D7B9D3FDBA96}" dt="2024-01-11T15:48:15.676" v="5113"/>
          <ac:spMkLst>
            <pc:docMk/>
            <pc:sldMk cId="4277273097" sldId="2147472019"/>
            <ac:spMk id="4" creationId="{49EC9B1B-2832-09A6-1D74-E7988F4645C9}"/>
          </ac:spMkLst>
        </pc:spChg>
        <pc:spChg chg="add del mod">
          <ac:chgData name="Yousuf, Arsalan" userId="1f742cd1-60f2-4cc5-8102-e09412e517e3" providerId="ADAL" clId="{15464559-230C-484E-9C98-D7B9D3FDBA96}" dt="2024-01-11T15:48:15.676" v="5113"/>
          <ac:spMkLst>
            <pc:docMk/>
            <pc:sldMk cId="4277273097" sldId="2147472019"/>
            <ac:spMk id="5" creationId="{7FDE9358-DD49-0177-98D8-9C16F32ACD21}"/>
          </ac:spMkLst>
        </pc:spChg>
        <pc:spChg chg="add del mod">
          <ac:chgData name="Yousuf, Arsalan" userId="1f742cd1-60f2-4cc5-8102-e09412e517e3" providerId="ADAL" clId="{15464559-230C-484E-9C98-D7B9D3FDBA96}" dt="2024-01-11T15:48:15.676" v="5113"/>
          <ac:spMkLst>
            <pc:docMk/>
            <pc:sldMk cId="4277273097" sldId="2147472019"/>
            <ac:spMk id="7" creationId="{4075DCC7-66D1-750B-6183-AEFF44CA4B9C}"/>
          </ac:spMkLst>
        </pc:spChg>
        <pc:spChg chg="del">
          <ac:chgData name="Yousuf, Arsalan" userId="1f742cd1-60f2-4cc5-8102-e09412e517e3" providerId="ADAL" clId="{15464559-230C-484E-9C98-D7B9D3FDBA96}" dt="2024-01-11T15:47:58.775" v="5111" actId="478"/>
          <ac:spMkLst>
            <pc:docMk/>
            <pc:sldMk cId="4277273097" sldId="2147472019"/>
            <ac:spMk id="10" creationId="{FD52CFFD-35A4-4819-BEFA-A216D384E824}"/>
          </ac:spMkLst>
        </pc:spChg>
        <pc:spChg chg="add del mod">
          <ac:chgData name="Yousuf, Arsalan" userId="1f742cd1-60f2-4cc5-8102-e09412e517e3" providerId="ADAL" clId="{15464559-230C-484E-9C98-D7B9D3FDBA96}" dt="2024-01-11T15:48:21.013" v="5115" actId="478"/>
          <ac:spMkLst>
            <pc:docMk/>
            <pc:sldMk cId="4277273097" sldId="2147472019"/>
            <ac:spMk id="11" creationId="{0C1B3303-2534-B19F-4EEA-A3CB9E808136}"/>
          </ac:spMkLst>
        </pc:spChg>
        <pc:spChg chg="del">
          <ac:chgData name="Yousuf, Arsalan" userId="1f742cd1-60f2-4cc5-8102-e09412e517e3" providerId="ADAL" clId="{15464559-230C-484E-9C98-D7B9D3FDBA96}" dt="2024-01-11T15:47:58.775" v="5111" actId="478"/>
          <ac:spMkLst>
            <pc:docMk/>
            <pc:sldMk cId="4277273097" sldId="2147472019"/>
            <ac:spMk id="12" creationId="{8016CE3C-690F-45FC-8079-361E167CB5D0}"/>
          </ac:spMkLst>
        </pc:spChg>
        <pc:spChg chg="del">
          <ac:chgData name="Yousuf, Arsalan" userId="1f742cd1-60f2-4cc5-8102-e09412e517e3" providerId="ADAL" clId="{15464559-230C-484E-9C98-D7B9D3FDBA96}" dt="2024-01-11T15:47:58.775" v="5111" actId="478"/>
          <ac:spMkLst>
            <pc:docMk/>
            <pc:sldMk cId="4277273097" sldId="2147472019"/>
            <ac:spMk id="13" creationId="{885D406F-B2FE-4686-8A0B-47FC56065756}"/>
          </ac:spMkLst>
        </pc:spChg>
        <pc:spChg chg="del">
          <ac:chgData name="Yousuf, Arsalan" userId="1f742cd1-60f2-4cc5-8102-e09412e517e3" providerId="ADAL" clId="{15464559-230C-484E-9C98-D7B9D3FDBA96}" dt="2024-01-11T15:47:58.775" v="5111" actId="478"/>
          <ac:spMkLst>
            <pc:docMk/>
            <pc:sldMk cId="4277273097" sldId="2147472019"/>
            <ac:spMk id="15" creationId="{57BDDBA9-0684-414A-8B2C-A6B55AD77B7F}"/>
          </ac:spMkLst>
        </pc:spChg>
        <pc:spChg chg="add mod">
          <ac:chgData name="Yousuf, Arsalan" userId="1f742cd1-60f2-4cc5-8102-e09412e517e3" providerId="ADAL" clId="{15464559-230C-484E-9C98-D7B9D3FDBA96}" dt="2024-01-11T16:01:47.352" v="5381" actId="2085"/>
          <ac:spMkLst>
            <pc:docMk/>
            <pc:sldMk cId="4277273097" sldId="2147472019"/>
            <ac:spMk id="16" creationId="{A1EA430C-EA4A-66DD-C695-1D0351E4E537}"/>
          </ac:spMkLst>
        </pc:spChg>
        <pc:spChg chg="add mod">
          <ac:chgData name="Yousuf, Arsalan" userId="1f742cd1-60f2-4cc5-8102-e09412e517e3" providerId="ADAL" clId="{15464559-230C-484E-9C98-D7B9D3FDBA96}" dt="2024-01-11T15:48:21.656" v="5116"/>
          <ac:spMkLst>
            <pc:docMk/>
            <pc:sldMk cId="4277273097" sldId="2147472019"/>
            <ac:spMk id="17" creationId="{E74F9C87-88A8-01B9-1C39-F3B340C0389D}"/>
          </ac:spMkLst>
        </pc:spChg>
        <pc:spChg chg="add mod">
          <ac:chgData name="Yousuf, Arsalan" userId="1f742cd1-60f2-4cc5-8102-e09412e517e3" providerId="ADAL" clId="{15464559-230C-484E-9C98-D7B9D3FDBA96}" dt="2024-01-11T16:05:19.183" v="5433" actId="20577"/>
          <ac:spMkLst>
            <pc:docMk/>
            <pc:sldMk cId="4277273097" sldId="2147472019"/>
            <ac:spMk id="18" creationId="{0F4629DE-4CEA-7B1D-F7CD-A04C2B560F49}"/>
          </ac:spMkLst>
        </pc:spChg>
        <pc:spChg chg="add mod">
          <ac:chgData name="Yousuf, Arsalan" userId="1f742cd1-60f2-4cc5-8102-e09412e517e3" providerId="ADAL" clId="{15464559-230C-484E-9C98-D7B9D3FDBA96}" dt="2024-01-11T15:48:21.656" v="5116"/>
          <ac:spMkLst>
            <pc:docMk/>
            <pc:sldMk cId="4277273097" sldId="2147472019"/>
            <ac:spMk id="19" creationId="{471B7FFB-D64E-CF7C-5D77-37048E79B290}"/>
          </ac:spMkLst>
        </pc:spChg>
        <pc:spChg chg="del">
          <ac:chgData name="Yousuf, Arsalan" userId="1f742cd1-60f2-4cc5-8102-e09412e517e3" providerId="ADAL" clId="{15464559-230C-484E-9C98-D7B9D3FDBA96}" dt="2024-01-11T15:47:58.775" v="5111" actId="478"/>
          <ac:spMkLst>
            <pc:docMk/>
            <pc:sldMk cId="4277273097" sldId="2147472019"/>
            <ac:spMk id="21" creationId="{B499CC86-FE6E-45EE-BB9C-523792A2D04A}"/>
          </ac:spMkLst>
        </pc:spChg>
        <pc:spChg chg="add mod">
          <ac:chgData name="Yousuf, Arsalan" userId="1f742cd1-60f2-4cc5-8102-e09412e517e3" providerId="ADAL" clId="{15464559-230C-484E-9C98-D7B9D3FDBA96}" dt="2024-01-11T15:48:21.656" v="5116"/>
          <ac:spMkLst>
            <pc:docMk/>
            <pc:sldMk cId="4277273097" sldId="2147472019"/>
            <ac:spMk id="22" creationId="{49ADBABE-2C0F-C2CF-4B39-21544539865A}"/>
          </ac:spMkLst>
        </pc:spChg>
        <pc:spChg chg="del">
          <ac:chgData name="Yousuf, Arsalan" userId="1f742cd1-60f2-4cc5-8102-e09412e517e3" providerId="ADAL" clId="{15464559-230C-484E-9C98-D7B9D3FDBA96}" dt="2024-01-11T15:47:58.775" v="5111" actId="478"/>
          <ac:spMkLst>
            <pc:docMk/>
            <pc:sldMk cId="4277273097" sldId="2147472019"/>
            <ac:spMk id="25" creationId="{4F4FBC41-DE73-4CCA-8D2B-68794AB2CC6F}"/>
          </ac:spMkLst>
        </pc:spChg>
        <pc:spChg chg="del">
          <ac:chgData name="Yousuf, Arsalan" userId="1f742cd1-60f2-4cc5-8102-e09412e517e3" providerId="ADAL" clId="{15464559-230C-484E-9C98-D7B9D3FDBA96}" dt="2024-01-11T15:48:19.450" v="5114" actId="478"/>
          <ac:spMkLst>
            <pc:docMk/>
            <pc:sldMk cId="4277273097" sldId="2147472019"/>
            <ac:spMk id="28" creationId="{3DF3102D-D97A-4C9C-8CF3-B45470DA7882}"/>
          </ac:spMkLst>
        </pc:spChg>
        <pc:spChg chg="del">
          <ac:chgData name="Yousuf, Arsalan" userId="1f742cd1-60f2-4cc5-8102-e09412e517e3" providerId="ADAL" clId="{15464559-230C-484E-9C98-D7B9D3FDBA96}" dt="2024-01-11T15:48:19.450" v="5114" actId="478"/>
          <ac:spMkLst>
            <pc:docMk/>
            <pc:sldMk cId="4277273097" sldId="2147472019"/>
            <ac:spMk id="29" creationId="{590F340B-A1F4-4DF2-884C-ACC23F6FCF20}"/>
          </ac:spMkLst>
        </pc:spChg>
        <pc:graphicFrameChg chg="add del mod">
          <ac:chgData name="Yousuf, Arsalan" userId="1f742cd1-60f2-4cc5-8102-e09412e517e3" providerId="ADAL" clId="{15464559-230C-484E-9C98-D7B9D3FDBA96}" dt="2024-01-11T15:48:15.676" v="5113"/>
          <ac:graphicFrameMkLst>
            <pc:docMk/>
            <pc:sldMk cId="4277273097" sldId="2147472019"/>
            <ac:graphicFrameMk id="8" creationId="{02C86259-B246-164A-B2B3-6FDC0E068BAE}"/>
          </ac:graphicFrameMkLst>
        </pc:graphicFrameChg>
        <pc:graphicFrameChg chg="add mod">
          <ac:chgData name="Yousuf, Arsalan" userId="1f742cd1-60f2-4cc5-8102-e09412e517e3" providerId="ADAL" clId="{15464559-230C-484E-9C98-D7B9D3FDBA96}" dt="2024-01-11T15:48:21.656" v="5116"/>
          <ac:graphicFrameMkLst>
            <pc:docMk/>
            <pc:sldMk cId="4277273097" sldId="2147472019"/>
            <ac:graphicFrameMk id="23" creationId="{FC7EB8B5-7118-CCF4-3074-1FF6D3D900C3}"/>
          </ac:graphicFrameMkLst>
        </pc:graphicFrameChg>
        <pc:picChg chg="add del mod">
          <ac:chgData name="Yousuf, Arsalan" userId="1f742cd1-60f2-4cc5-8102-e09412e517e3" providerId="ADAL" clId="{15464559-230C-484E-9C98-D7B9D3FDBA96}" dt="2024-01-11T15:48:15.676" v="5113"/>
          <ac:picMkLst>
            <pc:docMk/>
            <pc:sldMk cId="4277273097" sldId="2147472019"/>
            <ac:picMk id="6" creationId="{1DF4C3FB-E33E-8C0D-BB5F-FAD07ACB44EE}"/>
          </ac:picMkLst>
        </pc:picChg>
        <pc:picChg chg="del">
          <ac:chgData name="Yousuf, Arsalan" userId="1f742cd1-60f2-4cc5-8102-e09412e517e3" providerId="ADAL" clId="{15464559-230C-484E-9C98-D7B9D3FDBA96}" dt="2024-01-11T15:47:58.775" v="5111" actId="478"/>
          <ac:picMkLst>
            <pc:docMk/>
            <pc:sldMk cId="4277273097" sldId="2147472019"/>
            <ac:picMk id="14" creationId="{F7CCEED9-B3A3-4FC3-8CF0-D4EA25A4056A}"/>
          </ac:picMkLst>
        </pc:picChg>
        <pc:picChg chg="add mod">
          <ac:chgData name="Yousuf, Arsalan" userId="1f742cd1-60f2-4cc5-8102-e09412e517e3" providerId="ADAL" clId="{15464559-230C-484E-9C98-D7B9D3FDBA96}" dt="2024-01-11T15:48:21.656" v="5116"/>
          <ac:picMkLst>
            <pc:docMk/>
            <pc:sldMk cId="4277273097" sldId="2147472019"/>
            <ac:picMk id="20" creationId="{4ED636DF-DA43-1FD8-C65E-390365EF2680}"/>
          </ac:picMkLst>
        </pc:picChg>
      </pc:sldChg>
      <pc:sldChg chg="del">
        <pc:chgData name="Yousuf, Arsalan" userId="1f742cd1-60f2-4cc5-8102-e09412e517e3" providerId="ADAL" clId="{15464559-230C-484E-9C98-D7B9D3FDBA96}" dt="2024-01-11T14:08:30.673" v="2357" actId="47"/>
        <pc:sldMkLst>
          <pc:docMk/>
          <pc:sldMk cId="3805662702" sldId="2147472089"/>
        </pc:sldMkLst>
      </pc:sldChg>
      <pc:sldChg chg="del">
        <pc:chgData name="Yousuf, Arsalan" userId="1f742cd1-60f2-4cc5-8102-e09412e517e3" providerId="ADAL" clId="{15464559-230C-484E-9C98-D7B9D3FDBA96}" dt="2024-01-11T13:18:38.822" v="1537" actId="47"/>
        <pc:sldMkLst>
          <pc:docMk/>
          <pc:sldMk cId="2464809623" sldId="2147472094"/>
        </pc:sldMkLst>
      </pc:sldChg>
      <pc:sldChg chg="del">
        <pc:chgData name="Yousuf, Arsalan" userId="1f742cd1-60f2-4cc5-8102-e09412e517e3" providerId="ADAL" clId="{15464559-230C-484E-9C98-D7B9D3FDBA96}" dt="2024-01-11T15:49:01.616" v="5133" actId="47"/>
        <pc:sldMkLst>
          <pc:docMk/>
          <pc:sldMk cId="122339857" sldId="2147472107"/>
        </pc:sldMkLst>
      </pc:sldChg>
      <pc:sldChg chg="del">
        <pc:chgData name="Yousuf, Arsalan" userId="1f742cd1-60f2-4cc5-8102-e09412e517e3" providerId="ADAL" clId="{15464559-230C-484E-9C98-D7B9D3FDBA96}" dt="2024-01-11T15:49:01.616" v="5133" actId="47"/>
        <pc:sldMkLst>
          <pc:docMk/>
          <pc:sldMk cId="2924804974" sldId="2147472108"/>
        </pc:sldMkLst>
      </pc:sldChg>
      <pc:sldChg chg="addSp modSp mod">
        <pc:chgData name="Yousuf, Arsalan" userId="1f742cd1-60f2-4cc5-8102-e09412e517e3" providerId="ADAL" clId="{15464559-230C-484E-9C98-D7B9D3FDBA96}" dt="2024-01-11T16:05:09.780" v="5432" actId="2711"/>
        <pc:sldMkLst>
          <pc:docMk/>
          <pc:sldMk cId="3957932871" sldId="2147472109"/>
        </pc:sldMkLst>
        <pc:spChg chg="add mod">
          <ac:chgData name="Yousuf, Arsalan" userId="1f742cd1-60f2-4cc5-8102-e09412e517e3" providerId="ADAL" clId="{15464559-230C-484E-9C98-D7B9D3FDBA96}" dt="2024-01-11T15:36:01.243" v="5085" actId="20577"/>
          <ac:spMkLst>
            <pc:docMk/>
            <pc:sldMk cId="3957932871" sldId="2147472109"/>
            <ac:spMk id="2" creationId="{6E671ADA-B264-17D5-4EF2-F9E8FE1560E5}"/>
          </ac:spMkLst>
        </pc:spChg>
        <pc:spChg chg="mod">
          <ac:chgData name="Yousuf, Arsalan" userId="1f742cd1-60f2-4cc5-8102-e09412e517e3" providerId="ADAL" clId="{15464559-230C-484E-9C98-D7B9D3FDBA96}" dt="2024-01-11T16:05:09.780" v="5432" actId="2711"/>
          <ac:spMkLst>
            <pc:docMk/>
            <pc:sldMk cId="3957932871" sldId="2147472109"/>
            <ac:spMk id="752" creationId="{00000000-0000-0000-0000-000000000000}"/>
          </ac:spMkLst>
        </pc:spChg>
      </pc:sldChg>
      <pc:sldChg chg="modSp mod">
        <pc:chgData name="Yousuf, Arsalan" userId="1f742cd1-60f2-4cc5-8102-e09412e517e3" providerId="ADAL" clId="{15464559-230C-484E-9C98-D7B9D3FDBA96}" dt="2024-01-11T16:47:50.319" v="7919" actId="14100"/>
        <pc:sldMkLst>
          <pc:docMk/>
          <pc:sldMk cId="2880389519" sldId="2147472117"/>
        </pc:sldMkLst>
        <pc:spChg chg="mod">
          <ac:chgData name="Yousuf, Arsalan" userId="1f742cd1-60f2-4cc5-8102-e09412e517e3" providerId="ADAL" clId="{15464559-230C-484E-9C98-D7B9D3FDBA96}" dt="2024-01-11T16:04:27.284" v="5422" actId="2711"/>
          <ac:spMkLst>
            <pc:docMk/>
            <pc:sldMk cId="2880389519" sldId="2147472117"/>
            <ac:spMk id="2" creationId="{8DAB7A1E-FAD5-63F6-1941-2934C5A8A3E8}"/>
          </ac:spMkLst>
        </pc:spChg>
        <pc:spChg chg="mod">
          <ac:chgData name="Yousuf, Arsalan" userId="1f742cd1-60f2-4cc5-8102-e09412e517e3" providerId="ADAL" clId="{15464559-230C-484E-9C98-D7B9D3FDBA96}" dt="2024-01-11T16:04:27.284" v="5422" actId="2711"/>
          <ac:spMkLst>
            <pc:docMk/>
            <pc:sldMk cId="2880389519" sldId="2147472117"/>
            <ac:spMk id="3" creationId="{BFD9CAE3-DFF1-0772-1A44-766B60B57115}"/>
          </ac:spMkLst>
        </pc:spChg>
        <pc:spChg chg="mod">
          <ac:chgData name="Yousuf, Arsalan" userId="1f742cd1-60f2-4cc5-8102-e09412e517e3" providerId="ADAL" clId="{15464559-230C-484E-9C98-D7B9D3FDBA96}" dt="2024-01-11T16:04:27.284" v="5422" actId="2711"/>
          <ac:spMkLst>
            <pc:docMk/>
            <pc:sldMk cId="2880389519" sldId="2147472117"/>
            <ac:spMk id="4" creationId="{1CDE2912-910F-C6F8-3582-AFB28F4DBB4B}"/>
          </ac:spMkLst>
        </pc:spChg>
        <pc:spChg chg="mod">
          <ac:chgData name="Yousuf, Arsalan" userId="1f742cd1-60f2-4cc5-8102-e09412e517e3" providerId="ADAL" clId="{15464559-230C-484E-9C98-D7B9D3FDBA96}" dt="2024-01-11T16:04:27.284" v="5422" actId="2711"/>
          <ac:spMkLst>
            <pc:docMk/>
            <pc:sldMk cId="2880389519" sldId="2147472117"/>
            <ac:spMk id="5" creationId="{4C3421BE-7DEC-EB84-EC44-0EF7CA85C895}"/>
          </ac:spMkLst>
        </pc:spChg>
        <pc:spChg chg="mod">
          <ac:chgData name="Yousuf, Arsalan" userId="1f742cd1-60f2-4cc5-8102-e09412e517e3" providerId="ADAL" clId="{15464559-230C-484E-9C98-D7B9D3FDBA96}" dt="2024-01-11T16:04:27.284" v="5422" actId="2711"/>
          <ac:spMkLst>
            <pc:docMk/>
            <pc:sldMk cId="2880389519" sldId="2147472117"/>
            <ac:spMk id="6" creationId="{2513D953-5A9C-B480-AC94-AE728A60C3C1}"/>
          </ac:spMkLst>
        </pc:spChg>
        <pc:spChg chg="mod">
          <ac:chgData name="Yousuf, Arsalan" userId="1f742cd1-60f2-4cc5-8102-e09412e517e3" providerId="ADAL" clId="{15464559-230C-484E-9C98-D7B9D3FDBA96}" dt="2024-01-11T16:47:50.319" v="7919" actId="14100"/>
          <ac:spMkLst>
            <pc:docMk/>
            <pc:sldMk cId="2880389519" sldId="2147472117"/>
            <ac:spMk id="7" creationId="{C2CBAE67-A811-BBF8-B428-B9225CE227C2}"/>
          </ac:spMkLst>
        </pc:spChg>
        <pc:spChg chg="mod">
          <ac:chgData name="Yousuf, Arsalan" userId="1f742cd1-60f2-4cc5-8102-e09412e517e3" providerId="ADAL" clId="{15464559-230C-484E-9C98-D7B9D3FDBA96}" dt="2024-01-11T16:04:27.284" v="5422" actId="2711"/>
          <ac:spMkLst>
            <pc:docMk/>
            <pc:sldMk cId="2880389519" sldId="2147472117"/>
            <ac:spMk id="23" creationId="{CB326109-4C80-1FC6-D72E-872998AC161A}"/>
          </ac:spMkLst>
        </pc:spChg>
        <pc:spChg chg="mod">
          <ac:chgData name="Yousuf, Arsalan" userId="1f742cd1-60f2-4cc5-8102-e09412e517e3" providerId="ADAL" clId="{15464559-230C-484E-9C98-D7B9D3FDBA96}" dt="2024-01-11T16:04:27.284" v="5422" actId="2711"/>
          <ac:spMkLst>
            <pc:docMk/>
            <pc:sldMk cId="2880389519" sldId="2147472117"/>
            <ac:spMk id="24" creationId="{0E8134CB-90EF-263D-66A2-6A806CE8FD43}"/>
          </ac:spMkLst>
        </pc:spChg>
        <pc:spChg chg="mod">
          <ac:chgData name="Yousuf, Arsalan" userId="1f742cd1-60f2-4cc5-8102-e09412e517e3" providerId="ADAL" clId="{15464559-230C-484E-9C98-D7B9D3FDBA96}" dt="2024-01-11T16:04:27.284" v="5422" actId="2711"/>
          <ac:spMkLst>
            <pc:docMk/>
            <pc:sldMk cId="2880389519" sldId="2147472117"/>
            <ac:spMk id="25" creationId="{B5FA7AD6-99D9-2D95-5781-A677EABDA559}"/>
          </ac:spMkLst>
        </pc:spChg>
        <pc:spChg chg="mod">
          <ac:chgData name="Yousuf, Arsalan" userId="1f742cd1-60f2-4cc5-8102-e09412e517e3" providerId="ADAL" clId="{15464559-230C-484E-9C98-D7B9D3FDBA96}" dt="2024-01-11T16:04:27.284" v="5422" actId="2711"/>
          <ac:spMkLst>
            <pc:docMk/>
            <pc:sldMk cId="2880389519" sldId="2147472117"/>
            <ac:spMk id="26" creationId="{A7748D46-FEF8-F0DA-7BED-7AB7D5C2F8BC}"/>
          </ac:spMkLst>
        </pc:spChg>
        <pc:spChg chg="mod">
          <ac:chgData name="Yousuf, Arsalan" userId="1f742cd1-60f2-4cc5-8102-e09412e517e3" providerId="ADAL" clId="{15464559-230C-484E-9C98-D7B9D3FDBA96}" dt="2024-01-11T16:04:27.284" v="5422" actId="2711"/>
          <ac:spMkLst>
            <pc:docMk/>
            <pc:sldMk cId="2880389519" sldId="2147472117"/>
            <ac:spMk id="27" creationId="{55AD987A-38B8-E9D9-0BBC-CD579D9FB308}"/>
          </ac:spMkLst>
        </pc:spChg>
        <pc:spChg chg="mod">
          <ac:chgData name="Yousuf, Arsalan" userId="1f742cd1-60f2-4cc5-8102-e09412e517e3" providerId="ADAL" clId="{15464559-230C-484E-9C98-D7B9D3FDBA96}" dt="2024-01-11T16:04:27.284" v="5422" actId="2711"/>
          <ac:spMkLst>
            <pc:docMk/>
            <pc:sldMk cId="2880389519" sldId="2147472117"/>
            <ac:spMk id="28" creationId="{9585B66D-7837-E7FC-75D3-0FD8AF04272A}"/>
          </ac:spMkLst>
        </pc:spChg>
        <pc:spChg chg="mod">
          <ac:chgData name="Yousuf, Arsalan" userId="1f742cd1-60f2-4cc5-8102-e09412e517e3" providerId="ADAL" clId="{15464559-230C-484E-9C98-D7B9D3FDBA96}" dt="2024-01-11T16:04:27.284" v="5422" actId="2711"/>
          <ac:spMkLst>
            <pc:docMk/>
            <pc:sldMk cId="2880389519" sldId="2147472117"/>
            <ac:spMk id="29" creationId="{DBBC7453-959F-4B88-128A-4049CDF73F67}"/>
          </ac:spMkLst>
        </pc:spChg>
        <pc:spChg chg="mod">
          <ac:chgData name="Yousuf, Arsalan" userId="1f742cd1-60f2-4cc5-8102-e09412e517e3" providerId="ADAL" clId="{15464559-230C-484E-9C98-D7B9D3FDBA96}" dt="2024-01-11T16:04:27.284" v="5422" actId="2711"/>
          <ac:spMkLst>
            <pc:docMk/>
            <pc:sldMk cId="2880389519" sldId="2147472117"/>
            <ac:spMk id="30" creationId="{111A5797-4DB2-1B5C-DD0B-49A3B8E076D0}"/>
          </ac:spMkLst>
        </pc:spChg>
        <pc:spChg chg="mod">
          <ac:chgData name="Yousuf, Arsalan" userId="1f742cd1-60f2-4cc5-8102-e09412e517e3" providerId="ADAL" clId="{15464559-230C-484E-9C98-D7B9D3FDBA96}" dt="2024-01-11T16:04:27.284" v="5422" actId="2711"/>
          <ac:spMkLst>
            <pc:docMk/>
            <pc:sldMk cId="2880389519" sldId="2147472117"/>
            <ac:spMk id="50" creationId="{4457BD15-2EE6-41BD-8E12-C8AA6754970B}"/>
          </ac:spMkLst>
        </pc:spChg>
        <pc:spChg chg="mod">
          <ac:chgData name="Yousuf, Arsalan" userId="1f742cd1-60f2-4cc5-8102-e09412e517e3" providerId="ADAL" clId="{15464559-230C-484E-9C98-D7B9D3FDBA96}" dt="2024-01-11T16:04:27.284" v="5422" actId="2711"/>
          <ac:spMkLst>
            <pc:docMk/>
            <pc:sldMk cId="2880389519" sldId="2147472117"/>
            <ac:spMk id="52" creationId="{0591DDEE-AC9D-44E4-8E3A-45EA9543ADA4}"/>
          </ac:spMkLst>
        </pc:spChg>
        <pc:spChg chg="mod">
          <ac:chgData name="Yousuf, Arsalan" userId="1f742cd1-60f2-4cc5-8102-e09412e517e3" providerId="ADAL" clId="{15464559-230C-484E-9C98-D7B9D3FDBA96}" dt="2024-01-11T16:04:36.899" v="5428" actId="255"/>
          <ac:spMkLst>
            <pc:docMk/>
            <pc:sldMk cId="2880389519" sldId="2147472117"/>
            <ac:spMk id="419" creationId="{00000000-0000-0000-0000-000000000000}"/>
          </ac:spMkLst>
        </pc:spChg>
        <pc:spChg chg="mod">
          <ac:chgData name="Yousuf, Arsalan" userId="1f742cd1-60f2-4cc5-8102-e09412e517e3" providerId="ADAL" clId="{15464559-230C-484E-9C98-D7B9D3FDBA96}" dt="2024-01-11T16:04:27.284" v="5422" actId="2711"/>
          <ac:spMkLst>
            <pc:docMk/>
            <pc:sldMk cId="2880389519" sldId="2147472117"/>
            <ac:spMk id="420" creationId="{00000000-0000-0000-0000-000000000000}"/>
          </ac:spMkLst>
        </pc:spChg>
        <pc:spChg chg="mod">
          <ac:chgData name="Yousuf, Arsalan" userId="1f742cd1-60f2-4cc5-8102-e09412e517e3" providerId="ADAL" clId="{15464559-230C-484E-9C98-D7B9D3FDBA96}" dt="2024-01-11T16:04:27.284" v="5422" actId="2711"/>
          <ac:spMkLst>
            <pc:docMk/>
            <pc:sldMk cId="2880389519" sldId="2147472117"/>
            <ac:spMk id="422" creationId="{00000000-0000-0000-0000-000000000000}"/>
          </ac:spMkLst>
        </pc:spChg>
        <pc:spChg chg="mod">
          <ac:chgData name="Yousuf, Arsalan" userId="1f742cd1-60f2-4cc5-8102-e09412e517e3" providerId="ADAL" clId="{15464559-230C-484E-9C98-D7B9D3FDBA96}" dt="2024-01-11T16:04:27.284" v="5422" actId="2711"/>
          <ac:spMkLst>
            <pc:docMk/>
            <pc:sldMk cId="2880389519" sldId="2147472117"/>
            <ac:spMk id="424" creationId="{00000000-0000-0000-0000-000000000000}"/>
          </ac:spMkLst>
        </pc:spChg>
        <pc:spChg chg="mod">
          <ac:chgData name="Yousuf, Arsalan" userId="1f742cd1-60f2-4cc5-8102-e09412e517e3" providerId="ADAL" clId="{15464559-230C-484E-9C98-D7B9D3FDBA96}" dt="2024-01-11T16:04:27.284" v="5422" actId="2711"/>
          <ac:spMkLst>
            <pc:docMk/>
            <pc:sldMk cId="2880389519" sldId="2147472117"/>
            <ac:spMk id="425" creationId="{00000000-0000-0000-0000-000000000000}"/>
          </ac:spMkLst>
        </pc:spChg>
        <pc:spChg chg="mod">
          <ac:chgData name="Yousuf, Arsalan" userId="1f742cd1-60f2-4cc5-8102-e09412e517e3" providerId="ADAL" clId="{15464559-230C-484E-9C98-D7B9D3FDBA96}" dt="2024-01-11T16:04:27.284" v="5422" actId="2711"/>
          <ac:spMkLst>
            <pc:docMk/>
            <pc:sldMk cId="2880389519" sldId="2147472117"/>
            <ac:spMk id="426" creationId="{00000000-0000-0000-0000-000000000000}"/>
          </ac:spMkLst>
        </pc:spChg>
        <pc:spChg chg="mod">
          <ac:chgData name="Yousuf, Arsalan" userId="1f742cd1-60f2-4cc5-8102-e09412e517e3" providerId="ADAL" clId="{15464559-230C-484E-9C98-D7B9D3FDBA96}" dt="2024-01-11T16:04:27.284" v="5422" actId="2711"/>
          <ac:spMkLst>
            <pc:docMk/>
            <pc:sldMk cId="2880389519" sldId="2147472117"/>
            <ac:spMk id="427" creationId="{00000000-0000-0000-0000-000000000000}"/>
          </ac:spMkLst>
        </pc:spChg>
        <pc:spChg chg="mod">
          <ac:chgData name="Yousuf, Arsalan" userId="1f742cd1-60f2-4cc5-8102-e09412e517e3" providerId="ADAL" clId="{15464559-230C-484E-9C98-D7B9D3FDBA96}" dt="2024-01-11T16:04:27.284" v="5422" actId="2711"/>
          <ac:spMkLst>
            <pc:docMk/>
            <pc:sldMk cId="2880389519" sldId="2147472117"/>
            <ac:spMk id="428" creationId="{00000000-0000-0000-0000-000000000000}"/>
          </ac:spMkLst>
        </pc:spChg>
        <pc:spChg chg="mod">
          <ac:chgData name="Yousuf, Arsalan" userId="1f742cd1-60f2-4cc5-8102-e09412e517e3" providerId="ADAL" clId="{15464559-230C-484E-9C98-D7B9D3FDBA96}" dt="2024-01-11T16:04:27.284" v="5422" actId="2711"/>
          <ac:spMkLst>
            <pc:docMk/>
            <pc:sldMk cId="2880389519" sldId="2147472117"/>
            <ac:spMk id="429" creationId="{00000000-0000-0000-0000-000000000000}"/>
          </ac:spMkLst>
        </pc:spChg>
      </pc:sldChg>
      <pc:sldChg chg="modSp mod">
        <pc:chgData name="Yousuf, Arsalan" userId="1f742cd1-60f2-4cc5-8102-e09412e517e3" providerId="ADAL" clId="{15464559-230C-484E-9C98-D7B9D3FDBA96}" dt="2024-01-11T16:13:47.992" v="5833" actId="255"/>
        <pc:sldMkLst>
          <pc:docMk/>
          <pc:sldMk cId="1863641052" sldId="2147472121"/>
        </pc:sldMkLst>
        <pc:spChg chg="mod">
          <ac:chgData name="Yousuf, Arsalan" userId="1f742cd1-60f2-4cc5-8102-e09412e517e3" providerId="ADAL" clId="{15464559-230C-484E-9C98-D7B9D3FDBA96}" dt="2024-01-11T16:07:59.012" v="5465" actId="113"/>
          <ac:spMkLst>
            <pc:docMk/>
            <pc:sldMk cId="1863641052" sldId="2147472121"/>
            <ac:spMk id="2" creationId="{CC93B7E7-8D0A-1A99-7EF2-95F71E057368}"/>
          </ac:spMkLst>
        </pc:spChg>
        <pc:spChg chg="mod">
          <ac:chgData name="Yousuf, Arsalan" userId="1f742cd1-60f2-4cc5-8102-e09412e517e3" providerId="ADAL" clId="{15464559-230C-484E-9C98-D7B9D3FDBA96}" dt="2024-01-11T16:07:55.220" v="5464" actId="2711"/>
          <ac:spMkLst>
            <pc:docMk/>
            <pc:sldMk cId="1863641052" sldId="2147472121"/>
            <ac:spMk id="3" creationId="{349E825D-7E80-8FCA-A82E-1A57A034F362}"/>
          </ac:spMkLst>
        </pc:spChg>
        <pc:graphicFrameChg chg="modGraphic">
          <ac:chgData name="Yousuf, Arsalan" userId="1f742cd1-60f2-4cc5-8102-e09412e517e3" providerId="ADAL" clId="{15464559-230C-484E-9C98-D7B9D3FDBA96}" dt="2024-01-11T16:13:47.992" v="5833" actId="255"/>
          <ac:graphicFrameMkLst>
            <pc:docMk/>
            <pc:sldMk cId="1863641052" sldId="2147472121"/>
            <ac:graphicFrameMk id="5" creationId="{E9AE7BA3-E382-37AF-A4D7-457B619974F4}"/>
          </ac:graphicFrameMkLst>
        </pc:graphicFrameChg>
      </pc:sldChg>
      <pc:sldChg chg="modSp mod">
        <pc:chgData name="Yousuf, Arsalan" userId="1f742cd1-60f2-4cc5-8102-e09412e517e3" providerId="ADAL" clId="{15464559-230C-484E-9C98-D7B9D3FDBA96}" dt="2024-01-11T14:09:46.151" v="2373" actId="20577"/>
        <pc:sldMkLst>
          <pc:docMk/>
          <pc:sldMk cId="3332771343" sldId="2147472122"/>
        </pc:sldMkLst>
        <pc:spChg chg="mod">
          <ac:chgData name="Yousuf, Arsalan" userId="1f742cd1-60f2-4cc5-8102-e09412e517e3" providerId="ADAL" clId="{15464559-230C-484E-9C98-D7B9D3FDBA96}" dt="2024-01-11T13:09:33.598" v="1375" actId="1076"/>
          <ac:spMkLst>
            <pc:docMk/>
            <pc:sldMk cId="3332771343" sldId="2147472122"/>
            <ac:spMk id="16" creationId="{C2231934-4C12-4291-A2F2-A54DF62ED105}"/>
          </ac:spMkLst>
        </pc:spChg>
        <pc:spChg chg="mod">
          <ac:chgData name="Yousuf, Arsalan" userId="1f742cd1-60f2-4cc5-8102-e09412e517e3" providerId="ADAL" clId="{15464559-230C-484E-9C98-D7B9D3FDBA96}" dt="2024-01-11T13:09:36.541" v="1376" actId="14100"/>
          <ac:spMkLst>
            <pc:docMk/>
            <pc:sldMk cId="3332771343" sldId="2147472122"/>
            <ac:spMk id="17" creationId="{2088C13B-BB36-4AC2-91B8-77D54C41899C}"/>
          </ac:spMkLst>
        </pc:spChg>
        <pc:spChg chg="mod">
          <ac:chgData name="Yousuf, Arsalan" userId="1f742cd1-60f2-4cc5-8102-e09412e517e3" providerId="ADAL" clId="{15464559-230C-484E-9C98-D7B9D3FDBA96}" dt="2024-01-11T13:10:09.122" v="1381" actId="2711"/>
          <ac:spMkLst>
            <pc:docMk/>
            <pc:sldMk cId="3332771343" sldId="2147472122"/>
            <ac:spMk id="19" creationId="{39C530F9-1C7B-4242-8696-B76668774E13}"/>
          </ac:spMkLst>
        </pc:spChg>
        <pc:spChg chg="mod">
          <ac:chgData name="Yousuf, Arsalan" userId="1f742cd1-60f2-4cc5-8102-e09412e517e3" providerId="ADAL" clId="{15464559-230C-484E-9C98-D7B9D3FDBA96}" dt="2024-01-11T13:10:09.122" v="1381" actId="2711"/>
          <ac:spMkLst>
            <pc:docMk/>
            <pc:sldMk cId="3332771343" sldId="2147472122"/>
            <ac:spMk id="20" creationId="{14E03251-E113-48A8-8BFD-22750A6C06AE}"/>
          </ac:spMkLst>
        </pc:spChg>
        <pc:spChg chg="mod">
          <ac:chgData name="Yousuf, Arsalan" userId="1f742cd1-60f2-4cc5-8102-e09412e517e3" providerId="ADAL" clId="{15464559-230C-484E-9C98-D7B9D3FDBA96}" dt="2024-01-11T13:10:09.122" v="1381" actId="2711"/>
          <ac:spMkLst>
            <pc:docMk/>
            <pc:sldMk cId="3332771343" sldId="2147472122"/>
            <ac:spMk id="21" creationId="{E90D9462-8BF5-41C4-9EB5-DA21D4ECB760}"/>
          </ac:spMkLst>
        </pc:spChg>
        <pc:spChg chg="mod">
          <ac:chgData name="Yousuf, Arsalan" userId="1f742cd1-60f2-4cc5-8102-e09412e517e3" providerId="ADAL" clId="{15464559-230C-484E-9C98-D7B9D3FDBA96}" dt="2024-01-11T13:09:59.377" v="1380" actId="1076"/>
          <ac:spMkLst>
            <pc:docMk/>
            <pc:sldMk cId="3332771343" sldId="2147472122"/>
            <ac:spMk id="22" creationId="{2F3725C8-1E7E-4C0F-B28E-E6E763F22508}"/>
          </ac:spMkLst>
        </pc:spChg>
        <pc:spChg chg="mod">
          <ac:chgData name="Yousuf, Arsalan" userId="1f742cd1-60f2-4cc5-8102-e09412e517e3" providerId="ADAL" clId="{15464559-230C-484E-9C98-D7B9D3FDBA96}" dt="2024-01-11T13:10:09.122" v="1381" actId="2711"/>
          <ac:spMkLst>
            <pc:docMk/>
            <pc:sldMk cId="3332771343" sldId="2147472122"/>
            <ac:spMk id="23" creationId="{1E067E9D-4686-43F7-AA31-A81C55A039BD}"/>
          </ac:spMkLst>
        </pc:spChg>
        <pc:spChg chg="mod">
          <ac:chgData name="Yousuf, Arsalan" userId="1f742cd1-60f2-4cc5-8102-e09412e517e3" providerId="ADAL" clId="{15464559-230C-484E-9C98-D7B9D3FDBA96}" dt="2024-01-11T13:10:09.122" v="1381" actId="2711"/>
          <ac:spMkLst>
            <pc:docMk/>
            <pc:sldMk cId="3332771343" sldId="2147472122"/>
            <ac:spMk id="24" creationId="{EE47ECB9-C5D2-4C7D-8F3A-1696FCE670D8}"/>
          </ac:spMkLst>
        </pc:spChg>
        <pc:spChg chg="mod">
          <ac:chgData name="Yousuf, Arsalan" userId="1f742cd1-60f2-4cc5-8102-e09412e517e3" providerId="ADAL" clId="{15464559-230C-484E-9C98-D7B9D3FDBA96}" dt="2024-01-11T13:10:09.122" v="1381" actId="2711"/>
          <ac:spMkLst>
            <pc:docMk/>
            <pc:sldMk cId="3332771343" sldId="2147472122"/>
            <ac:spMk id="25" creationId="{2BA8491C-E0CE-45AF-8E3A-8AB95CD61782}"/>
          </ac:spMkLst>
        </pc:spChg>
        <pc:spChg chg="mod">
          <ac:chgData name="Yousuf, Arsalan" userId="1f742cd1-60f2-4cc5-8102-e09412e517e3" providerId="ADAL" clId="{15464559-230C-484E-9C98-D7B9D3FDBA96}" dt="2024-01-11T13:10:09.122" v="1381" actId="2711"/>
          <ac:spMkLst>
            <pc:docMk/>
            <pc:sldMk cId="3332771343" sldId="2147472122"/>
            <ac:spMk id="26" creationId="{F1D4BEE1-096B-46CF-9F63-F60E90ECC3A5}"/>
          </ac:spMkLst>
        </pc:spChg>
        <pc:spChg chg="mod">
          <ac:chgData name="Yousuf, Arsalan" userId="1f742cd1-60f2-4cc5-8102-e09412e517e3" providerId="ADAL" clId="{15464559-230C-484E-9C98-D7B9D3FDBA96}" dt="2024-01-11T13:10:09.122" v="1381" actId="2711"/>
          <ac:spMkLst>
            <pc:docMk/>
            <pc:sldMk cId="3332771343" sldId="2147472122"/>
            <ac:spMk id="27" creationId="{A040F9A4-3DDC-433E-9FB9-B3622D196559}"/>
          </ac:spMkLst>
        </pc:spChg>
        <pc:spChg chg="mod">
          <ac:chgData name="Yousuf, Arsalan" userId="1f742cd1-60f2-4cc5-8102-e09412e517e3" providerId="ADAL" clId="{15464559-230C-484E-9C98-D7B9D3FDBA96}" dt="2024-01-11T14:09:46.151" v="2373" actId="20577"/>
          <ac:spMkLst>
            <pc:docMk/>
            <pc:sldMk cId="3332771343" sldId="2147472122"/>
            <ac:spMk id="75" creationId="{0B00487E-9A8E-46E0-B60F-BB884C23310C}"/>
          </ac:spMkLst>
        </pc:spChg>
        <pc:spChg chg="mod">
          <ac:chgData name="Yousuf, Arsalan" userId="1f742cd1-60f2-4cc5-8102-e09412e517e3" providerId="ADAL" clId="{15464559-230C-484E-9C98-D7B9D3FDBA96}" dt="2024-01-11T13:09:27.848" v="1374" actId="2711"/>
          <ac:spMkLst>
            <pc:docMk/>
            <pc:sldMk cId="3332771343" sldId="2147472122"/>
            <ac:spMk id="76" creationId="{11F95CE4-70DC-4FF6-9740-A5C6EC6923E7}"/>
          </ac:spMkLst>
        </pc:spChg>
      </pc:sldChg>
      <pc:sldChg chg="modSp mod">
        <pc:chgData name="Yousuf, Arsalan" userId="1f742cd1-60f2-4cc5-8102-e09412e517e3" providerId="ADAL" clId="{15464559-230C-484E-9C98-D7B9D3FDBA96}" dt="2024-01-11T13:10:18.107" v="1382" actId="2711"/>
        <pc:sldMkLst>
          <pc:docMk/>
          <pc:sldMk cId="2854616059" sldId="2147472123"/>
        </pc:sldMkLst>
        <pc:spChg chg="mod">
          <ac:chgData name="Yousuf, Arsalan" userId="1f742cd1-60f2-4cc5-8102-e09412e517e3" providerId="ADAL" clId="{15464559-230C-484E-9C98-D7B9D3FDBA96}" dt="2024-01-11T13:10:18.107" v="1382" actId="2711"/>
          <ac:spMkLst>
            <pc:docMk/>
            <pc:sldMk cId="2854616059" sldId="2147472123"/>
            <ac:spMk id="5" creationId="{D9EFB992-68F5-4CAC-9C22-A198D259AEE8}"/>
          </ac:spMkLst>
        </pc:spChg>
        <pc:spChg chg="mod">
          <ac:chgData name="Yousuf, Arsalan" userId="1f742cd1-60f2-4cc5-8102-e09412e517e3" providerId="ADAL" clId="{15464559-230C-484E-9C98-D7B9D3FDBA96}" dt="2024-01-11T13:10:18.107" v="1382" actId="2711"/>
          <ac:spMkLst>
            <pc:docMk/>
            <pc:sldMk cId="2854616059" sldId="2147472123"/>
            <ac:spMk id="6" creationId="{C7B9ACD8-1762-4A25-A9B6-CC87C6C58A77}"/>
          </ac:spMkLst>
        </pc:spChg>
        <pc:spChg chg="mod">
          <ac:chgData name="Yousuf, Arsalan" userId="1f742cd1-60f2-4cc5-8102-e09412e517e3" providerId="ADAL" clId="{15464559-230C-484E-9C98-D7B9D3FDBA96}" dt="2024-01-11T13:10:18.107" v="1382" actId="2711"/>
          <ac:spMkLst>
            <pc:docMk/>
            <pc:sldMk cId="2854616059" sldId="2147472123"/>
            <ac:spMk id="51" creationId="{613EF3B0-89D4-80DF-BC9B-B7785FE7F031}"/>
          </ac:spMkLst>
        </pc:spChg>
        <pc:spChg chg="mod">
          <ac:chgData name="Yousuf, Arsalan" userId="1f742cd1-60f2-4cc5-8102-e09412e517e3" providerId="ADAL" clId="{15464559-230C-484E-9C98-D7B9D3FDBA96}" dt="2024-01-11T13:10:18.107" v="1382" actId="2711"/>
          <ac:spMkLst>
            <pc:docMk/>
            <pc:sldMk cId="2854616059" sldId="2147472123"/>
            <ac:spMk id="52" creationId="{4EA6EA32-6960-9BFF-4078-45296DF92B07}"/>
          </ac:spMkLst>
        </pc:spChg>
        <pc:spChg chg="mod">
          <ac:chgData name="Yousuf, Arsalan" userId="1f742cd1-60f2-4cc5-8102-e09412e517e3" providerId="ADAL" clId="{15464559-230C-484E-9C98-D7B9D3FDBA96}" dt="2024-01-11T13:10:18.107" v="1382" actId="2711"/>
          <ac:spMkLst>
            <pc:docMk/>
            <pc:sldMk cId="2854616059" sldId="2147472123"/>
            <ac:spMk id="53" creationId="{707F46E2-7392-0958-7011-FEED0A18EDF0}"/>
          </ac:spMkLst>
        </pc:spChg>
      </pc:sldChg>
      <pc:sldChg chg="modSp del mod">
        <pc:chgData name="Yousuf, Arsalan" userId="1f742cd1-60f2-4cc5-8102-e09412e517e3" providerId="ADAL" clId="{15464559-230C-484E-9C98-D7B9D3FDBA96}" dt="2024-01-11T10:42:52.607" v="557" actId="47"/>
        <pc:sldMkLst>
          <pc:docMk/>
          <pc:sldMk cId="1486479302" sldId="2147472127"/>
        </pc:sldMkLst>
        <pc:spChg chg="mod">
          <ac:chgData name="Yousuf, Arsalan" userId="1f742cd1-60f2-4cc5-8102-e09412e517e3" providerId="ADAL" clId="{15464559-230C-484E-9C98-D7B9D3FDBA96}" dt="2024-01-11T10:42:12.949" v="556" actId="113"/>
          <ac:spMkLst>
            <pc:docMk/>
            <pc:sldMk cId="1486479302" sldId="2147472127"/>
            <ac:spMk id="75" creationId="{0B00487E-9A8E-46E0-B60F-BB884C23310C}"/>
          </ac:spMkLst>
        </pc:spChg>
      </pc:sldChg>
      <pc:sldChg chg="modSp mod">
        <pc:chgData name="Yousuf, Arsalan" userId="1f742cd1-60f2-4cc5-8102-e09412e517e3" providerId="ADAL" clId="{15464559-230C-484E-9C98-D7B9D3FDBA96}" dt="2024-01-11T16:21:52.761" v="6742" actId="20577"/>
        <pc:sldMkLst>
          <pc:docMk/>
          <pc:sldMk cId="3036512581" sldId="2147472156"/>
        </pc:sldMkLst>
        <pc:spChg chg="mod">
          <ac:chgData name="Yousuf, Arsalan" userId="1f742cd1-60f2-4cc5-8102-e09412e517e3" providerId="ADAL" clId="{15464559-230C-484E-9C98-D7B9D3FDBA96}" dt="2024-01-11T16:07:27.090" v="5457" actId="2711"/>
          <ac:spMkLst>
            <pc:docMk/>
            <pc:sldMk cId="3036512581" sldId="2147472156"/>
            <ac:spMk id="3" creationId="{349E825D-7E80-8FCA-A82E-1A57A034F362}"/>
          </ac:spMkLst>
        </pc:spChg>
        <pc:spChg chg="mod">
          <ac:chgData name="Yousuf, Arsalan" userId="1f742cd1-60f2-4cc5-8102-e09412e517e3" providerId="ADAL" clId="{15464559-230C-484E-9C98-D7B9D3FDBA96}" dt="2024-01-11T16:07:29.975" v="5458" actId="113"/>
          <ac:spMkLst>
            <pc:docMk/>
            <pc:sldMk cId="3036512581" sldId="2147472156"/>
            <ac:spMk id="4" creationId="{31F259EA-1D67-1D14-71C2-8622C1CA83E8}"/>
          </ac:spMkLst>
        </pc:spChg>
        <pc:graphicFrameChg chg="mod modGraphic">
          <ac:chgData name="Yousuf, Arsalan" userId="1f742cd1-60f2-4cc5-8102-e09412e517e3" providerId="ADAL" clId="{15464559-230C-484E-9C98-D7B9D3FDBA96}" dt="2024-01-11T16:21:52.761" v="6742" actId="20577"/>
          <ac:graphicFrameMkLst>
            <pc:docMk/>
            <pc:sldMk cId="3036512581" sldId="2147472156"/>
            <ac:graphicFrameMk id="5" creationId="{E9AE7BA3-E382-37AF-A4D7-457B619974F4}"/>
          </ac:graphicFrameMkLst>
        </pc:graphicFrameChg>
      </pc:sldChg>
      <pc:sldChg chg="addSp delSp modSp mod">
        <pc:chgData name="Yousuf, Arsalan" userId="1f742cd1-60f2-4cc5-8102-e09412e517e3" providerId="ADAL" clId="{15464559-230C-484E-9C98-D7B9D3FDBA96}" dt="2024-01-11T16:49:52.066" v="7942"/>
        <pc:sldMkLst>
          <pc:docMk/>
          <pc:sldMk cId="4195177294" sldId="2147472168"/>
        </pc:sldMkLst>
        <pc:spChg chg="mod">
          <ac:chgData name="Yousuf, Arsalan" userId="1f742cd1-60f2-4cc5-8102-e09412e517e3" providerId="ADAL" clId="{15464559-230C-484E-9C98-D7B9D3FDBA96}" dt="2024-01-11T13:39:55.794" v="1696" actId="113"/>
          <ac:spMkLst>
            <pc:docMk/>
            <pc:sldMk cId="4195177294" sldId="2147472168"/>
            <ac:spMk id="8" creationId="{21582DA6-E7A5-ECAA-971C-B029B9F65B7A}"/>
          </ac:spMkLst>
        </pc:spChg>
        <pc:spChg chg="mod">
          <ac:chgData name="Yousuf, Arsalan" userId="1f742cd1-60f2-4cc5-8102-e09412e517e3" providerId="ADAL" clId="{15464559-230C-484E-9C98-D7B9D3FDBA96}" dt="2024-01-11T13:40:03.017" v="1698"/>
          <ac:spMkLst>
            <pc:docMk/>
            <pc:sldMk cId="4195177294" sldId="2147472168"/>
            <ac:spMk id="9" creationId="{0A1B49BC-874A-8D11-4DD3-FC19D8C191DD}"/>
          </ac:spMkLst>
        </pc:spChg>
        <pc:spChg chg="mod">
          <ac:chgData name="Yousuf, Arsalan" userId="1f742cd1-60f2-4cc5-8102-e09412e517e3" providerId="ADAL" clId="{15464559-230C-484E-9C98-D7B9D3FDBA96}" dt="2024-01-11T13:39:52.475" v="1695" actId="2711"/>
          <ac:spMkLst>
            <pc:docMk/>
            <pc:sldMk cId="4195177294" sldId="2147472168"/>
            <ac:spMk id="18" creationId="{C3412FAD-9D75-9B23-B7F5-E106172FA354}"/>
          </ac:spMkLst>
        </pc:spChg>
        <pc:spChg chg="mod">
          <ac:chgData name="Yousuf, Arsalan" userId="1f742cd1-60f2-4cc5-8102-e09412e517e3" providerId="ADAL" clId="{15464559-230C-484E-9C98-D7B9D3FDBA96}" dt="2024-01-11T13:39:52.475" v="1695" actId="2711"/>
          <ac:spMkLst>
            <pc:docMk/>
            <pc:sldMk cId="4195177294" sldId="2147472168"/>
            <ac:spMk id="19" creationId="{8C798E22-4BD0-2E34-A606-0587DDA48394}"/>
          </ac:spMkLst>
        </pc:spChg>
        <pc:spChg chg="mod">
          <ac:chgData name="Yousuf, Arsalan" userId="1f742cd1-60f2-4cc5-8102-e09412e517e3" providerId="ADAL" clId="{15464559-230C-484E-9C98-D7B9D3FDBA96}" dt="2024-01-11T13:39:52.475" v="1695" actId="2711"/>
          <ac:spMkLst>
            <pc:docMk/>
            <pc:sldMk cId="4195177294" sldId="2147472168"/>
            <ac:spMk id="20" creationId="{0F659923-B5A2-773B-12F3-35FA175E3E21}"/>
          </ac:spMkLst>
        </pc:spChg>
        <pc:graphicFrameChg chg="add mod">
          <ac:chgData name="Yousuf, Arsalan" userId="1f742cd1-60f2-4cc5-8102-e09412e517e3" providerId="ADAL" clId="{15464559-230C-484E-9C98-D7B9D3FDBA96}" dt="2024-01-11T16:49:52.066" v="7942"/>
          <ac:graphicFrameMkLst>
            <pc:docMk/>
            <pc:sldMk cId="4195177294" sldId="2147472168"/>
            <ac:graphicFrameMk id="2" creationId="{F8EFDC0B-41C2-C375-32F8-D1410328652D}"/>
          </ac:graphicFrameMkLst>
        </pc:graphicFrameChg>
        <pc:graphicFrameChg chg="del modGraphic">
          <ac:chgData name="Yousuf, Arsalan" userId="1f742cd1-60f2-4cc5-8102-e09412e517e3" providerId="ADAL" clId="{15464559-230C-484E-9C98-D7B9D3FDBA96}" dt="2024-01-11T16:49:51.480" v="7941" actId="478"/>
          <ac:graphicFrameMkLst>
            <pc:docMk/>
            <pc:sldMk cId="4195177294" sldId="2147472168"/>
            <ac:graphicFrameMk id="4" creationId="{8F73AE33-156D-48F2-7633-0C4AB5141029}"/>
          </ac:graphicFrameMkLst>
        </pc:graphicFrameChg>
      </pc:sldChg>
      <pc:sldChg chg="del">
        <pc:chgData name="Yousuf, Arsalan" userId="1f742cd1-60f2-4cc5-8102-e09412e517e3" providerId="ADAL" clId="{15464559-230C-484E-9C98-D7B9D3FDBA96}" dt="2024-01-11T14:08:30.673" v="2357" actId="47"/>
        <pc:sldMkLst>
          <pc:docMk/>
          <pc:sldMk cId="3043470878" sldId="2147472171"/>
        </pc:sldMkLst>
      </pc:sldChg>
      <pc:sldChg chg="addSp delSp modSp mod">
        <pc:chgData name="Yousuf, Arsalan" userId="1f742cd1-60f2-4cc5-8102-e09412e517e3" providerId="ADAL" clId="{15464559-230C-484E-9C98-D7B9D3FDBA96}" dt="2024-01-11T14:33:16.910" v="2726" actId="20577"/>
        <pc:sldMkLst>
          <pc:docMk/>
          <pc:sldMk cId="429018731" sldId="2147472188"/>
        </pc:sldMkLst>
        <pc:spChg chg="add mod">
          <ac:chgData name="Yousuf, Arsalan" userId="1f742cd1-60f2-4cc5-8102-e09412e517e3" providerId="ADAL" clId="{15464559-230C-484E-9C98-D7B9D3FDBA96}" dt="2024-01-11T13:53:53.047" v="2209"/>
          <ac:spMkLst>
            <pc:docMk/>
            <pc:sldMk cId="429018731" sldId="2147472188"/>
            <ac:spMk id="2" creationId="{FA07A8D2-F927-3951-3546-AC0BDAAF35F7}"/>
          </ac:spMkLst>
        </pc:spChg>
        <pc:spChg chg="add mod">
          <ac:chgData name="Yousuf, Arsalan" userId="1f742cd1-60f2-4cc5-8102-e09412e517e3" providerId="ADAL" clId="{15464559-230C-484E-9C98-D7B9D3FDBA96}" dt="2024-01-11T14:07:34.719" v="2340"/>
          <ac:spMkLst>
            <pc:docMk/>
            <pc:sldMk cId="429018731" sldId="2147472188"/>
            <ac:spMk id="3" creationId="{D70AD67B-8F85-4FDD-4D49-AEDDEA7C81C0}"/>
          </ac:spMkLst>
        </pc:spChg>
        <pc:spChg chg="add mod">
          <ac:chgData name="Yousuf, Arsalan" userId="1f742cd1-60f2-4cc5-8102-e09412e517e3" providerId="ADAL" clId="{15464559-230C-484E-9C98-D7B9D3FDBA96}" dt="2024-01-11T14:07:34.719" v="2340"/>
          <ac:spMkLst>
            <pc:docMk/>
            <pc:sldMk cId="429018731" sldId="2147472188"/>
            <ac:spMk id="7" creationId="{3E815FC7-6872-9DEB-9D7E-B7E7D838C874}"/>
          </ac:spMkLst>
        </pc:spChg>
        <pc:spChg chg="del">
          <ac:chgData name="Yousuf, Arsalan" userId="1f742cd1-60f2-4cc5-8102-e09412e517e3" providerId="ADAL" clId="{15464559-230C-484E-9C98-D7B9D3FDBA96}" dt="2024-01-11T13:53:52.355" v="2208" actId="478"/>
          <ac:spMkLst>
            <pc:docMk/>
            <pc:sldMk cId="429018731" sldId="2147472188"/>
            <ac:spMk id="8" creationId="{C0AB5ECE-0DAE-B36B-DD8A-730865A21047}"/>
          </ac:spMkLst>
        </pc:spChg>
        <pc:spChg chg="del">
          <ac:chgData name="Yousuf, Arsalan" userId="1f742cd1-60f2-4cc5-8102-e09412e517e3" providerId="ADAL" clId="{15464559-230C-484E-9C98-D7B9D3FDBA96}" dt="2024-01-11T14:16:55.384" v="2580" actId="478"/>
          <ac:spMkLst>
            <pc:docMk/>
            <pc:sldMk cId="429018731" sldId="2147472188"/>
            <ac:spMk id="9" creationId="{170C8A31-58D1-49EC-A331-0DE8C9A824D0}"/>
          </ac:spMkLst>
        </pc:spChg>
        <pc:spChg chg="add mod">
          <ac:chgData name="Yousuf, Arsalan" userId="1f742cd1-60f2-4cc5-8102-e09412e517e3" providerId="ADAL" clId="{15464559-230C-484E-9C98-D7B9D3FDBA96}" dt="2024-01-11T14:16:58.950" v="2581"/>
          <ac:spMkLst>
            <pc:docMk/>
            <pc:sldMk cId="429018731" sldId="2147472188"/>
            <ac:spMk id="10" creationId="{ACC779CB-BE24-8DB1-A96E-728AAB57453B}"/>
          </ac:spMkLst>
        </pc:spChg>
        <pc:spChg chg="mod">
          <ac:chgData name="Yousuf, Arsalan" userId="1f742cd1-60f2-4cc5-8102-e09412e517e3" providerId="ADAL" clId="{15464559-230C-484E-9C98-D7B9D3FDBA96}" dt="2024-01-11T14:32:27.116" v="2705" actId="404"/>
          <ac:spMkLst>
            <pc:docMk/>
            <pc:sldMk cId="429018731" sldId="2147472188"/>
            <ac:spMk id="16" creationId="{6A7DFD27-8E4F-E5EF-242F-04C919030649}"/>
          </ac:spMkLst>
        </pc:spChg>
        <pc:spChg chg="mod">
          <ac:chgData name="Yousuf, Arsalan" userId="1f742cd1-60f2-4cc5-8102-e09412e517e3" providerId="ADAL" clId="{15464559-230C-484E-9C98-D7B9D3FDBA96}" dt="2024-01-11T14:33:16.910" v="2726" actId="20577"/>
          <ac:spMkLst>
            <pc:docMk/>
            <pc:sldMk cId="429018731" sldId="2147472188"/>
            <ac:spMk id="18" creationId="{4D73B83F-0107-A3D6-AF54-CE204E364A00}"/>
          </ac:spMkLst>
        </pc:spChg>
        <pc:spChg chg="mod">
          <ac:chgData name="Yousuf, Arsalan" userId="1f742cd1-60f2-4cc5-8102-e09412e517e3" providerId="ADAL" clId="{15464559-230C-484E-9C98-D7B9D3FDBA96}" dt="2024-01-11T14:32:24.495" v="2703" actId="2711"/>
          <ac:spMkLst>
            <pc:docMk/>
            <pc:sldMk cId="429018731" sldId="2147472188"/>
            <ac:spMk id="20" creationId="{071650C5-E541-3BDA-444A-D2E1A781D34D}"/>
          </ac:spMkLst>
        </pc:spChg>
        <pc:spChg chg="del">
          <ac:chgData name="Yousuf, Arsalan" userId="1f742cd1-60f2-4cc5-8102-e09412e517e3" providerId="ADAL" clId="{15464559-230C-484E-9C98-D7B9D3FDBA96}" dt="2024-01-11T14:07:34.417" v="2339" actId="478"/>
          <ac:spMkLst>
            <pc:docMk/>
            <pc:sldMk cId="429018731" sldId="2147472188"/>
            <ac:spMk id="21" creationId="{A62553F1-3F4A-F225-A242-0B59B74166A1}"/>
          </ac:spMkLst>
        </pc:spChg>
        <pc:spChg chg="del mod">
          <ac:chgData name="Yousuf, Arsalan" userId="1f742cd1-60f2-4cc5-8102-e09412e517e3" providerId="ADAL" clId="{15464559-230C-484E-9C98-D7B9D3FDBA96}" dt="2024-01-11T14:07:34.417" v="2339" actId="478"/>
          <ac:spMkLst>
            <pc:docMk/>
            <pc:sldMk cId="429018731" sldId="2147472188"/>
            <ac:spMk id="22" creationId="{7C9275BC-64B9-9C68-89AB-333961EE9FE5}"/>
          </ac:spMkLst>
        </pc:spChg>
        <pc:picChg chg="del">
          <ac:chgData name="Yousuf, Arsalan" userId="1f742cd1-60f2-4cc5-8102-e09412e517e3" providerId="ADAL" clId="{15464559-230C-484E-9C98-D7B9D3FDBA96}" dt="2024-01-11T14:32:59.417" v="2713" actId="478"/>
          <ac:picMkLst>
            <pc:docMk/>
            <pc:sldMk cId="429018731" sldId="2147472188"/>
            <ac:picMk id="5" creationId="{436F5B8C-E664-7E09-CA41-53C9E2AF1F39}"/>
          </ac:picMkLst>
        </pc:picChg>
        <pc:picChg chg="add mod ord">
          <ac:chgData name="Yousuf, Arsalan" userId="1f742cd1-60f2-4cc5-8102-e09412e517e3" providerId="ADAL" clId="{15464559-230C-484E-9C98-D7B9D3FDBA96}" dt="2024-01-11T14:33:06.912" v="2725" actId="167"/>
          <ac:picMkLst>
            <pc:docMk/>
            <pc:sldMk cId="429018731" sldId="2147472188"/>
            <ac:picMk id="11" creationId="{6CDBCDB7-0C47-0730-B52E-E06CC3982093}"/>
          </ac:picMkLst>
        </pc:picChg>
      </pc:sldChg>
      <pc:sldChg chg="addSp delSp modSp mod">
        <pc:chgData name="Yousuf, Arsalan" userId="1f742cd1-60f2-4cc5-8102-e09412e517e3" providerId="ADAL" clId="{15464559-230C-484E-9C98-D7B9D3FDBA96}" dt="2024-01-11T16:50:14.684" v="7969" actId="20577"/>
        <pc:sldMkLst>
          <pc:docMk/>
          <pc:sldMk cId="2457903236" sldId="2147472189"/>
        </pc:sldMkLst>
        <pc:spChg chg="del">
          <ac:chgData name="Yousuf, Arsalan" userId="1f742cd1-60f2-4cc5-8102-e09412e517e3" providerId="ADAL" clId="{15464559-230C-484E-9C98-D7B9D3FDBA96}" dt="2024-01-11T13:53:06.538" v="2202" actId="478"/>
          <ac:spMkLst>
            <pc:docMk/>
            <pc:sldMk cId="2457903236" sldId="2147472189"/>
            <ac:spMk id="3" creationId="{8ECA648E-A4B2-89B3-8E11-2F3F25DE8C14}"/>
          </ac:spMkLst>
        </pc:spChg>
        <pc:spChg chg="add mod">
          <ac:chgData name="Yousuf, Arsalan" userId="1f742cd1-60f2-4cc5-8102-e09412e517e3" providerId="ADAL" clId="{15464559-230C-484E-9C98-D7B9D3FDBA96}" dt="2024-01-11T13:53:07.002" v="2203"/>
          <ac:spMkLst>
            <pc:docMk/>
            <pc:sldMk cId="2457903236" sldId="2147472189"/>
            <ac:spMk id="4" creationId="{FF2DD53C-57CE-24E4-5D52-EFCB0E74F15E}"/>
          </ac:spMkLst>
        </pc:spChg>
        <pc:spChg chg="del">
          <ac:chgData name="Yousuf, Arsalan" userId="1f742cd1-60f2-4cc5-8102-e09412e517e3" providerId="ADAL" clId="{15464559-230C-484E-9C98-D7B9D3FDBA96}" dt="2024-01-11T14:14:48.843" v="2573" actId="478"/>
          <ac:spMkLst>
            <pc:docMk/>
            <pc:sldMk cId="2457903236" sldId="2147472189"/>
            <ac:spMk id="5" creationId="{7780C9A4-1B58-C7B4-8260-D1451030869D}"/>
          </ac:spMkLst>
        </pc:spChg>
        <pc:spChg chg="mod">
          <ac:chgData name="Yousuf, Arsalan" userId="1f742cd1-60f2-4cc5-8102-e09412e517e3" providerId="ADAL" clId="{15464559-230C-484E-9C98-D7B9D3FDBA96}" dt="2024-01-11T14:29:36.083" v="2671" actId="404"/>
          <ac:spMkLst>
            <pc:docMk/>
            <pc:sldMk cId="2457903236" sldId="2147472189"/>
            <ac:spMk id="6" creationId="{78AA14C8-C2E2-7EA7-474B-E4D8B5F6DC35}"/>
          </ac:spMkLst>
        </pc:spChg>
        <pc:spChg chg="add mod">
          <ac:chgData name="Yousuf, Arsalan" userId="1f742cd1-60f2-4cc5-8102-e09412e517e3" providerId="ADAL" clId="{15464559-230C-484E-9C98-D7B9D3FDBA96}" dt="2024-01-11T14:07:26.433" v="2337"/>
          <ac:spMkLst>
            <pc:docMk/>
            <pc:sldMk cId="2457903236" sldId="2147472189"/>
            <ac:spMk id="8" creationId="{862BB36A-AE2F-75C7-431A-44B645945D42}"/>
          </ac:spMkLst>
        </pc:spChg>
        <pc:spChg chg="mod">
          <ac:chgData name="Yousuf, Arsalan" userId="1f742cd1-60f2-4cc5-8102-e09412e517e3" providerId="ADAL" clId="{15464559-230C-484E-9C98-D7B9D3FDBA96}" dt="2024-01-11T16:50:14.684" v="7969" actId="20577"/>
          <ac:spMkLst>
            <pc:docMk/>
            <pc:sldMk cId="2457903236" sldId="2147472189"/>
            <ac:spMk id="10" creationId="{DB954C8E-C1B7-4154-AD04-8F98C7352546}"/>
          </ac:spMkLst>
        </pc:spChg>
        <pc:spChg chg="del">
          <ac:chgData name="Yousuf, Arsalan" userId="1f742cd1-60f2-4cc5-8102-e09412e517e3" providerId="ADAL" clId="{15464559-230C-484E-9C98-D7B9D3FDBA96}" dt="2024-01-11T14:07:26.111" v="2336" actId="478"/>
          <ac:spMkLst>
            <pc:docMk/>
            <pc:sldMk cId="2457903236" sldId="2147472189"/>
            <ac:spMk id="12" creationId="{224EC528-827F-B175-56C7-9160CC17FD82}"/>
          </ac:spMkLst>
        </pc:spChg>
        <pc:spChg chg="del">
          <ac:chgData name="Yousuf, Arsalan" userId="1f742cd1-60f2-4cc5-8102-e09412e517e3" providerId="ADAL" clId="{15464559-230C-484E-9C98-D7B9D3FDBA96}" dt="2024-01-11T14:07:26.111" v="2336" actId="478"/>
          <ac:spMkLst>
            <pc:docMk/>
            <pc:sldMk cId="2457903236" sldId="2147472189"/>
            <ac:spMk id="13" creationId="{5DE7ECE1-8915-6B11-7F67-D4948106E1E1}"/>
          </ac:spMkLst>
        </pc:spChg>
        <pc:spChg chg="mod">
          <ac:chgData name="Yousuf, Arsalan" userId="1f742cd1-60f2-4cc5-8102-e09412e517e3" providerId="ADAL" clId="{15464559-230C-484E-9C98-D7B9D3FDBA96}" dt="2024-01-11T14:30:48.374" v="2696" actId="20577"/>
          <ac:spMkLst>
            <pc:docMk/>
            <pc:sldMk cId="2457903236" sldId="2147472189"/>
            <ac:spMk id="14" creationId="{F10227DE-8C1F-199B-621C-AC0EA778471D}"/>
          </ac:spMkLst>
        </pc:spChg>
        <pc:spChg chg="add mod">
          <ac:chgData name="Yousuf, Arsalan" userId="1f742cd1-60f2-4cc5-8102-e09412e517e3" providerId="ADAL" clId="{15464559-230C-484E-9C98-D7B9D3FDBA96}" dt="2024-01-11T14:07:26.433" v="2337"/>
          <ac:spMkLst>
            <pc:docMk/>
            <pc:sldMk cId="2457903236" sldId="2147472189"/>
            <ac:spMk id="16" creationId="{D618E306-2080-9F6D-1323-A6F1474DAC7A}"/>
          </ac:spMkLst>
        </pc:spChg>
        <pc:spChg chg="del">
          <ac:chgData name="Yousuf, Arsalan" userId="1f742cd1-60f2-4cc5-8102-e09412e517e3" providerId="ADAL" clId="{15464559-230C-484E-9C98-D7B9D3FDBA96}" dt="2024-01-11T14:28:56.096" v="2641" actId="478"/>
          <ac:spMkLst>
            <pc:docMk/>
            <pc:sldMk cId="2457903236" sldId="2147472189"/>
            <ac:spMk id="17" creationId="{CD7B7111-4404-6218-4309-1E41B2419399}"/>
          </ac:spMkLst>
        </pc:spChg>
        <pc:spChg chg="add del mod">
          <ac:chgData name="Yousuf, Arsalan" userId="1f742cd1-60f2-4cc5-8102-e09412e517e3" providerId="ADAL" clId="{15464559-230C-484E-9C98-D7B9D3FDBA96}" dt="2024-01-11T14:14:58.574" v="2574"/>
          <ac:spMkLst>
            <pc:docMk/>
            <pc:sldMk cId="2457903236" sldId="2147472189"/>
            <ac:spMk id="18" creationId="{28F37D91-C272-9C51-368D-2BEA33D59475}"/>
          </ac:spMkLst>
        </pc:spChg>
        <pc:spChg chg="add mod">
          <ac:chgData name="Yousuf, Arsalan" userId="1f742cd1-60f2-4cc5-8102-e09412e517e3" providerId="ADAL" clId="{15464559-230C-484E-9C98-D7B9D3FDBA96}" dt="2024-01-11T14:29:03.716" v="2654" actId="1035"/>
          <ac:spMkLst>
            <pc:docMk/>
            <pc:sldMk cId="2457903236" sldId="2147472189"/>
            <ac:spMk id="20" creationId="{0E5BED05-8CB0-5AA4-7DDA-75EE79DD9CD3}"/>
          </ac:spMkLst>
        </pc:spChg>
        <pc:picChg chg="mod ord">
          <ac:chgData name="Yousuf, Arsalan" userId="1f742cd1-60f2-4cc5-8102-e09412e517e3" providerId="ADAL" clId="{15464559-230C-484E-9C98-D7B9D3FDBA96}" dt="2024-01-11T14:29:07.211" v="2664" actId="1036"/>
          <ac:picMkLst>
            <pc:docMk/>
            <pc:sldMk cId="2457903236" sldId="2147472189"/>
            <ac:picMk id="9" creationId="{A4A17EDC-DB47-4561-DB8C-F0ED7AAE4E52}"/>
          </ac:picMkLst>
        </pc:picChg>
        <pc:picChg chg="del">
          <ac:chgData name="Yousuf, Arsalan" userId="1f742cd1-60f2-4cc5-8102-e09412e517e3" providerId="ADAL" clId="{15464559-230C-484E-9C98-D7B9D3FDBA96}" dt="2024-01-11T14:28:36.182" v="2635" actId="478"/>
          <ac:picMkLst>
            <pc:docMk/>
            <pc:sldMk cId="2457903236" sldId="2147472189"/>
            <ac:picMk id="15" creationId="{5758733A-BD2E-B690-52B7-AC5DAC5F081C}"/>
          </ac:picMkLst>
        </pc:picChg>
        <pc:picChg chg="add mod">
          <ac:chgData name="Yousuf, Arsalan" userId="1f742cd1-60f2-4cc5-8102-e09412e517e3" providerId="ADAL" clId="{15464559-230C-484E-9C98-D7B9D3FDBA96}" dt="2024-01-11T14:28:59.431" v="2642" actId="1076"/>
          <ac:picMkLst>
            <pc:docMk/>
            <pc:sldMk cId="2457903236" sldId="2147472189"/>
            <ac:picMk id="19" creationId="{CEFAEBEC-97EC-60C3-34B4-75D2741727F7}"/>
          </ac:picMkLst>
        </pc:picChg>
      </pc:sldChg>
      <pc:sldChg chg="addSp delSp modSp mod">
        <pc:chgData name="Yousuf, Arsalan" userId="1f742cd1-60f2-4cc5-8102-e09412e517e3" providerId="ADAL" clId="{15464559-230C-484E-9C98-D7B9D3FDBA96}" dt="2024-01-11T16:50:38.839" v="7981"/>
        <pc:sldMkLst>
          <pc:docMk/>
          <pc:sldMk cId="4014948116" sldId="2147472190"/>
        </pc:sldMkLst>
        <pc:spChg chg="add mod">
          <ac:chgData name="Yousuf, Arsalan" userId="1f742cd1-60f2-4cc5-8102-e09412e517e3" providerId="ADAL" clId="{15464559-230C-484E-9C98-D7B9D3FDBA96}" dt="2024-01-11T13:53:55.105" v="2211"/>
          <ac:spMkLst>
            <pc:docMk/>
            <pc:sldMk cId="4014948116" sldId="2147472190"/>
            <ac:spMk id="2" creationId="{40663522-81B7-5E2C-6B9C-D8FB77F357FC}"/>
          </ac:spMkLst>
        </pc:spChg>
        <pc:spChg chg="add mod">
          <ac:chgData name="Yousuf, Arsalan" userId="1f742cd1-60f2-4cc5-8102-e09412e517e3" providerId="ADAL" clId="{15464559-230C-484E-9C98-D7B9D3FDBA96}" dt="2024-01-11T14:07:37.937" v="2342"/>
          <ac:spMkLst>
            <pc:docMk/>
            <pc:sldMk cId="4014948116" sldId="2147472190"/>
            <ac:spMk id="3" creationId="{3A78E369-E7BE-E9CE-7C8C-D38E48B8CEAB}"/>
          </ac:spMkLst>
        </pc:spChg>
        <pc:spChg chg="add mod">
          <ac:chgData name="Yousuf, Arsalan" userId="1f742cd1-60f2-4cc5-8102-e09412e517e3" providerId="ADAL" clId="{15464559-230C-484E-9C98-D7B9D3FDBA96}" dt="2024-01-11T14:07:37.937" v="2342"/>
          <ac:spMkLst>
            <pc:docMk/>
            <pc:sldMk cId="4014948116" sldId="2147472190"/>
            <ac:spMk id="7" creationId="{93877A0F-F3C4-BD2B-4508-116ED684C4E6}"/>
          </ac:spMkLst>
        </pc:spChg>
        <pc:spChg chg="del">
          <ac:chgData name="Yousuf, Arsalan" userId="1f742cd1-60f2-4cc5-8102-e09412e517e3" providerId="ADAL" clId="{15464559-230C-484E-9C98-D7B9D3FDBA96}" dt="2024-01-11T13:53:54.725" v="2210" actId="478"/>
          <ac:spMkLst>
            <pc:docMk/>
            <pc:sldMk cId="4014948116" sldId="2147472190"/>
            <ac:spMk id="9" creationId="{D2157997-84C9-5A75-8AEC-52CC216993CA}"/>
          </ac:spMkLst>
        </pc:spChg>
        <pc:spChg chg="add mod">
          <ac:chgData name="Yousuf, Arsalan" userId="1f742cd1-60f2-4cc5-8102-e09412e517e3" providerId="ADAL" clId="{15464559-230C-484E-9C98-D7B9D3FDBA96}" dt="2024-01-11T14:17:08.737" v="2583"/>
          <ac:spMkLst>
            <pc:docMk/>
            <pc:sldMk cId="4014948116" sldId="2147472190"/>
            <ac:spMk id="10" creationId="{04BFCD0E-B27C-2E24-4F85-15FDF5B440ED}"/>
          </ac:spMkLst>
        </pc:spChg>
        <pc:spChg chg="del">
          <ac:chgData name="Yousuf, Arsalan" userId="1f742cd1-60f2-4cc5-8102-e09412e517e3" providerId="ADAL" clId="{15464559-230C-484E-9C98-D7B9D3FDBA96}" dt="2024-01-11T14:17:05.563" v="2582" actId="478"/>
          <ac:spMkLst>
            <pc:docMk/>
            <pc:sldMk cId="4014948116" sldId="2147472190"/>
            <ac:spMk id="16" creationId="{1F7028E4-7114-13C3-863A-35B6D9F1000C}"/>
          </ac:spMkLst>
        </pc:spChg>
        <pc:spChg chg="mod">
          <ac:chgData name="Yousuf, Arsalan" userId="1f742cd1-60f2-4cc5-8102-e09412e517e3" providerId="ADAL" clId="{15464559-230C-484E-9C98-D7B9D3FDBA96}" dt="2024-01-11T16:50:38.839" v="7981"/>
          <ac:spMkLst>
            <pc:docMk/>
            <pc:sldMk cId="4014948116" sldId="2147472190"/>
            <ac:spMk id="18" creationId="{14C86E9B-D1A5-AFA2-682D-D010A63C7A75}"/>
          </ac:spMkLst>
        </pc:spChg>
        <pc:spChg chg="del">
          <ac:chgData name="Yousuf, Arsalan" userId="1f742cd1-60f2-4cc5-8102-e09412e517e3" providerId="ADAL" clId="{15464559-230C-484E-9C98-D7B9D3FDBA96}" dt="2024-01-11T14:07:37.647" v="2341" actId="478"/>
          <ac:spMkLst>
            <pc:docMk/>
            <pc:sldMk cId="4014948116" sldId="2147472190"/>
            <ac:spMk id="19" creationId="{5413C702-C86E-1C6A-0FC5-22704A50C07C}"/>
          </ac:spMkLst>
        </pc:spChg>
        <pc:spChg chg="del">
          <ac:chgData name="Yousuf, Arsalan" userId="1f742cd1-60f2-4cc5-8102-e09412e517e3" providerId="ADAL" clId="{15464559-230C-484E-9C98-D7B9D3FDBA96}" dt="2024-01-11T14:07:37.647" v="2341" actId="478"/>
          <ac:spMkLst>
            <pc:docMk/>
            <pc:sldMk cId="4014948116" sldId="2147472190"/>
            <ac:spMk id="20" creationId="{2C480418-DB43-B957-D08D-00B683F366E1}"/>
          </ac:spMkLst>
        </pc:spChg>
        <pc:spChg chg="mod">
          <ac:chgData name="Yousuf, Arsalan" userId="1f742cd1-60f2-4cc5-8102-e09412e517e3" providerId="ADAL" clId="{15464559-230C-484E-9C98-D7B9D3FDBA96}" dt="2024-01-11T14:33:59.359" v="2729" actId="404"/>
          <ac:spMkLst>
            <pc:docMk/>
            <pc:sldMk cId="4014948116" sldId="2147472190"/>
            <ac:spMk id="21" creationId="{C99EE3AD-0681-40D2-7FD6-3E5954772208}"/>
          </ac:spMkLst>
        </pc:spChg>
        <pc:spChg chg="mod">
          <ac:chgData name="Yousuf, Arsalan" userId="1f742cd1-60f2-4cc5-8102-e09412e517e3" providerId="ADAL" clId="{15464559-230C-484E-9C98-D7B9D3FDBA96}" dt="2024-01-11T14:33:55.899" v="2727" actId="2711"/>
          <ac:spMkLst>
            <pc:docMk/>
            <pc:sldMk cId="4014948116" sldId="2147472190"/>
            <ac:spMk id="22" creationId="{E81AAF8B-CA6D-BA71-680D-9E0E2F0B4484}"/>
          </ac:spMkLst>
        </pc:spChg>
        <pc:picChg chg="mod">
          <ac:chgData name="Yousuf, Arsalan" userId="1f742cd1-60f2-4cc5-8102-e09412e517e3" providerId="ADAL" clId="{15464559-230C-484E-9C98-D7B9D3FDBA96}" dt="2024-01-11T14:35:06.935" v="2743" actId="1035"/>
          <ac:picMkLst>
            <pc:docMk/>
            <pc:sldMk cId="4014948116" sldId="2147472190"/>
            <ac:picMk id="5" creationId="{F3F95F72-8CD0-AD66-A181-906787B59588}"/>
          </ac:picMkLst>
        </pc:picChg>
      </pc:sldChg>
      <pc:sldChg chg="addSp delSp modSp mod">
        <pc:chgData name="Yousuf, Arsalan" userId="1f742cd1-60f2-4cc5-8102-e09412e517e3" providerId="ADAL" clId="{15464559-230C-484E-9C98-D7B9D3FDBA96}" dt="2024-01-11T14:27:36.387" v="2615"/>
        <pc:sldMkLst>
          <pc:docMk/>
          <pc:sldMk cId="3016214707" sldId="2147472191"/>
        </pc:sldMkLst>
        <pc:spChg chg="del">
          <ac:chgData name="Yousuf, Arsalan" userId="1f742cd1-60f2-4cc5-8102-e09412e517e3" providerId="ADAL" clId="{15464559-230C-484E-9C98-D7B9D3FDBA96}" dt="2024-01-11T13:53:05.239" v="2200" actId="478"/>
          <ac:spMkLst>
            <pc:docMk/>
            <pc:sldMk cId="3016214707" sldId="2147472191"/>
            <ac:spMk id="3" creationId="{F8C072B1-37AC-F468-5AE0-4A61BF8258C3}"/>
          </ac:spMkLst>
        </pc:spChg>
        <pc:spChg chg="add mod">
          <ac:chgData name="Yousuf, Arsalan" userId="1f742cd1-60f2-4cc5-8102-e09412e517e3" providerId="ADAL" clId="{15464559-230C-484E-9C98-D7B9D3FDBA96}" dt="2024-01-11T13:53:05.618" v="2201"/>
          <ac:spMkLst>
            <pc:docMk/>
            <pc:sldMk cId="3016214707" sldId="2147472191"/>
            <ac:spMk id="4" creationId="{7F81D7C9-1E1D-EAED-EE10-357930024C32}"/>
          </ac:spMkLst>
        </pc:spChg>
        <pc:spChg chg="del mod">
          <ac:chgData name="Yousuf, Arsalan" userId="1f742cd1-60f2-4cc5-8102-e09412e517e3" providerId="ADAL" clId="{15464559-230C-484E-9C98-D7B9D3FDBA96}" dt="2024-01-11T14:14:23.325" v="2569" actId="478"/>
          <ac:spMkLst>
            <pc:docMk/>
            <pc:sldMk cId="3016214707" sldId="2147472191"/>
            <ac:spMk id="5" creationId="{80CB763D-20A4-7AB2-05EE-FE4F37AD08B9}"/>
          </ac:spMkLst>
        </pc:spChg>
        <pc:spChg chg="mod">
          <ac:chgData name="Yousuf, Arsalan" userId="1f742cd1-60f2-4cc5-8102-e09412e517e3" providerId="ADAL" clId="{15464559-230C-484E-9C98-D7B9D3FDBA96}" dt="2024-01-11T14:19:10.949" v="2611" actId="6549"/>
          <ac:spMkLst>
            <pc:docMk/>
            <pc:sldMk cId="3016214707" sldId="2147472191"/>
            <ac:spMk id="7" creationId="{F383020E-08FE-9546-C661-738047BA7264}"/>
          </ac:spMkLst>
        </pc:spChg>
        <pc:spChg chg="add mod">
          <ac:chgData name="Yousuf, Arsalan" userId="1f742cd1-60f2-4cc5-8102-e09412e517e3" providerId="ADAL" clId="{15464559-230C-484E-9C98-D7B9D3FDBA96}" dt="2024-01-11T14:07:22.947" v="2335"/>
          <ac:spMkLst>
            <pc:docMk/>
            <pc:sldMk cId="3016214707" sldId="2147472191"/>
            <ac:spMk id="8" creationId="{DB86EB56-1F8A-6739-F680-5BD1B6DF5F93}"/>
          </ac:spMkLst>
        </pc:spChg>
        <pc:spChg chg="add mod">
          <ac:chgData name="Yousuf, Arsalan" userId="1f742cd1-60f2-4cc5-8102-e09412e517e3" providerId="ADAL" clId="{15464559-230C-484E-9C98-D7B9D3FDBA96}" dt="2024-01-11T14:07:22.947" v="2335"/>
          <ac:spMkLst>
            <pc:docMk/>
            <pc:sldMk cId="3016214707" sldId="2147472191"/>
            <ac:spMk id="9" creationId="{64DCDC60-069F-685A-FFB0-F436AC8EC782}"/>
          </ac:spMkLst>
        </pc:spChg>
        <pc:spChg chg="mod">
          <ac:chgData name="Yousuf, Arsalan" userId="1f742cd1-60f2-4cc5-8102-e09412e517e3" providerId="ADAL" clId="{15464559-230C-484E-9C98-D7B9D3FDBA96}" dt="2024-01-11T14:19:08.219" v="2610" actId="1035"/>
          <ac:spMkLst>
            <pc:docMk/>
            <pc:sldMk cId="3016214707" sldId="2147472191"/>
            <ac:spMk id="11" creationId="{56E6D760-73B9-81BF-A4E0-D0A449742D78}"/>
          </ac:spMkLst>
        </pc:spChg>
        <pc:spChg chg="del">
          <ac:chgData name="Yousuf, Arsalan" userId="1f742cd1-60f2-4cc5-8102-e09412e517e3" providerId="ADAL" clId="{15464559-230C-484E-9C98-D7B9D3FDBA96}" dt="2024-01-11T14:07:22.647" v="2334" actId="478"/>
          <ac:spMkLst>
            <pc:docMk/>
            <pc:sldMk cId="3016214707" sldId="2147472191"/>
            <ac:spMk id="12" creationId="{F7B70B8B-12FD-7C12-16B1-A4887F453B18}"/>
          </ac:spMkLst>
        </pc:spChg>
        <pc:spChg chg="del">
          <ac:chgData name="Yousuf, Arsalan" userId="1f742cd1-60f2-4cc5-8102-e09412e517e3" providerId="ADAL" clId="{15464559-230C-484E-9C98-D7B9D3FDBA96}" dt="2024-01-11T14:07:22.647" v="2334" actId="478"/>
          <ac:spMkLst>
            <pc:docMk/>
            <pc:sldMk cId="3016214707" sldId="2147472191"/>
            <ac:spMk id="13" creationId="{B6B78211-6266-3292-1F64-03E14F1C94E9}"/>
          </ac:spMkLst>
        </pc:spChg>
        <pc:spChg chg="mod">
          <ac:chgData name="Yousuf, Arsalan" userId="1f742cd1-60f2-4cc5-8102-e09412e517e3" providerId="ADAL" clId="{15464559-230C-484E-9C98-D7B9D3FDBA96}" dt="2024-01-11T14:19:17.332" v="2612" actId="255"/>
          <ac:spMkLst>
            <pc:docMk/>
            <pc:sldMk cId="3016214707" sldId="2147472191"/>
            <ac:spMk id="14" creationId="{2D54BB58-4141-225B-F899-BE0496D84B3A}"/>
          </ac:spMkLst>
        </pc:spChg>
        <pc:spChg chg="add del">
          <ac:chgData name="Yousuf, Arsalan" userId="1f742cd1-60f2-4cc5-8102-e09412e517e3" providerId="ADAL" clId="{15464559-230C-484E-9C98-D7B9D3FDBA96}" dt="2024-01-11T14:13:57.674" v="2555" actId="22"/>
          <ac:spMkLst>
            <pc:docMk/>
            <pc:sldMk cId="3016214707" sldId="2147472191"/>
            <ac:spMk id="16" creationId="{31A3E7D1-1B9C-96E3-CC11-4C2B6AF2DF3B}"/>
          </ac:spMkLst>
        </pc:spChg>
        <pc:spChg chg="add mod">
          <ac:chgData name="Yousuf, Arsalan" userId="1f742cd1-60f2-4cc5-8102-e09412e517e3" providerId="ADAL" clId="{15464559-230C-484E-9C98-D7B9D3FDBA96}" dt="2024-01-11T14:14:26.342" v="2570"/>
          <ac:spMkLst>
            <pc:docMk/>
            <pc:sldMk cId="3016214707" sldId="2147472191"/>
            <ac:spMk id="17" creationId="{2838CA22-565A-91B9-DC1B-6693CBC41318}"/>
          </ac:spMkLst>
        </pc:spChg>
        <pc:spChg chg="add mod">
          <ac:chgData name="Yousuf, Arsalan" userId="1f742cd1-60f2-4cc5-8102-e09412e517e3" providerId="ADAL" clId="{15464559-230C-484E-9C98-D7B9D3FDBA96}" dt="2024-01-11T14:27:36.387" v="2615"/>
          <ac:spMkLst>
            <pc:docMk/>
            <pc:sldMk cId="3016214707" sldId="2147472191"/>
            <ac:spMk id="20" creationId="{2BCDDB47-D5E6-C265-4603-88C92B122D22}"/>
          </ac:spMkLst>
        </pc:spChg>
        <pc:picChg chg="add mod">
          <ac:chgData name="Yousuf, Arsalan" userId="1f742cd1-60f2-4cc5-8102-e09412e517e3" providerId="ADAL" clId="{15464559-230C-484E-9C98-D7B9D3FDBA96}" dt="2024-01-11T14:27:31.547" v="2614" actId="1076"/>
          <ac:picMkLst>
            <pc:docMk/>
            <pc:sldMk cId="3016214707" sldId="2147472191"/>
            <ac:picMk id="18" creationId="{539667E6-4C52-A478-7478-63D11A5C36C8}"/>
          </ac:picMkLst>
        </pc:picChg>
        <pc:picChg chg="add mod">
          <ac:chgData name="Yousuf, Arsalan" userId="1f742cd1-60f2-4cc5-8102-e09412e517e3" providerId="ADAL" clId="{15464559-230C-484E-9C98-D7B9D3FDBA96}" dt="2024-01-11T14:27:31.547" v="2614" actId="1076"/>
          <ac:picMkLst>
            <pc:docMk/>
            <pc:sldMk cId="3016214707" sldId="2147472191"/>
            <ac:picMk id="19" creationId="{E3F47614-D9EB-11FB-DECF-76EA9A1D46A8}"/>
          </ac:picMkLst>
        </pc:picChg>
      </pc:sldChg>
      <pc:sldChg chg="addSp delSp modSp mod">
        <pc:chgData name="Yousuf, Arsalan" userId="1f742cd1-60f2-4cc5-8102-e09412e517e3" providerId="ADAL" clId="{15464559-230C-484E-9C98-D7B9D3FDBA96}" dt="2024-01-11T15:13:57.419" v="3797" actId="1035"/>
        <pc:sldMkLst>
          <pc:docMk/>
          <pc:sldMk cId="1730741612" sldId="2147472192"/>
        </pc:sldMkLst>
        <pc:spChg chg="add mod">
          <ac:chgData name="Yousuf, Arsalan" userId="1f742cd1-60f2-4cc5-8102-e09412e517e3" providerId="ADAL" clId="{15464559-230C-484E-9C98-D7B9D3FDBA96}" dt="2024-01-11T13:54:01.581" v="2221"/>
          <ac:spMkLst>
            <pc:docMk/>
            <pc:sldMk cId="1730741612" sldId="2147472192"/>
            <ac:spMk id="3" creationId="{2F9147D5-F996-F9E5-66C1-4BF27578EA1F}"/>
          </ac:spMkLst>
        </pc:spChg>
        <pc:spChg chg="add mod">
          <ac:chgData name="Yousuf, Arsalan" userId="1f742cd1-60f2-4cc5-8102-e09412e517e3" providerId="ADAL" clId="{15464559-230C-484E-9C98-D7B9D3FDBA96}" dt="2024-01-11T14:07:55.737" v="2352"/>
          <ac:spMkLst>
            <pc:docMk/>
            <pc:sldMk cId="1730741612" sldId="2147472192"/>
            <ac:spMk id="5" creationId="{0AD1247A-E7B9-91D1-CF27-DA5FFF52DDE2}"/>
          </ac:spMkLst>
        </pc:spChg>
        <pc:spChg chg="mod ord">
          <ac:chgData name="Yousuf, Arsalan" userId="1f742cd1-60f2-4cc5-8102-e09412e517e3" providerId="ADAL" clId="{15464559-230C-484E-9C98-D7B9D3FDBA96}" dt="2024-01-11T15:13:53.867" v="3789" actId="1076"/>
          <ac:spMkLst>
            <pc:docMk/>
            <pc:sldMk cId="1730741612" sldId="2147472192"/>
            <ac:spMk id="6" creationId="{F8F7524F-1A5A-4C58-3EEA-1CBD196D15D0}"/>
          </ac:spMkLst>
        </pc:spChg>
        <pc:spChg chg="mod">
          <ac:chgData name="Yousuf, Arsalan" userId="1f742cd1-60f2-4cc5-8102-e09412e517e3" providerId="ADAL" clId="{15464559-230C-484E-9C98-D7B9D3FDBA96}" dt="2024-01-11T15:13:28.316" v="3777" actId="1036"/>
          <ac:spMkLst>
            <pc:docMk/>
            <pc:sldMk cId="1730741612" sldId="2147472192"/>
            <ac:spMk id="7" creationId="{CEC91674-26BB-568D-3CA7-F8C4A7E26169}"/>
          </ac:spMkLst>
        </pc:spChg>
        <pc:spChg chg="del">
          <ac:chgData name="Yousuf, Arsalan" userId="1f742cd1-60f2-4cc5-8102-e09412e517e3" providerId="ADAL" clId="{15464559-230C-484E-9C98-D7B9D3FDBA96}" dt="2024-01-11T13:54:01.192" v="2220" actId="478"/>
          <ac:spMkLst>
            <pc:docMk/>
            <pc:sldMk cId="1730741612" sldId="2147472192"/>
            <ac:spMk id="8" creationId="{4CBFDD61-041F-5470-7359-9D4F81AB2014}"/>
          </ac:spMkLst>
        </pc:spChg>
        <pc:spChg chg="del">
          <ac:chgData name="Yousuf, Arsalan" userId="1f742cd1-60f2-4cc5-8102-e09412e517e3" providerId="ADAL" clId="{15464559-230C-484E-9C98-D7B9D3FDBA96}" dt="2024-01-11T14:17:44.353" v="2600" actId="478"/>
          <ac:spMkLst>
            <pc:docMk/>
            <pc:sldMk cId="1730741612" sldId="2147472192"/>
            <ac:spMk id="9" creationId="{7516321A-B103-977A-0CDC-653E1B64225D}"/>
          </ac:spMkLst>
        </pc:spChg>
        <pc:spChg chg="add mod">
          <ac:chgData name="Yousuf, Arsalan" userId="1f742cd1-60f2-4cc5-8102-e09412e517e3" providerId="ADAL" clId="{15464559-230C-484E-9C98-D7B9D3FDBA96}" dt="2024-01-11T15:11:52.620" v="3704" actId="1036"/>
          <ac:spMkLst>
            <pc:docMk/>
            <pc:sldMk cId="1730741612" sldId="2147472192"/>
            <ac:spMk id="10" creationId="{B49E26BC-FF21-A09F-9017-E80DDC7770CC}"/>
          </ac:spMkLst>
        </pc:spChg>
        <pc:spChg chg="add mod">
          <ac:chgData name="Yousuf, Arsalan" userId="1f742cd1-60f2-4cc5-8102-e09412e517e3" providerId="ADAL" clId="{15464559-230C-484E-9C98-D7B9D3FDBA96}" dt="2024-01-11T14:17:47.674" v="2601"/>
          <ac:spMkLst>
            <pc:docMk/>
            <pc:sldMk cId="1730741612" sldId="2147472192"/>
            <ac:spMk id="11" creationId="{C23B29AA-EFB8-34EE-DCFD-BAF1477D8746}"/>
          </ac:spMkLst>
        </pc:spChg>
        <pc:spChg chg="mod topLvl">
          <ac:chgData name="Yousuf, Arsalan" userId="1f742cd1-60f2-4cc5-8102-e09412e517e3" providerId="ADAL" clId="{15464559-230C-484E-9C98-D7B9D3FDBA96}" dt="2024-01-11T15:13:19.638" v="3766" actId="164"/>
          <ac:spMkLst>
            <pc:docMk/>
            <pc:sldMk cId="1730741612" sldId="2147472192"/>
            <ac:spMk id="15" creationId="{7682FBCD-6E17-D4CB-B65C-CBF8258B39E8}"/>
          </ac:spMkLst>
        </pc:spChg>
        <pc:spChg chg="mod">
          <ac:chgData name="Yousuf, Arsalan" userId="1f742cd1-60f2-4cc5-8102-e09412e517e3" providerId="ADAL" clId="{15464559-230C-484E-9C98-D7B9D3FDBA96}" dt="2024-01-11T15:13:57.419" v="3797" actId="1035"/>
          <ac:spMkLst>
            <pc:docMk/>
            <pc:sldMk cId="1730741612" sldId="2147472192"/>
            <ac:spMk id="17" creationId="{06C0066E-45D8-F23A-6F3A-FD4356816B2F}"/>
          </ac:spMkLst>
        </pc:spChg>
        <pc:spChg chg="mod">
          <ac:chgData name="Yousuf, Arsalan" userId="1f742cd1-60f2-4cc5-8102-e09412e517e3" providerId="ADAL" clId="{15464559-230C-484E-9C98-D7B9D3FDBA96}" dt="2024-01-11T15:10:44.905" v="3701" actId="20577"/>
          <ac:spMkLst>
            <pc:docMk/>
            <pc:sldMk cId="1730741612" sldId="2147472192"/>
            <ac:spMk id="19" creationId="{9D08F294-05A0-2789-EF7B-BFE75FB1B9FC}"/>
          </ac:spMkLst>
        </pc:spChg>
        <pc:spChg chg="del">
          <ac:chgData name="Yousuf, Arsalan" userId="1f742cd1-60f2-4cc5-8102-e09412e517e3" providerId="ADAL" clId="{15464559-230C-484E-9C98-D7B9D3FDBA96}" dt="2024-01-11T14:07:55.385" v="2351" actId="478"/>
          <ac:spMkLst>
            <pc:docMk/>
            <pc:sldMk cId="1730741612" sldId="2147472192"/>
            <ac:spMk id="20" creationId="{3D699476-F3B9-9EAB-27AF-23AF510223D9}"/>
          </ac:spMkLst>
        </pc:spChg>
        <pc:spChg chg="del">
          <ac:chgData name="Yousuf, Arsalan" userId="1f742cd1-60f2-4cc5-8102-e09412e517e3" providerId="ADAL" clId="{15464559-230C-484E-9C98-D7B9D3FDBA96}" dt="2024-01-11T14:07:55.385" v="2351" actId="478"/>
          <ac:spMkLst>
            <pc:docMk/>
            <pc:sldMk cId="1730741612" sldId="2147472192"/>
            <ac:spMk id="21" creationId="{8A6C9A43-BF0D-B1AB-8361-EA1F13D7CE31}"/>
          </ac:spMkLst>
        </pc:spChg>
        <pc:spChg chg="mod">
          <ac:chgData name="Yousuf, Arsalan" userId="1f742cd1-60f2-4cc5-8102-e09412e517e3" providerId="ADAL" clId="{15464559-230C-484E-9C98-D7B9D3FDBA96}" dt="2024-01-11T14:43:35.461" v="2973" actId="255"/>
          <ac:spMkLst>
            <pc:docMk/>
            <pc:sldMk cId="1730741612" sldId="2147472192"/>
            <ac:spMk id="22" creationId="{1E8A2EB5-99AD-73BF-E84C-010ED5AF5527}"/>
          </ac:spMkLst>
        </pc:spChg>
        <pc:spChg chg="mod topLvl">
          <ac:chgData name="Yousuf, Arsalan" userId="1f742cd1-60f2-4cc5-8102-e09412e517e3" providerId="ADAL" clId="{15464559-230C-484E-9C98-D7B9D3FDBA96}" dt="2024-01-11T15:13:19.638" v="3766" actId="164"/>
          <ac:spMkLst>
            <pc:docMk/>
            <pc:sldMk cId="1730741612" sldId="2147472192"/>
            <ac:spMk id="23" creationId="{488CD2F8-E3DC-1F67-1505-0F94B9E01441}"/>
          </ac:spMkLst>
        </pc:spChg>
        <pc:spChg chg="del mod topLvl">
          <ac:chgData name="Yousuf, Arsalan" userId="1f742cd1-60f2-4cc5-8102-e09412e517e3" providerId="ADAL" clId="{15464559-230C-484E-9C98-D7B9D3FDBA96}" dt="2024-01-11T15:13:16.606" v="3765" actId="478"/>
          <ac:spMkLst>
            <pc:docMk/>
            <pc:sldMk cId="1730741612" sldId="2147472192"/>
            <ac:spMk id="24" creationId="{8D167306-A187-16D6-2F54-05CF5C0BD1C4}"/>
          </ac:spMkLst>
        </pc:spChg>
        <pc:spChg chg="mod topLvl">
          <ac:chgData name="Yousuf, Arsalan" userId="1f742cd1-60f2-4cc5-8102-e09412e517e3" providerId="ADAL" clId="{15464559-230C-484E-9C98-D7B9D3FDBA96}" dt="2024-01-11T15:13:19.638" v="3766" actId="164"/>
          <ac:spMkLst>
            <pc:docMk/>
            <pc:sldMk cId="1730741612" sldId="2147472192"/>
            <ac:spMk id="25" creationId="{FDB25B42-5C78-32D6-D468-CF177A752253}"/>
          </ac:spMkLst>
        </pc:spChg>
        <pc:spChg chg="mod topLvl">
          <ac:chgData name="Yousuf, Arsalan" userId="1f742cd1-60f2-4cc5-8102-e09412e517e3" providerId="ADAL" clId="{15464559-230C-484E-9C98-D7B9D3FDBA96}" dt="2024-01-11T15:13:19.638" v="3766" actId="164"/>
          <ac:spMkLst>
            <pc:docMk/>
            <pc:sldMk cId="1730741612" sldId="2147472192"/>
            <ac:spMk id="26" creationId="{C8539F8C-85C8-50CB-4C3B-38397B644526}"/>
          </ac:spMkLst>
        </pc:spChg>
        <pc:spChg chg="mod topLvl">
          <ac:chgData name="Yousuf, Arsalan" userId="1f742cd1-60f2-4cc5-8102-e09412e517e3" providerId="ADAL" clId="{15464559-230C-484E-9C98-D7B9D3FDBA96}" dt="2024-01-11T15:13:19.638" v="3766" actId="164"/>
          <ac:spMkLst>
            <pc:docMk/>
            <pc:sldMk cId="1730741612" sldId="2147472192"/>
            <ac:spMk id="27" creationId="{462898E6-4747-C915-FF1E-A0461A9681D1}"/>
          </ac:spMkLst>
        </pc:spChg>
        <pc:spChg chg="mod topLvl">
          <ac:chgData name="Yousuf, Arsalan" userId="1f742cd1-60f2-4cc5-8102-e09412e517e3" providerId="ADAL" clId="{15464559-230C-484E-9C98-D7B9D3FDBA96}" dt="2024-01-11T15:13:19.638" v="3766" actId="164"/>
          <ac:spMkLst>
            <pc:docMk/>
            <pc:sldMk cId="1730741612" sldId="2147472192"/>
            <ac:spMk id="28" creationId="{A659E4FC-23BE-6CE6-7ED6-9FCF9408BEB4}"/>
          </ac:spMkLst>
        </pc:spChg>
        <pc:grpChg chg="add del mod">
          <ac:chgData name="Yousuf, Arsalan" userId="1f742cd1-60f2-4cc5-8102-e09412e517e3" providerId="ADAL" clId="{15464559-230C-484E-9C98-D7B9D3FDBA96}" dt="2024-01-11T15:13:05.530" v="3764" actId="165"/>
          <ac:grpSpMkLst>
            <pc:docMk/>
            <pc:sldMk cId="1730741612" sldId="2147472192"/>
            <ac:grpSpMk id="14" creationId="{BE3FD4D7-70B7-095B-F6BC-8AB93E38AF69}"/>
          </ac:grpSpMkLst>
        </pc:grpChg>
        <pc:grpChg chg="add mod">
          <ac:chgData name="Yousuf, Arsalan" userId="1f742cd1-60f2-4cc5-8102-e09412e517e3" providerId="ADAL" clId="{15464559-230C-484E-9C98-D7B9D3FDBA96}" dt="2024-01-11T15:13:25.421" v="3767" actId="1076"/>
          <ac:grpSpMkLst>
            <pc:docMk/>
            <pc:sldMk cId="1730741612" sldId="2147472192"/>
            <ac:grpSpMk id="29" creationId="{DCCF0DAC-DAC8-7E48-2BE1-D57E8C7BAE29}"/>
          </ac:grpSpMkLst>
        </pc:grpChg>
        <pc:graphicFrameChg chg="add del mod">
          <ac:chgData name="Yousuf, Arsalan" userId="1f742cd1-60f2-4cc5-8102-e09412e517e3" providerId="ADAL" clId="{15464559-230C-484E-9C98-D7B9D3FDBA96}" dt="2024-01-11T15:12:58.719" v="3761" actId="18245"/>
          <ac:graphicFrameMkLst>
            <pc:docMk/>
            <pc:sldMk cId="1730741612" sldId="2147472192"/>
            <ac:graphicFrameMk id="2" creationId="{0C3CD3F3-5C20-D4FF-95A8-A9BD6626DEEE}"/>
          </ac:graphicFrameMkLst>
        </pc:graphicFrameChg>
        <pc:picChg chg="add mod">
          <ac:chgData name="Yousuf, Arsalan" userId="1f742cd1-60f2-4cc5-8102-e09412e517e3" providerId="ADAL" clId="{15464559-230C-484E-9C98-D7B9D3FDBA96}" dt="2024-01-11T15:12:11.574" v="3729" actId="1076"/>
          <ac:picMkLst>
            <pc:docMk/>
            <pc:sldMk cId="1730741612" sldId="2147472192"/>
            <ac:picMk id="12" creationId="{2965B732-CA83-07FC-EEF8-013F1053F243}"/>
          </ac:picMkLst>
        </pc:picChg>
        <pc:picChg chg="add mod">
          <ac:chgData name="Yousuf, Arsalan" userId="1f742cd1-60f2-4cc5-8102-e09412e517e3" providerId="ADAL" clId="{15464559-230C-484E-9C98-D7B9D3FDBA96}" dt="2024-01-11T15:12:08.308" v="3728" actId="1076"/>
          <ac:picMkLst>
            <pc:docMk/>
            <pc:sldMk cId="1730741612" sldId="2147472192"/>
            <ac:picMk id="13" creationId="{90524F2D-4BF3-7CCA-DA37-D56D99BB1318}"/>
          </ac:picMkLst>
        </pc:picChg>
      </pc:sldChg>
      <pc:sldChg chg="addSp delSp modSp mod">
        <pc:chgData name="Yousuf, Arsalan" userId="1f742cd1-60f2-4cc5-8102-e09412e517e3" providerId="ADAL" clId="{15464559-230C-484E-9C98-D7B9D3FDBA96}" dt="2024-01-11T16:28:03.063" v="6941" actId="20577"/>
        <pc:sldMkLst>
          <pc:docMk/>
          <pc:sldMk cId="470543264" sldId="2147472193"/>
        </pc:sldMkLst>
        <pc:spChg chg="del">
          <ac:chgData name="Yousuf, Arsalan" userId="1f742cd1-60f2-4cc5-8102-e09412e517e3" providerId="ADAL" clId="{15464559-230C-484E-9C98-D7B9D3FDBA96}" dt="2024-01-11T13:54:02.407" v="2222" actId="478"/>
          <ac:spMkLst>
            <pc:docMk/>
            <pc:sldMk cId="470543264" sldId="2147472193"/>
            <ac:spMk id="3" creationId="{E370BA31-7D6B-448E-E8E2-444EBB45F42F}"/>
          </ac:spMkLst>
        </pc:spChg>
        <pc:spChg chg="add mod">
          <ac:chgData name="Yousuf, Arsalan" userId="1f742cd1-60f2-4cc5-8102-e09412e517e3" providerId="ADAL" clId="{15464559-230C-484E-9C98-D7B9D3FDBA96}" dt="2024-01-11T13:54:02.877" v="2223"/>
          <ac:spMkLst>
            <pc:docMk/>
            <pc:sldMk cId="470543264" sldId="2147472193"/>
            <ac:spMk id="4" creationId="{7FFDC905-EBD7-54C0-9894-46419C450861}"/>
          </ac:spMkLst>
        </pc:spChg>
        <pc:spChg chg="del">
          <ac:chgData name="Yousuf, Arsalan" userId="1f742cd1-60f2-4cc5-8102-e09412e517e3" providerId="ADAL" clId="{15464559-230C-484E-9C98-D7B9D3FDBA96}" dt="2024-01-11T14:17:52.871" v="2602" actId="478"/>
          <ac:spMkLst>
            <pc:docMk/>
            <pc:sldMk cId="470543264" sldId="2147472193"/>
            <ac:spMk id="5" creationId="{0564BCBE-C27C-921F-3AA9-34CD82D3BD67}"/>
          </ac:spMkLst>
        </pc:spChg>
        <pc:spChg chg="mod">
          <ac:chgData name="Yousuf, Arsalan" userId="1f742cd1-60f2-4cc5-8102-e09412e517e3" providerId="ADAL" clId="{15464559-230C-484E-9C98-D7B9D3FDBA96}" dt="2024-01-11T15:18:59.459" v="4121" actId="404"/>
          <ac:spMkLst>
            <pc:docMk/>
            <pc:sldMk cId="470543264" sldId="2147472193"/>
            <ac:spMk id="6" creationId="{6C6E46D1-9928-6F5D-9E42-D7E1F30C0432}"/>
          </ac:spMkLst>
        </pc:spChg>
        <pc:spChg chg="add mod">
          <ac:chgData name="Yousuf, Arsalan" userId="1f742cd1-60f2-4cc5-8102-e09412e517e3" providerId="ADAL" clId="{15464559-230C-484E-9C98-D7B9D3FDBA96}" dt="2024-01-11T14:07:58.631" v="2354"/>
          <ac:spMkLst>
            <pc:docMk/>
            <pc:sldMk cId="470543264" sldId="2147472193"/>
            <ac:spMk id="8" creationId="{68AD4ED9-1A0D-B5FE-63F0-E40859D3776F}"/>
          </ac:spMkLst>
        </pc:spChg>
        <pc:spChg chg="add mod">
          <ac:chgData name="Yousuf, Arsalan" userId="1f742cd1-60f2-4cc5-8102-e09412e517e3" providerId="ADAL" clId="{15464559-230C-484E-9C98-D7B9D3FDBA96}" dt="2024-01-11T14:07:58.631" v="2354"/>
          <ac:spMkLst>
            <pc:docMk/>
            <pc:sldMk cId="470543264" sldId="2147472193"/>
            <ac:spMk id="9" creationId="{AE41B013-9092-5AF9-6370-50A687A4B57E}"/>
          </ac:spMkLst>
        </pc:spChg>
        <pc:spChg chg="del">
          <ac:chgData name="Yousuf, Arsalan" userId="1f742cd1-60f2-4cc5-8102-e09412e517e3" providerId="ADAL" clId="{15464559-230C-484E-9C98-D7B9D3FDBA96}" dt="2024-01-11T14:07:58.336" v="2353" actId="478"/>
          <ac:spMkLst>
            <pc:docMk/>
            <pc:sldMk cId="470543264" sldId="2147472193"/>
            <ac:spMk id="10" creationId="{F042EFDD-EDA4-5362-D87C-C595F26609E3}"/>
          </ac:spMkLst>
        </pc:spChg>
        <pc:spChg chg="del">
          <ac:chgData name="Yousuf, Arsalan" userId="1f742cd1-60f2-4cc5-8102-e09412e517e3" providerId="ADAL" clId="{15464559-230C-484E-9C98-D7B9D3FDBA96}" dt="2024-01-11T14:07:58.336" v="2353" actId="478"/>
          <ac:spMkLst>
            <pc:docMk/>
            <pc:sldMk cId="470543264" sldId="2147472193"/>
            <ac:spMk id="11" creationId="{F82FD344-7B33-8AE4-8EEF-50719F503FC9}"/>
          </ac:spMkLst>
        </pc:spChg>
        <pc:spChg chg="mod">
          <ac:chgData name="Yousuf, Arsalan" userId="1f742cd1-60f2-4cc5-8102-e09412e517e3" providerId="ADAL" clId="{15464559-230C-484E-9C98-D7B9D3FDBA96}" dt="2024-01-11T16:28:03.063" v="6941" actId="20577"/>
          <ac:spMkLst>
            <pc:docMk/>
            <pc:sldMk cId="470543264" sldId="2147472193"/>
            <ac:spMk id="13" creationId="{33DDE945-E8CA-2113-0778-A7C5E1D6F168}"/>
          </ac:spMkLst>
        </pc:spChg>
        <pc:spChg chg="mod">
          <ac:chgData name="Yousuf, Arsalan" userId="1f742cd1-60f2-4cc5-8102-e09412e517e3" providerId="ADAL" clId="{15464559-230C-484E-9C98-D7B9D3FDBA96}" dt="2024-01-11T15:17:37.962" v="4066" actId="20577"/>
          <ac:spMkLst>
            <pc:docMk/>
            <pc:sldMk cId="470543264" sldId="2147472193"/>
            <ac:spMk id="14" creationId="{74E8D412-29B6-7CB8-793B-7E0D9E36ADE2}"/>
          </ac:spMkLst>
        </pc:spChg>
        <pc:spChg chg="add mod">
          <ac:chgData name="Yousuf, Arsalan" userId="1f742cd1-60f2-4cc5-8102-e09412e517e3" providerId="ADAL" clId="{15464559-230C-484E-9C98-D7B9D3FDBA96}" dt="2024-01-11T14:17:56.980" v="2603"/>
          <ac:spMkLst>
            <pc:docMk/>
            <pc:sldMk cId="470543264" sldId="2147472193"/>
            <ac:spMk id="16" creationId="{70A07755-232C-3B18-BC52-2FCA6EFF76D9}"/>
          </ac:spMkLst>
        </pc:spChg>
        <pc:spChg chg="mod">
          <ac:chgData name="Yousuf, Arsalan" userId="1f742cd1-60f2-4cc5-8102-e09412e517e3" providerId="ADAL" clId="{15464559-230C-484E-9C98-D7B9D3FDBA96}" dt="2024-01-11T15:18:40.230" v="4118" actId="1036"/>
          <ac:spMkLst>
            <pc:docMk/>
            <pc:sldMk cId="470543264" sldId="2147472193"/>
            <ac:spMk id="18" creationId="{58B2E7CF-BAC7-A5AE-DD6A-68589EB1F0F8}"/>
          </ac:spMkLst>
        </pc:spChg>
        <pc:grpChg chg="mod">
          <ac:chgData name="Yousuf, Arsalan" userId="1f742cd1-60f2-4cc5-8102-e09412e517e3" providerId="ADAL" clId="{15464559-230C-484E-9C98-D7B9D3FDBA96}" dt="2024-01-11T15:18:40.230" v="4118" actId="1036"/>
          <ac:grpSpMkLst>
            <pc:docMk/>
            <pc:sldMk cId="470543264" sldId="2147472193"/>
            <ac:grpSpMk id="15" creationId="{182A4CE7-CB32-0AE1-97D9-A2B6E1DA2F51}"/>
          </ac:grpSpMkLst>
        </pc:grpChg>
        <pc:grpChg chg="mod">
          <ac:chgData name="Yousuf, Arsalan" userId="1f742cd1-60f2-4cc5-8102-e09412e517e3" providerId="ADAL" clId="{15464559-230C-484E-9C98-D7B9D3FDBA96}" dt="2024-01-11T15:18:40.230" v="4118" actId="1036"/>
          <ac:grpSpMkLst>
            <pc:docMk/>
            <pc:sldMk cId="470543264" sldId="2147472193"/>
            <ac:grpSpMk id="17" creationId="{35D54EF0-F3ED-AF74-1A3C-A63E49ED3104}"/>
          </ac:grpSpMkLst>
        </pc:grpChg>
        <pc:picChg chg="mod">
          <ac:chgData name="Yousuf, Arsalan" userId="1f742cd1-60f2-4cc5-8102-e09412e517e3" providerId="ADAL" clId="{15464559-230C-484E-9C98-D7B9D3FDBA96}" dt="2024-01-11T15:18:40.230" v="4118" actId="1036"/>
          <ac:picMkLst>
            <pc:docMk/>
            <pc:sldMk cId="470543264" sldId="2147472193"/>
            <ac:picMk id="19" creationId="{0B14765C-AA48-9E7B-8500-B5B286426E06}"/>
          </ac:picMkLst>
        </pc:picChg>
        <pc:picChg chg="mod">
          <ac:chgData name="Yousuf, Arsalan" userId="1f742cd1-60f2-4cc5-8102-e09412e517e3" providerId="ADAL" clId="{15464559-230C-484E-9C98-D7B9D3FDBA96}" dt="2024-01-11T15:18:40.230" v="4118" actId="1036"/>
          <ac:picMkLst>
            <pc:docMk/>
            <pc:sldMk cId="470543264" sldId="2147472193"/>
            <ac:picMk id="20" creationId="{C7A3A8DD-8EE1-B326-111E-1B9E4EB4ECE0}"/>
          </ac:picMkLst>
        </pc:picChg>
        <pc:picChg chg="mod">
          <ac:chgData name="Yousuf, Arsalan" userId="1f742cd1-60f2-4cc5-8102-e09412e517e3" providerId="ADAL" clId="{15464559-230C-484E-9C98-D7B9D3FDBA96}" dt="2024-01-11T15:18:40.230" v="4118" actId="1036"/>
          <ac:picMkLst>
            <pc:docMk/>
            <pc:sldMk cId="470543264" sldId="2147472193"/>
            <ac:picMk id="21" creationId="{DBBA4238-9C35-86B2-8BD7-5E5CD1488922}"/>
          </ac:picMkLst>
        </pc:picChg>
        <pc:picChg chg="mod">
          <ac:chgData name="Yousuf, Arsalan" userId="1f742cd1-60f2-4cc5-8102-e09412e517e3" providerId="ADAL" clId="{15464559-230C-484E-9C98-D7B9D3FDBA96}" dt="2024-01-11T15:18:40.230" v="4118" actId="1036"/>
          <ac:picMkLst>
            <pc:docMk/>
            <pc:sldMk cId="470543264" sldId="2147472193"/>
            <ac:picMk id="22" creationId="{EA1AFBA3-EC3F-77F7-9F57-4B91AF10B939}"/>
          </ac:picMkLst>
        </pc:picChg>
        <pc:picChg chg="mod">
          <ac:chgData name="Yousuf, Arsalan" userId="1f742cd1-60f2-4cc5-8102-e09412e517e3" providerId="ADAL" clId="{15464559-230C-484E-9C98-D7B9D3FDBA96}" dt="2024-01-11T15:18:40.230" v="4118" actId="1036"/>
          <ac:picMkLst>
            <pc:docMk/>
            <pc:sldMk cId="470543264" sldId="2147472193"/>
            <ac:picMk id="23" creationId="{DEFCEC6B-A79A-1A6E-41D7-26911C0253C6}"/>
          </ac:picMkLst>
        </pc:picChg>
        <pc:picChg chg="mod">
          <ac:chgData name="Yousuf, Arsalan" userId="1f742cd1-60f2-4cc5-8102-e09412e517e3" providerId="ADAL" clId="{15464559-230C-484E-9C98-D7B9D3FDBA96}" dt="2024-01-11T15:18:40.230" v="4118" actId="1036"/>
          <ac:picMkLst>
            <pc:docMk/>
            <pc:sldMk cId="470543264" sldId="2147472193"/>
            <ac:picMk id="24" creationId="{2C2993DE-C46C-FE16-CEA7-A82C69D13B91}"/>
          </ac:picMkLst>
        </pc:picChg>
      </pc:sldChg>
      <pc:sldChg chg="del">
        <pc:chgData name="Yousuf, Arsalan" userId="1f742cd1-60f2-4cc5-8102-e09412e517e3" providerId="ADAL" clId="{15464559-230C-484E-9C98-D7B9D3FDBA96}" dt="2024-01-11T14:08:30.673" v="2357" actId="47"/>
        <pc:sldMkLst>
          <pc:docMk/>
          <pc:sldMk cId="1828999297" sldId="2147472197"/>
        </pc:sldMkLst>
      </pc:sldChg>
      <pc:sldChg chg="del">
        <pc:chgData name="Yousuf, Arsalan" userId="1f742cd1-60f2-4cc5-8102-e09412e517e3" providerId="ADAL" clId="{15464559-230C-484E-9C98-D7B9D3FDBA96}" dt="2024-01-11T14:08:30.673" v="2357" actId="47"/>
        <pc:sldMkLst>
          <pc:docMk/>
          <pc:sldMk cId="2197289722" sldId="2147472198"/>
        </pc:sldMkLst>
      </pc:sldChg>
      <pc:sldChg chg="del">
        <pc:chgData name="Yousuf, Arsalan" userId="1f742cd1-60f2-4cc5-8102-e09412e517e3" providerId="ADAL" clId="{15464559-230C-484E-9C98-D7B9D3FDBA96}" dt="2024-01-11T14:08:30.673" v="2357" actId="47"/>
        <pc:sldMkLst>
          <pc:docMk/>
          <pc:sldMk cId="3234539576" sldId="2147472199"/>
        </pc:sldMkLst>
      </pc:sldChg>
      <pc:sldChg chg="del">
        <pc:chgData name="Yousuf, Arsalan" userId="1f742cd1-60f2-4cc5-8102-e09412e517e3" providerId="ADAL" clId="{15464559-230C-484E-9C98-D7B9D3FDBA96}" dt="2024-01-11T14:08:30.673" v="2357" actId="47"/>
        <pc:sldMkLst>
          <pc:docMk/>
          <pc:sldMk cId="3627460361" sldId="2147472200"/>
        </pc:sldMkLst>
      </pc:sldChg>
      <pc:sldChg chg="del">
        <pc:chgData name="Yousuf, Arsalan" userId="1f742cd1-60f2-4cc5-8102-e09412e517e3" providerId="ADAL" clId="{15464559-230C-484E-9C98-D7B9D3FDBA96}" dt="2024-01-11T14:08:30.673" v="2357" actId="47"/>
        <pc:sldMkLst>
          <pc:docMk/>
          <pc:sldMk cId="3489560597" sldId="2147472201"/>
        </pc:sldMkLst>
      </pc:sldChg>
      <pc:sldChg chg="del">
        <pc:chgData name="Yousuf, Arsalan" userId="1f742cd1-60f2-4cc5-8102-e09412e517e3" providerId="ADAL" clId="{15464559-230C-484E-9C98-D7B9D3FDBA96}" dt="2024-01-11T14:08:30.673" v="2357" actId="47"/>
        <pc:sldMkLst>
          <pc:docMk/>
          <pc:sldMk cId="3106695573" sldId="2147479536"/>
        </pc:sldMkLst>
      </pc:sldChg>
      <pc:sldChg chg="addSp delSp modSp mod ord">
        <pc:chgData name="Yousuf, Arsalan" userId="1f742cd1-60f2-4cc5-8102-e09412e517e3" providerId="ADAL" clId="{15464559-230C-484E-9C98-D7B9D3FDBA96}" dt="2024-01-11T14:09:58.968" v="2377"/>
        <pc:sldMkLst>
          <pc:docMk/>
          <pc:sldMk cId="4029893540" sldId="2147479537"/>
        </pc:sldMkLst>
        <pc:spChg chg="mod">
          <ac:chgData name="Yousuf, Arsalan" userId="1f742cd1-60f2-4cc5-8102-e09412e517e3" providerId="ADAL" clId="{15464559-230C-484E-9C98-D7B9D3FDBA96}" dt="2024-01-11T13:10:43.075" v="1396" actId="113"/>
          <ac:spMkLst>
            <pc:docMk/>
            <pc:sldMk cId="4029893540" sldId="2147479537"/>
            <ac:spMk id="2" creationId="{2E021508-94F7-22FA-5E40-A81C56062659}"/>
          </ac:spMkLst>
        </pc:spChg>
        <pc:spChg chg="mod">
          <ac:chgData name="Yousuf, Arsalan" userId="1f742cd1-60f2-4cc5-8102-e09412e517e3" providerId="ADAL" clId="{15464559-230C-484E-9C98-D7B9D3FDBA96}" dt="2024-01-11T13:10:37.244" v="1383" actId="2711"/>
          <ac:spMkLst>
            <pc:docMk/>
            <pc:sldMk cId="4029893540" sldId="2147479537"/>
            <ac:spMk id="3" creationId="{CB921BC6-E533-24E9-3CF3-327F017D4AD6}"/>
          </ac:spMkLst>
        </pc:spChg>
        <pc:spChg chg="add mod">
          <ac:chgData name="Yousuf, Arsalan" userId="1f742cd1-60f2-4cc5-8102-e09412e517e3" providerId="ADAL" clId="{15464559-230C-484E-9C98-D7B9D3FDBA96}" dt="2024-01-11T14:09:58.968" v="2377"/>
          <ac:spMkLst>
            <pc:docMk/>
            <pc:sldMk cId="4029893540" sldId="2147479537"/>
            <ac:spMk id="4" creationId="{1D2C775B-020B-52C5-4900-6320B34213D6}"/>
          </ac:spMkLst>
        </pc:spChg>
        <pc:spChg chg="mod">
          <ac:chgData name="Yousuf, Arsalan" userId="1f742cd1-60f2-4cc5-8102-e09412e517e3" providerId="ADAL" clId="{15464559-230C-484E-9C98-D7B9D3FDBA96}" dt="2024-01-11T13:10:37.244" v="1383" actId="2711"/>
          <ac:spMkLst>
            <pc:docMk/>
            <pc:sldMk cId="4029893540" sldId="2147479537"/>
            <ac:spMk id="6" creationId="{ECB8CD6E-2A28-81CF-E6A2-0EB9F10BD51E}"/>
          </ac:spMkLst>
        </pc:spChg>
        <pc:spChg chg="mod">
          <ac:chgData name="Yousuf, Arsalan" userId="1f742cd1-60f2-4cc5-8102-e09412e517e3" providerId="ADAL" clId="{15464559-230C-484E-9C98-D7B9D3FDBA96}" dt="2024-01-11T13:10:37.244" v="1383" actId="2711"/>
          <ac:spMkLst>
            <pc:docMk/>
            <pc:sldMk cId="4029893540" sldId="2147479537"/>
            <ac:spMk id="8" creationId="{5F37E36D-DC3E-801E-6EC8-D2A6E6367D3C}"/>
          </ac:spMkLst>
        </pc:spChg>
        <pc:spChg chg="mod">
          <ac:chgData name="Yousuf, Arsalan" userId="1f742cd1-60f2-4cc5-8102-e09412e517e3" providerId="ADAL" clId="{15464559-230C-484E-9C98-D7B9D3FDBA96}" dt="2024-01-11T13:10:37.244" v="1383" actId="2711"/>
          <ac:spMkLst>
            <pc:docMk/>
            <pc:sldMk cId="4029893540" sldId="2147479537"/>
            <ac:spMk id="9" creationId="{C28C6D4A-3E98-4777-1525-51F4FA0742C0}"/>
          </ac:spMkLst>
        </pc:spChg>
        <pc:spChg chg="mod">
          <ac:chgData name="Yousuf, Arsalan" userId="1f742cd1-60f2-4cc5-8102-e09412e517e3" providerId="ADAL" clId="{15464559-230C-484E-9C98-D7B9D3FDBA96}" dt="2024-01-11T13:10:37.244" v="1383" actId="2711"/>
          <ac:spMkLst>
            <pc:docMk/>
            <pc:sldMk cId="4029893540" sldId="2147479537"/>
            <ac:spMk id="10" creationId="{477C4FA3-89DE-B2E1-16AF-C47A8B815F71}"/>
          </ac:spMkLst>
        </pc:spChg>
        <pc:spChg chg="mod">
          <ac:chgData name="Yousuf, Arsalan" userId="1f742cd1-60f2-4cc5-8102-e09412e517e3" providerId="ADAL" clId="{15464559-230C-484E-9C98-D7B9D3FDBA96}" dt="2024-01-11T13:10:37.244" v="1383" actId="2711"/>
          <ac:spMkLst>
            <pc:docMk/>
            <pc:sldMk cId="4029893540" sldId="2147479537"/>
            <ac:spMk id="11" creationId="{3D8C2F92-D4FF-2A2A-A936-8983E7C27B3B}"/>
          </ac:spMkLst>
        </pc:spChg>
        <pc:spChg chg="mod">
          <ac:chgData name="Yousuf, Arsalan" userId="1f742cd1-60f2-4cc5-8102-e09412e517e3" providerId="ADAL" clId="{15464559-230C-484E-9C98-D7B9D3FDBA96}" dt="2024-01-11T13:10:37.244" v="1383" actId="2711"/>
          <ac:spMkLst>
            <pc:docMk/>
            <pc:sldMk cId="4029893540" sldId="2147479537"/>
            <ac:spMk id="13" creationId="{7A099613-4435-68E9-F040-4F8A1904C46D}"/>
          </ac:spMkLst>
        </pc:spChg>
        <pc:spChg chg="mod">
          <ac:chgData name="Yousuf, Arsalan" userId="1f742cd1-60f2-4cc5-8102-e09412e517e3" providerId="ADAL" clId="{15464559-230C-484E-9C98-D7B9D3FDBA96}" dt="2024-01-11T13:10:37.244" v="1383" actId="2711"/>
          <ac:spMkLst>
            <pc:docMk/>
            <pc:sldMk cId="4029893540" sldId="2147479537"/>
            <ac:spMk id="16" creationId="{7BFC4527-98F0-51AF-ACD3-169BB5B78CD4}"/>
          </ac:spMkLst>
        </pc:spChg>
        <pc:spChg chg="mod">
          <ac:chgData name="Yousuf, Arsalan" userId="1f742cd1-60f2-4cc5-8102-e09412e517e3" providerId="ADAL" clId="{15464559-230C-484E-9C98-D7B9D3FDBA96}" dt="2024-01-11T13:10:37.244" v="1383" actId="2711"/>
          <ac:spMkLst>
            <pc:docMk/>
            <pc:sldMk cId="4029893540" sldId="2147479537"/>
            <ac:spMk id="18" creationId="{1C4C9C0E-9859-C4BC-6149-F65292BA5BE8}"/>
          </ac:spMkLst>
        </pc:spChg>
        <pc:spChg chg="del mod">
          <ac:chgData name="Yousuf, Arsalan" userId="1f742cd1-60f2-4cc5-8102-e09412e517e3" providerId="ADAL" clId="{15464559-230C-484E-9C98-D7B9D3FDBA96}" dt="2024-01-11T14:09:58.680" v="2376" actId="478"/>
          <ac:spMkLst>
            <pc:docMk/>
            <pc:sldMk cId="4029893540" sldId="2147479537"/>
            <ac:spMk id="75" creationId="{0B00487E-9A8E-46E0-B60F-BB884C23310C}"/>
          </ac:spMkLst>
        </pc:spChg>
        <pc:spChg chg="mod">
          <ac:chgData name="Yousuf, Arsalan" userId="1f742cd1-60f2-4cc5-8102-e09412e517e3" providerId="ADAL" clId="{15464559-230C-484E-9C98-D7B9D3FDBA96}" dt="2024-01-11T13:10:37.244" v="1383" actId="2711"/>
          <ac:spMkLst>
            <pc:docMk/>
            <pc:sldMk cId="4029893540" sldId="2147479537"/>
            <ac:spMk id="76" creationId="{11F95CE4-70DC-4FF6-9740-A5C6EC6923E7}"/>
          </ac:spMkLst>
        </pc:spChg>
        <pc:picChg chg="mod">
          <ac:chgData name="Yousuf, Arsalan" userId="1f742cd1-60f2-4cc5-8102-e09412e517e3" providerId="ADAL" clId="{15464559-230C-484E-9C98-D7B9D3FDBA96}" dt="2024-01-11T13:10:58.438" v="1413" actId="1036"/>
          <ac:picMkLst>
            <pc:docMk/>
            <pc:sldMk cId="4029893540" sldId="2147479537"/>
            <ac:picMk id="19" creationId="{F5AF8C3E-DC74-73C6-0885-AB89111E268D}"/>
          </ac:picMkLst>
        </pc:picChg>
      </pc:sldChg>
      <pc:sldChg chg="addSp delSp modSp mod">
        <pc:chgData name="Yousuf, Arsalan" userId="1f742cd1-60f2-4cc5-8102-e09412e517e3" providerId="ADAL" clId="{15464559-230C-484E-9C98-D7B9D3FDBA96}" dt="2024-01-11T14:09:30.315" v="2370" actId="20577"/>
        <pc:sldMkLst>
          <pc:docMk/>
          <pc:sldMk cId="1829617626" sldId="2147479538"/>
        </pc:sldMkLst>
        <pc:spChg chg="add del mod">
          <ac:chgData name="Yousuf, Arsalan" userId="1f742cd1-60f2-4cc5-8102-e09412e517e3" providerId="ADAL" clId="{15464559-230C-484E-9C98-D7B9D3FDBA96}" dt="2024-01-11T14:09:26.184" v="2358" actId="478"/>
          <ac:spMkLst>
            <pc:docMk/>
            <pc:sldMk cId="1829617626" sldId="2147479538"/>
            <ac:spMk id="2" creationId="{92BFE787-C89C-515D-0EF6-0B83A6890AE7}"/>
          </ac:spMkLst>
        </pc:spChg>
        <pc:spChg chg="add del">
          <ac:chgData name="Yousuf, Arsalan" userId="1f742cd1-60f2-4cc5-8102-e09412e517e3" providerId="ADAL" clId="{15464559-230C-484E-9C98-D7B9D3FDBA96}" dt="2024-01-11T12:58:23.797" v="1190" actId="478"/>
          <ac:spMkLst>
            <pc:docMk/>
            <pc:sldMk cId="1829617626" sldId="2147479538"/>
            <ac:spMk id="5" creationId="{F31E6C93-ED6F-E2B0-9978-A1E9A6C18B5C}"/>
          </ac:spMkLst>
        </pc:spChg>
        <pc:spChg chg="mod">
          <ac:chgData name="Yousuf, Arsalan" userId="1f742cd1-60f2-4cc5-8102-e09412e517e3" providerId="ADAL" clId="{15464559-230C-484E-9C98-D7B9D3FDBA96}" dt="2024-01-11T13:03:26.640" v="1245" actId="1035"/>
          <ac:spMkLst>
            <pc:docMk/>
            <pc:sldMk cId="1829617626" sldId="2147479538"/>
            <ac:spMk id="6" creationId="{60740F1F-71BB-C6C0-B121-D264B6F1FB94}"/>
          </ac:spMkLst>
        </pc:spChg>
        <pc:spChg chg="mod">
          <ac:chgData name="Yousuf, Arsalan" userId="1f742cd1-60f2-4cc5-8102-e09412e517e3" providerId="ADAL" clId="{15464559-230C-484E-9C98-D7B9D3FDBA96}" dt="2024-01-11T13:03:26.640" v="1245" actId="1035"/>
          <ac:spMkLst>
            <pc:docMk/>
            <pc:sldMk cId="1829617626" sldId="2147479538"/>
            <ac:spMk id="8" creationId="{030754DF-CC6B-9924-1696-479834BEF96A}"/>
          </ac:spMkLst>
        </pc:spChg>
        <pc:spChg chg="mod">
          <ac:chgData name="Yousuf, Arsalan" userId="1f742cd1-60f2-4cc5-8102-e09412e517e3" providerId="ADAL" clId="{15464559-230C-484E-9C98-D7B9D3FDBA96}" dt="2024-01-11T13:03:26.640" v="1245" actId="1035"/>
          <ac:spMkLst>
            <pc:docMk/>
            <pc:sldMk cId="1829617626" sldId="2147479538"/>
            <ac:spMk id="10" creationId="{7956B72E-313F-418E-1B08-503D27937830}"/>
          </ac:spMkLst>
        </pc:spChg>
        <pc:spChg chg="mod">
          <ac:chgData name="Yousuf, Arsalan" userId="1f742cd1-60f2-4cc5-8102-e09412e517e3" providerId="ADAL" clId="{15464559-230C-484E-9C98-D7B9D3FDBA96}" dt="2024-01-11T13:03:26.640" v="1245" actId="1035"/>
          <ac:spMkLst>
            <pc:docMk/>
            <pc:sldMk cId="1829617626" sldId="2147479538"/>
            <ac:spMk id="12" creationId="{223B5BB8-94F8-FCF2-D976-85264D0C254D}"/>
          </ac:spMkLst>
        </pc:spChg>
        <pc:spChg chg="add mod">
          <ac:chgData name="Yousuf, Arsalan" userId="1f742cd1-60f2-4cc5-8102-e09412e517e3" providerId="ADAL" clId="{15464559-230C-484E-9C98-D7B9D3FDBA96}" dt="2024-01-11T13:08:47.815" v="1373" actId="6549"/>
          <ac:spMkLst>
            <pc:docMk/>
            <pc:sldMk cId="1829617626" sldId="2147479538"/>
            <ac:spMk id="14" creationId="{A9CEDC96-5F98-502B-CFDE-340FA5F40277}"/>
          </ac:spMkLst>
        </pc:spChg>
        <pc:spChg chg="add mod">
          <ac:chgData name="Yousuf, Arsalan" userId="1f742cd1-60f2-4cc5-8102-e09412e517e3" providerId="ADAL" clId="{15464559-230C-484E-9C98-D7B9D3FDBA96}" dt="2024-01-11T14:09:30.315" v="2370" actId="20577"/>
          <ac:spMkLst>
            <pc:docMk/>
            <pc:sldMk cId="1829617626" sldId="2147479538"/>
            <ac:spMk id="15" creationId="{6B4A0D92-C6D8-6824-EB56-BB9D78038F49}"/>
          </ac:spMkLst>
        </pc:spChg>
        <pc:spChg chg="mod">
          <ac:chgData name="Yousuf, Arsalan" userId="1f742cd1-60f2-4cc5-8102-e09412e517e3" providerId="ADAL" clId="{15464559-230C-484E-9C98-D7B9D3FDBA96}" dt="2024-01-11T13:03:26.640" v="1245" actId="1035"/>
          <ac:spMkLst>
            <pc:docMk/>
            <pc:sldMk cId="1829617626" sldId="2147479538"/>
            <ac:spMk id="16" creationId="{25F8AD5A-03C2-F1CD-D9BA-49D90366193C}"/>
          </ac:spMkLst>
        </pc:spChg>
        <pc:spChg chg="mod">
          <ac:chgData name="Yousuf, Arsalan" userId="1f742cd1-60f2-4cc5-8102-e09412e517e3" providerId="ADAL" clId="{15464559-230C-484E-9C98-D7B9D3FDBA96}" dt="2024-01-11T13:03:26.640" v="1245" actId="1035"/>
          <ac:spMkLst>
            <pc:docMk/>
            <pc:sldMk cId="1829617626" sldId="2147479538"/>
            <ac:spMk id="18" creationId="{F13D0CDE-A0E6-4E46-C2E4-FF8FFFB8FECB}"/>
          </ac:spMkLst>
        </pc:spChg>
        <pc:spChg chg="mod">
          <ac:chgData name="Yousuf, Arsalan" userId="1f742cd1-60f2-4cc5-8102-e09412e517e3" providerId="ADAL" clId="{15464559-230C-484E-9C98-D7B9D3FDBA96}" dt="2024-01-11T13:03:26.640" v="1245" actId="1035"/>
          <ac:spMkLst>
            <pc:docMk/>
            <pc:sldMk cId="1829617626" sldId="2147479538"/>
            <ac:spMk id="19" creationId="{DA62D8E2-C235-6621-7F84-C3776DB647F2}"/>
          </ac:spMkLst>
        </pc:spChg>
        <pc:spChg chg="mod">
          <ac:chgData name="Yousuf, Arsalan" userId="1f742cd1-60f2-4cc5-8102-e09412e517e3" providerId="ADAL" clId="{15464559-230C-484E-9C98-D7B9D3FDBA96}" dt="2024-01-11T13:03:26.640" v="1245" actId="1035"/>
          <ac:spMkLst>
            <pc:docMk/>
            <pc:sldMk cId="1829617626" sldId="2147479538"/>
            <ac:spMk id="21" creationId="{FD1FD675-1DE2-541C-410F-44C6EF408B5D}"/>
          </ac:spMkLst>
        </pc:spChg>
        <pc:spChg chg="mod">
          <ac:chgData name="Yousuf, Arsalan" userId="1f742cd1-60f2-4cc5-8102-e09412e517e3" providerId="ADAL" clId="{15464559-230C-484E-9C98-D7B9D3FDBA96}" dt="2024-01-11T13:03:26.640" v="1245" actId="1035"/>
          <ac:spMkLst>
            <pc:docMk/>
            <pc:sldMk cId="1829617626" sldId="2147479538"/>
            <ac:spMk id="24" creationId="{FF27EEE5-B0CA-5595-3E1C-93965B9BC159}"/>
          </ac:spMkLst>
        </pc:spChg>
        <pc:spChg chg="mod">
          <ac:chgData name="Yousuf, Arsalan" userId="1f742cd1-60f2-4cc5-8102-e09412e517e3" providerId="ADAL" clId="{15464559-230C-484E-9C98-D7B9D3FDBA96}" dt="2024-01-11T13:03:26.640" v="1245" actId="1035"/>
          <ac:spMkLst>
            <pc:docMk/>
            <pc:sldMk cId="1829617626" sldId="2147479538"/>
            <ac:spMk id="25" creationId="{78A0A12E-A04C-B253-86D1-CF20890C9CC3}"/>
          </ac:spMkLst>
        </pc:spChg>
        <pc:spChg chg="add del mod">
          <ac:chgData name="Yousuf, Arsalan" userId="1f742cd1-60f2-4cc5-8102-e09412e517e3" providerId="ADAL" clId="{15464559-230C-484E-9C98-D7B9D3FDBA96}" dt="2024-01-11T13:04:15.738" v="1330" actId="14100"/>
          <ac:spMkLst>
            <pc:docMk/>
            <pc:sldMk cId="1829617626" sldId="2147479538"/>
            <ac:spMk id="26" creationId="{C2068367-BCE8-8DDE-2422-4A252A8040AB}"/>
          </ac:spMkLst>
        </pc:spChg>
        <pc:spChg chg="mod">
          <ac:chgData name="Yousuf, Arsalan" userId="1f742cd1-60f2-4cc5-8102-e09412e517e3" providerId="ADAL" clId="{15464559-230C-484E-9C98-D7B9D3FDBA96}" dt="2024-01-11T13:03:26.640" v="1245" actId="1035"/>
          <ac:spMkLst>
            <pc:docMk/>
            <pc:sldMk cId="1829617626" sldId="2147479538"/>
            <ac:spMk id="27" creationId="{DE633223-F5A4-ACAE-0D17-9510B62F55D6}"/>
          </ac:spMkLst>
        </pc:spChg>
        <pc:spChg chg="mod">
          <ac:chgData name="Yousuf, Arsalan" userId="1f742cd1-60f2-4cc5-8102-e09412e517e3" providerId="ADAL" clId="{15464559-230C-484E-9C98-D7B9D3FDBA96}" dt="2024-01-11T13:03:26.640" v="1245" actId="1035"/>
          <ac:spMkLst>
            <pc:docMk/>
            <pc:sldMk cId="1829617626" sldId="2147479538"/>
            <ac:spMk id="28" creationId="{97581ED9-5751-996F-ED15-AF11F96779D1}"/>
          </ac:spMkLst>
        </pc:spChg>
        <pc:spChg chg="mod">
          <ac:chgData name="Yousuf, Arsalan" userId="1f742cd1-60f2-4cc5-8102-e09412e517e3" providerId="ADAL" clId="{15464559-230C-484E-9C98-D7B9D3FDBA96}" dt="2024-01-11T13:03:26.640" v="1245" actId="1035"/>
          <ac:spMkLst>
            <pc:docMk/>
            <pc:sldMk cId="1829617626" sldId="2147479538"/>
            <ac:spMk id="31" creationId="{52EA3384-70D3-6515-2D84-DD3F41CAA7CE}"/>
          </ac:spMkLst>
        </pc:spChg>
        <pc:spChg chg="mod">
          <ac:chgData name="Yousuf, Arsalan" userId="1f742cd1-60f2-4cc5-8102-e09412e517e3" providerId="ADAL" clId="{15464559-230C-484E-9C98-D7B9D3FDBA96}" dt="2024-01-11T13:03:26.640" v="1245" actId="1035"/>
          <ac:spMkLst>
            <pc:docMk/>
            <pc:sldMk cId="1829617626" sldId="2147479538"/>
            <ac:spMk id="32" creationId="{E1D288AE-624B-0C74-B79A-7F8DF807AD94}"/>
          </ac:spMkLst>
        </pc:spChg>
        <pc:spChg chg="mod">
          <ac:chgData name="Yousuf, Arsalan" userId="1f742cd1-60f2-4cc5-8102-e09412e517e3" providerId="ADAL" clId="{15464559-230C-484E-9C98-D7B9D3FDBA96}" dt="2024-01-11T13:03:26.640" v="1245" actId="1035"/>
          <ac:spMkLst>
            <pc:docMk/>
            <pc:sldMk cId="1829617626" sldId="2147479538"/>
            <ac:spMk id="33" creationId="{65EF1FE5-7A07-E59C-C19F-2B749D14A590}"/>
          </ac:spMkLst>
        </pc:spChg>
        <pc:spChg chg="mod">
          <ac:chgData name="Yousuf, Arsalan" userId="1f742cd1-60f2-4cc5-8102-e09412e517e3" providerId="ADAL" clId="{15464559-230C-484E-9C98-D7B9D3FDBA96}" dt="2024-01-11T13:03:26.640" v="1245" actId="1035"/>
          <ac:spMkLst>
            <pc:docMk/>
            <pc:sldMk cId="1829617626" sldId="2147479538"/>
            <ac:spMk id="34" creationId="{B85271F9-8624-EF99-29F9-0B767AAD7A68}"/>
          </ac:spMkLst>
        </pc:spChg>
        <pc:spChg chg="mod">
          <ac:chgData name="Yousuf, Arsalan" userId="1f742cd1-60f2-4cc5-8102-e09412e517e3" providerId="ADAL" clId="{15464559-230C-484E-9C98-D7B9D3FDBA96}" dt="2024-01-11T13:03:26.640" v="1245" actId="1035"/>
          <ac:spMkLst>
            <pc:docMk/>
            <pc:sldMk cId="1829617626" sldId="2147479538"/>
            <ac:spMk id="35" creationId="{6E808A2A-B3C1-241D-C081-288C646A8760}"/>
          </ac:spMkLst>
        </pc:spChg>
        <pc:spChg chg="mod">
          <ac:chgData name="Yousuf, Arsalan" userId="1f742cd1-60f2-4cc5-8102-e09412e517e3" providerId="ADAL" clId="{15464559-230C-484E-9C98-D7B9D3FDBA96}" dt="2024-01-11T13:03:26.640" v="1245" actId="1035"/>
          <ac:spMkLst>
            <pc:docMk/>
            <pc:sldMk cId="1829617626" sldId="2147479538"/>
            <ac:spMk id="37" creationId="{DB5B6693-FC20-1C8B-9D92-5437C604ECA7}"/>
          </ac:spMkLst>
        </pc:spChg>
        <pc:spChg chg="mod">
          <ac:chgData name="Yousuf, Arsalan" userId="1f742cd1-60f2-4cc5-8102-e09412e517e3" providerId="ADAL" clId="{15464559-230C-484E-9C98-D7B9D3FDBA96}" dt="2024-01-11T13:03:26.640" v="1245" actId="1035"/>
          <ac:spMkLst>
            <pc:docMk/>
            <pc:sldMk cId="1829617626" sldId="2147479538"/>
            <ac:spMk id="43" creationId="{8B1B7700-9168-EA8D-6DA6-5D213009C03E}"/>
          </ac:spMkLst>
        </pc:spChg>
        <pc:spChg chg="mod">
          <ac:chgData name="Yousuf, Arsalan" userId="1f742cd1-60f2-4cc5-8102-e09412e517e3" providerId="ADAL" clId="{15464559-230C-484E-9C98-D7B9D3FDBA96}" dt="2024-01-11T13:03:26.640" v="1245" actId="1035"/>
          <ac:spMkLst>
            <pc:docMk/>
            <pc:sldMk cId="1829617626" sldId="2147479538"/>
            <ac:spMk id="44" creationId="{4E5FDAD2-CD54-FE6C-006F-C74FEC683577}"/>
          </ac:spMkLst>
        </pc:spChg>
        <pc:spChg chg="mod">
          <ac:chgData name="Yousuf, Arsalan" userId="1f742cd1-60f2-4cc5-8102-e09412e517e3" providerId="ADAL" clId="{15464559-230C-484E-9C98-D7B9D3FDBA96}" dt="2024-01-11T13:03:26.640" v="1245" actId="1035"/>
          <ac:spMkLst>
            <pc:docMk/>
            <pc:sldMk cId="1829617626" sldId="2147479538"/>
            <ac:spMk id="45" creationId="{A054CECB-7C0E-CD34-559C-FAC35CC78618}"/>
          </ac:spMkLst>
        </pc:spChg>
        <pc:spChg chg="mod">
          <ac:chgData name="Yousuf, Arsalan" userId="1f742cd1-60f2-4cc5-8102-e09412e517e3" providerId="ADAL" clId="{15464559-230C-484E-9C98-D7B9D3FDBA96}" dt="2024-01-11T13:03:26.640" v="1245" actId="1035"/>
          <ac:spMkLst>
            <pc:docMk/>
            <pc:sldMk cId="1829617626" sldId="2147479538"/>
            <ac:spMk id="50" creationId="{8EB72E78-F1EB-EA03-4172-5A214C9C2D65}"/>
          </ac:spMkLst>
        </pc:spChg>
        <pc:spChg chg="mod">
          <ac:chgData name="Yousuf, Arsalan" userId="1f742cd1-60f2-4cc5-8102-e09412e517e3" providerId="ADAL" clId="{15464559-230C-484E-9C98-D7B9D3FDBA96}" dt="2024-01-11T13:03:26.640" v="1245" actId="1035"/>
          <ac:spMkLst>
            <pc:docMk/>
            <pc:sldMk cId="1829617626" sldId="2147479538"/>
            <ac:spMk id="52" creationId="{3398A2E3-8B53-0ED8-E0C0-4B86BB283CE6}"/>
          </ac:spMkLst>
        </pc:spChg>
        <pc:spChg chg="mod">
          <ac:chgData name="Yousuf, Arsalan" userId="1f742cd1-60f2-4cc5-8102-e09412e517e3" providerId="ADAL" clId="{15464559-230C-484E-9C98-D7B9D3FDBA96}" dt="2024-01-11T13:04:14.731" v="1328" actId="20577"/>
          <ac:spMkLst>
            <pc:docMk/>
            <pc:sldMk cId="1829617626" sldId="2147479538"/>
            <ac:spMk id="53" creationId="{558652FA-4BA7-3F22-26A5-9F3DA8C2F5FE}"/>
          </ac:spMkLst>
        </pc:spChg>
        <pc:spChg chg="mod">
          <ac:chgData name="Yousuf, Arsalan" userId="1f742cd1-60f2-4cc5-8102-e09412e517e3" providerId="ADAL" clId="{15464559-230C-484E-9C98-D7B9D3FDBA96}" dt="2024-01-11T13:03:26.640" v="1245" actId="1035"/>
          <ac:spMkLst>
            <pc:docMk/>
            <pc:sldMk cId="1829617626" sldId="2147479538"/>
            <ac:spMk id="55" creationId="{97A22D15-02A8-F643-8C9F-B81DFE8D57BD}"/>
          </ac:spMkLst>
        </pc:spChg>
        <pc:spChg chg="del">
          <ac:chgData name="Yousuf, Arsalan" userId="1f742cd1-60f2-4cc5-8102-e09412e517e3" providerId="ADAL" clId="{15464559-230C-484E-9C98-D7B9D3FDBA96}" dt="2024-01-11T13:02:58.112" v="1196" actId="478"/>
          <ac:spMkLst>
            <pc:docMk/>
            <pc:sldMk cId="1829617626" sldId="2147479538"/>
            <ac:spMk id="58" creationId="{0C761308-32A0-1B60-B2F4-0CA4BD414F95}"/>
          </ac:spMkLst>
        </pc:spChg>
        <pc:spChg chg="add del mod">
          <ac:chgData name="Yousuf, Arsalan" userId="1f742cd1-60f2-4cc5-8102-e09412e517e3" providerId="ADAL" clId="{15464559-230C-484E-9C98-D7B9D3FDBA96}" dt="2024-01-11T12:57:53.309" v="1182" actId="2711"/>
          <ac:spMkLst>
            <pc:docMk/>
            <pc:sldMk cId="1829617626" sldId="2147479538"/>
            <ac:spMk id="76" creationId="{11F95CE4-70DC-4FF6-9740-A5C6EC6923E7}"/>
          </ac:spMkLst>
        </pc:spChg>
        <pc:grpChg chg="add del mod">
          <ac:chgData name="Yousuf, Arsalan" userId="1f742cd1-60f2-4cc5-8102-e09412e517e3" providerId="ADAL" clId="{15464559-230C-484E-9C98-D7B9D3FDBA96}" dt="2024-01-11T13:03:58.943" v="1306" actId="478"/>
          <ac:grpSpMkLst>
            <pc:docMk/>
            <pc:sldMk cId="1829617626" sldId="2147479538"/>
            <ac:grpSpMk id="3" creationId="{D85C541C-B788-31A6-B6C9-1E17B52060EE}"/>
          </ac:grpSpMkLst>
        </pc:grpChg>
        <pc:grpChg chg="mod">
          <ac:chgData name="Yousuf, Arsalan" userId="1f742cd1-60f2-4cc5-8102-e09412e517e3" providerId="ADAL" clId="{15464559-230C-484E-9C98-D7B9D3FDBA96}" dt="2024-01-11T13:03:26.640" v="1245" actId="1035"/>
          <ac:grpSpMkLst>
            <pc:docMk/>
            <pc:sldMk cId="1829617626" sldId="2147479538"/>
            <ac:grpSpMk id="42" creationId="{A013A0AB-6A71-8B01-B115-F09F422BCB08}"/>
          </ac:grpSpMkLst>
        </pc:grpChg>
        <pc:picChg chg="mod">
          <ac:chgData name="Yousuf, Arsalan" userId="1f742cd1-60f2-4cc5-8102-e09412e517e3" providerId="ADAL" clId="{15464559-230C-484E-9C98-D7B9D3FDBA96}" dt="2024-01-11T13:03:26.640" v="1245" actId="1035"/>
          <ac:picMkLst>
            <pc:docMk/>
            <pc:sldMk cId="1829617626" sldId="2147479538"/>
            <ac:picMk id="7" creationId="{F3F70DC1-F1C4-BD82-DB62-2AFD267111F0}"/>
          </ac:picMkLst>
        </pc:picChg>
        <pc:picChg chg="mod">
          <ac:chgData name="Yousuf, Arsalan" userId="1f742cd1-60f2-4cc5-8102-e09412e517e3" providerId="ADAL" clId="{15464559-230C-484E-9C98-D7B9D3FDBA96}" dt="2024-01-11T13:03:26.640" v="1245" actId="1035"/>
          <ac:picMkLst>
            <pc:docMk/>
            <pc:sldMk cId="1829617626" sldId="2147479538"/>
            <ac:picMk id="9" creationId="{37D44430-94D0-2A70-A0A5-3DD5B57B50B3}"/>
          </ac:picMkLst>
        </pc:picChg>
        <pc:picChg chg="mod">
          <ac:chgData name="Yousuf, Arsalan" userId="1f742cd1-60f2-4cc5-8102-e09412e517e3" providerId="ADAL" clId="{15464559-230C-484E-9C98-D7B9D3FDBA96}" dt="2024-01-11T13:03:26.640" v="1245" actId="1035"/>
          <ac:picMkLst>
            <pc:docMk/>
            <pc:sldMk cId="1829617626" sldId="2147479538"/>
            <ac:picMk id="11" creationId="{60EB5D9C-A6BD-ECC0-3B93-B67E086BAF41}"/>
          </ac:picMkLst>
        </pc:picChg>
        <pc:picChg chg="mod">
          <ac:chgData name="Yousuf, Arsalan" userId="1f742cd1-60f2-4cc5-8102-e09412e517e3" providerId="ADAL" clId="{15464559-230C-484E-9C98-D7B9D3FDBA96}" dt="2024-01-11T13:03:26.640" v="1245" actId="1035"/>
          <ac:picMkLst>
            <pc:docMk/>
            <pc:sldMk cId="1829617626" sldId="2147479538"/>
            <ac:picMk id="13" creationId="{FCD969CB-90BF-C243-1885-E701A24B0F9B}"/>
          </ac:picMkLst>
        </pc:picChg>
        <pc:picChg chg="mod">
          <ac:chgData name="Yousuf, Arsalan" userId="1f742cd1-60f2-4cc5-8102-e09412e517e3" providerId="ADAL" clId="{15464559-230C-484E-9C98-D7B9D3FDBA96}" dt="2024-01-11T13:03:26.640" v="1245" actId="1035"/>
          <ac:picMkLst>
            <pc:docMk/>
            <pc:sldMk cId="1829617626" sldId="2147479538"/>
            <ac:picMk id="17" creationId="{876345F4-5285-D583-DD03-D658AA326BED}"/>
          </ac:picMkLst>
        </pc:picChg>
        <pc:picChg chg="mod">
          <ac:chgData name="Yousuf, Arsalan" userId="1f742cd1-60f2-4cc5-8102-e09412e517e3" providerId="ADAL" clId="{15464559-230C-484E-9C98-D7B9D3FDBA96}" dt="2024-01-11T13:03:26.640" v="1245" actId="1035"/>
          <ac:picMkLst>
            <pc:docMk/>
            <pc:sldMk cId="1829617626" sldId="2147479538"/>
            <ac:picMk id="20" creationId="{6D46738C-1882-0A4B-02B7-F2A319343D73}"/>
          </ac:picMkLst>
        </pc:picChg>
        <pc:picChg chg="mod">
          <ac:chgData name="Yousuf, Arsalan" userId="1f742cd1-60f2-4cc5-8102-e09412e517e3" providerId="ADAL" clId="{15464559-230C-484E-9C98-D7B9D3FDBA96}" dt="2024-01-11T13:03:26.640" v="1245" actId="1035"/>
          <ac:picMkLst>
            <pc:docMk/>
            <pc:sldMk cId="1829617626" sldId="2147479538"/>
            <ac:picMk id="22" creationId="{42C4DD10-4B6E-CB80-7AAA-511840ACD613}"/>
          </ac:picMkLst>
        </pc:picChg>
        <pc:picChg chg="mod">
          <ac:chgData name="Yousuf, Arsalan" userId="1f742cd1-60f2-4cc5-8102-e09412e517e3" providerId="ADAL" clId="{15464559-230C-484E-9C98-D7B9D3FDBA96}" dt="2024-01-11T13:03:26.640" v="1245" actId="1035"/>
          <ac:picMkLst>
            <pc:docMk/>
            <pc:sldMk cId="1829617626" sldId="2147479538"/>
            <ac:picMk id="23" creationId="{249DDD90-3C74-B586-2E1B-AD32D20BE07C}"/>
          </ac:picMkLst>
        </pc:picChg>
        <pc:picChg chg="mod">
          <ac:chgData name="Yousuf, Arsalan" userId="1f742cd1-60f2-4cc5-8102-e09412e517e3" providerId="ADAL" clId="{15464559-230C-484E-9C98-D7B9D3FDBA96}" dt="2024-01-11T13:03:26.640" v="1245" actId="1035"/>
          <ac:picMkLst>
            <pc:docMk/>
            <pc:sldMk cId="1829617626" sldId="2147479538"/>
            <ac:picMk id="36" creationId="{5C21C5D9-E526-3C9C-69B7-8A1CB7111D14}"/>
          </ac:picMkLst>
        </pc:picChg>
        <pc:picChg chg="mod">
          <ac:chgData name="Yousuf, Arsalan" userId="1f742cd1-60f2-4cc5-8102-e09412e517e3" providerId="ADAL" clId="{15464559-230C-484E-9C98-D7B9D3FDBA96}" dt="2024-01-11T13:03:26.640" v="1245" actId="1035"/>
          <ac:picMkLst>
            <pc:docMk/>
            <pc:sldMk cId="1829617626" sldId="2147479538"/>
            <ac:picMk id="39" creationId="{BF853536-FD13-CCC7-C649-31F37643FA64}"/>
          </ac:picMkLst>
        </pc:picChg>
        <pc:picChg chg="mod">
          <ac:chgData name="Yousuf, Arsalan" userId="1f742cd1-60f2-4cc5-8102-e09412e517e3" providerId="ADAL" clId="{15464559-230C-484E-9C98-D7B9D3FDBA96}" dt="2024-01-11T13:03:26.640" v="1245" actId="1035"/>
          <ac:picMkLst>
            <pc:docMk/>
            <pc:sldMk cId="1829617626" sldId="2147479538"/>
            <ac:picMk id="46" creationId="{E944690D-133B-BB06-D164-77B624B3A6AF}"/>
          </ac:picMkLst>
        </pc:picChg>
        <pc:picChg chg="mod">
          <ac:chgData name="Yousuf, Arsalan" userId="1f742cd1-60f2-4cc5-8102-e09412e517e3" providerId="ADAL" clId="{15464559-230C-484E-9C98-D7B9D3FDBA96}" dt="2024-01-11T13:03:26.640" v="1245" actId="1035"/>
          <ac:picMkLst>
            <pc:docMk/>
            <pc:sldMk cId="1829617626" sldId="2147479538"/>
            <ac:picMk id="47" creationId="{2792A6B4-A317-9A55-7A6D-AD948A9801C2}"/>
          </ac:picMkLst>
        </pc:picChg>
        <pc:picChg chg="mod">
          <ac:chgData name="Yousuf, Arsalan" userId="1f742cd1-60f2-4cc5-8102-e09412e517e3" providerId="ADAL" clId="{15464559-230C-484E-9C98-D7B9D3FDBA96}" dt="2024-01-11T13:03:26.640" v="1245" actId="1035"/>
          <ac:picMkLst>
            <pc:docMk/>
            <pc:sldMk cId="1829617626" sldId="2147479538"/>
            <ac:picMk id="48" creationId="{5114662B-B409-C819-1FCF-701B9BA8550D}"/>
          </ac:picMkLst>
        </pc:picChg>
        <pc:picChg chg="mod">
          <ac:chgData name="Yousuf, Arsalan" userId="1f742cd1-60f2-4cc5-8102-e09412e517e3" providerId="ADAL" clId="{15464559-230C-484E-9C98-D7B9D3FDBA96}" dt="2024-01-11T13:03:26.640" v="1245" actId="1035"/>
          <ac:picMkLst>
            <pc:docMk/>
            <pc:sldMk cId="1829617626" sldId="2147479538"/>
            <ac:picMk id="49" creationId="{22D34CEA-A938-678C-6725-7DBBA8D840C6}"/>
          </ac:picMkLst>
        </pc:picChg>
        <pc:picChg chg="mod">
          <ac:chgData name="Yousuf, Arsalan" userId="1f742cd1-60f2-4cc5-8102-e09412e517e3" providerId="ADAL" clId="{15464559-230C-484E-9C98-D7B9D3FDBA96}" dt="2024-01-11T13:03:26.640" v="1245" actId="1035"/>
          <ac:picMkLst>
            <pc:docMk/>
            <pc:sldMk cId="1829617626" sldId="2147479538"/>
            <ac:picMk id="51" creationId="{2B87B5F5-EB89-67D2-24DB-2EFB0E5C4CD4}"/>
          </ac:picMkLst>
        </pc:picChg>
        <pc:cxnChg chg="mod">
          <ac:chgData name="Yousuf, Arsalan" userId="1f742cd1-60f2-4cc5-8102-e09412e517e3" providerId="ADAL" clId="{15464559-230C-484E-9C98-D7B9D3FDBA96}" dt="2024-01-11T13:03:26.640" v="1245" actId="1035"/>
          <ac:cxnSpMkLst>
            <pc:docMk/>
            <pc:sldMk cId="1829617626" sldId="2147479538"/>
            <ac:cxnSpMk id="29" creationId="{4BE394D4-559D-148C-46FB-4D77CCF9499C}"/>
          </ac:cxnSpMkLst>
        </pc:cxnChg>
        <pc:cxnChg chg="mod">
          <ac:chgData name="Yousuf, Arsalan" userId="1f742cd1-60f2-4cc5-8102-e09412e517e3" providerId="ADAL" clId="{15464559-230C-484E-9C98-D7B9D3FDBA96}" dt="2024-01-11T13:03:26.640" v="1245" actId="1035"/>
          <ac:cxnSpMkLst>
            <pc:docMk/>
            <pc:sldMk cId="1829617626" sldId="2147479538"/>
            <ac:cxnSpMk id="30" creationId="{48D2D470-F156-5659-0F12-1B5595060958}"/>
          </ac:cxnSpMkLst>
        </pc:cxnChg>
        <pc:cxnChg chg="mod">
          <ac:chgData name="Yousuf, Arsalan" userId="1f742cd1-60f2-4cc5-8102-e09412e517e3" providerId="ADAL" clId="{15464559-230C-484E-9C98-D7B9D3FDBA96}" dt="2024-01-11T13:03:26.640" v="1245" actId="1035"/>
          <ac:cxnSpMkLst>
            <pc:docMk/>
            <pc:sldMk cId="1829617626" sldId="2147479538"/>
            <ac:cxnSpMk id="38" creationId="{E0E4665E-407E-FE23-68B7-0D07FC4D8251}"/>
          </ac:cxnSpMkLst>
        </pc:cxnChg>
        <pc:cxnChg chg="mod">
          <ac:chgData name="Yousuf, Arsalan" userId="1f742cd1-60f2-4cc5-8102-e09412e517e3" providerId="ADAL" clId="{15464559-230C-484E-9C98-D7B9D3FDBA96}" dt="2024-01-11T13:03:26.640" v="1245" actId="1035"/>
          <ac:cxnSpMkLst>
            <pc:docMk/>
            <pc:sldMk cId="1829617626" sldId="2147479538"/>
            <ac:cxnSpMk id="40" creationId="{43300125-731A-666D-DF81-F1C3227C3BFD}"/>
          </ac:cxnSpMkLst>
        </pc:cxnChg>
        <pc:cxnChg chg="mod">
          <ac:chgData name="Yousuf, Arsalan" userId="1f742cd1-60f2-4cc5-8102-e09412e517e3" providerId="ADAL" clId="{15464559-230C-484E-9C98-D7B9D3FDBA96}" dt="2024-01-11T13:03:26.640" v="1245" actId="1035"/>
          <ac:cxnSpMkLst>
            <pc:docMk/>
            <pc:sldMk cId="1829617626" sldId="2147479538"/>
            <ac:cxnSpMk id="41" creationId="{D31AFA95-87DB-7303-0495-FF9D7E241DA4}"/>
          </ac:cxnSpMkLst>
        </pc:cxnChg>
        <pc:cxnChg chg="mod">
          <ac:chgData name="Yousuf, Arsalan" userId="1f742cd1-60f2-4cc5-8102-e09412e517e3" providerId="ADAL" clId="{15464559-230C-484E-9C98-D7B9D3FDBA96}" dt="2024-01-11T13:03:26.640" v="1245" actId="1035"/>
          <ac:cxnSpMkLst>
            <pc:docMk/>
            <pc:sldMk cId="1829617626" sldId="2147479538"/>
            <ac:cxnSpMk id="56" creationId="{F0B6E12A-0F94-27DC-FEA2-F1128DD38AE6}"/>
          </ac:cxnSpMkLst>
        </pc:cxnChg>
        <pc:cxnChg chg="mod">
          <ac:chgData name="Yousuf, Arsalan" userId="1f742cd1-60f2-4cc5-8102-e09412e517e3" providerId="ADAL" clId="{15464559-230C-484E-9C98-D7B9D3FDBA96}" dt="2024-01-11T13:03:26.640" v="1245" actId="1035"/>
          <ac:cxnSpMkLst>
            <pc:docMk/>
            <pc:sldMk cId="1829617626" sldId="2147479538"/>
            <ac:cxnSpMk id="57" creationId="{2BB885C6-7C44-BCBE-517A-D60B3EE8CA40}"/>
          </ac:cxnSpMkLst>
        </pc:cxnChg>
      </pc:sldChg>
      <pc:sldChg chg="addSp delSp modSp mod">
        <pc:chgData name="Yousuf, Arsalan" userId="1f742cd1-60f2-4cc5-8102-e09412e517e3" providerId="ADAL" clId="{15464559-230C-484E-9C98-D7B9D3FDBA96}" dt="2024-01-11T13:06:11.566" v="1336"/>
        <pc:sldMkLst>
          <pc:docMk/>
          <pc:sldMk cId="3632895860" sldId="2147479539"/>
        </pc:sldMkLst>
        <pc:spChg chg="add del mod">
          <ac:chgData name="Yousuf, Arsalan" userId="1f742cd1-60f2-4cc5-8102-e09412e517e3" providerId="ADAL" clId="{15464559-230C-484E-9C98-D7B9D3FDBA96}" dt="2024-01-11T13:06:11.566" v="1336"/>
          <ac:spMkLst>
            <pc:docMk/>
            <pc:sldMk cId="3632895860" sldId="2147479539"/>
            <ac:spMk id="48" creationId="{BB9961BD-55CB-CB73-3CF7-AE60DF435CC3}"/>
          </ac:spMkLst>
        </pc:spChg>
        <pc:spChg chg="del">
          <ac:chgData name="Yousuf, Arsalan" userId="1f742cd1-60f2-4cc5-8102-e09412e517e3" providerId="ADAL" clId="{15464559-230C-484E-9C98-D7B9D3FDBA96}" dt="2024-01-11T11:14:33.526" v="732" actId="478"/>
          <ac:spMkLst>
            <pc:docMk/>
            <pc:sldMk cId="3632895860" sldId="2147479539"/>
            <ac:spMk id="49" creationId="{AFD86A78-7FA0-9800-8759-DF69EBF1EAAD}"/>
          </ac:spMkLst>
        </pc:spChg>
        <pc:spChg chg="add del mod">
          <ac:chgData name="Yousuf, Arsalan" userId="1f742cd1-60f2-4cc5-8102-e09412e517e3" providerId="ADAL" clId="{15464559-230C-484E-9C98-D7B9D3FDBA96}" dt="2024-01-11T11:14:52.638" v="735"/>
          <ac:spMkLst>
            <pc:docMk/>
            <pc:sldMk cId="3632895860" sldId="2147479539"/>
            <ac:spMk id="50" creationId="{ABB7E6E1-3FBE-6550-A79F-D764CE8076DD}"/>
          </ac:spMkLst>
        </pc:spChg>
        <pc:spChg chg="mod">
          <ac:chgData name="Yousuf, Arsalan" userId="1f742cd1-60f2-4cc5-8102-e09412e517e3" providerId="ADAL" clId="{15464559-230C-484E-9C98-D7B9D3FDBA96}" dt="2024-01-11T11:14:30.075" v="731" actId="2711"/>
          <ac:spMkLst>
            <pc:docMk/>
            <pc:sldMk cId="3632895860" sldId="2147479539"/>
            <ac:spMk id="75" creationId="{0B00487E-9A8E-46E0-B60F-BB884C23310C}"/>
          </ac:spMkLst>
        </pc:spChg>
        <pc:spChg chg="mod">
          <ac:chgData name="Yousuf, Arsalan" userId="1f742cd1-60f2-4cc5-8102-e09412e517e3" providerId="ADAL" clId="{15464559-230C-484E-9C98-D7B9D3FDBA96}" dt="2024-01-11T11:14:30.075" v="731" actId="2711"/>
          <ac:spMkLst>
            <pc:docMk/>
            <pc:sldMk cId="3632895860" sldId="2147479539"/>
            <ac:spMk id="76" creationId="{11F95CE4-70DC-4FF6-9740-A5C6EC6923E7}"/>
          </ac:spMkLst>
        </pc:spChg>
        <pc:grpChg chg="add del">
          <ac:chgData name="Yousuf, Arsalan" userId="1f742cd1-60f2-4cc5-8102-e09412e517e3" providerId="ADAL" clId="{15464559-230C-484E-9C98-D7B9D3FDBA96}" dt="2024-01-11T11:15:23.701" v="744" actId="478"/>
          <ac:grpSpMkLst>
            <pc:docMk/>
            <pc:sldMk cId="3632895860" sldId="2147479539"/>
            <ac:grpSpMk id="2" creationId="{CF115527-6447-13E4-E1CD-E98DC1240D1E}"/>
          </ac:grpSpMkLst>
        </pc:grpChg>
        <pc:grpChg chg="add mod">
          <ac:chgData name="Yousuf, Arsalan" userId="1f742cd1-60f2-4cc5-8102-e09412e517e3" providerId="ADAL" clId="{15464559-230C-484E-9C98-D7B9D3FDBA96}" dt="2024-01-11T11:15:25.585" v="758" actId="1038"/>
          <ac:grpSpMkLst>
            <pc:docMk/>
            <pc:sldMk cId="3632895860" sldId="2147479539"/>
            <ac:grpSpMk id="88" creationId="{C331B404-CDCA-5482-FC28-B641E33D5BA6}"/>
          </ac:grpSpMkLst>
        </pc:grpChg>
        <pc:graphicFrameChg chg="add del mod">
          <ac:chgData name="Yousuf, Arsalan" userId="1f742cd1-60f2-4cc5-8102-e09412e517e3" providerId="ADAL" clId="{15464559-230C-484E-9C98-D7B9D3FDBA96}" dt="2024-01-11T11:15:25.585" v="758" actId="1038"/>
          <ac:graphicFrameMkLst>
            <pc:docMk/>
            <pc:sldMk cId="3632895860" sldId="2147479539"/>
            <ac:graphicFrameMk id="78" creationId="{C5E7D498-BFB8-6250-4397-9E3C3F2AC6BD}"/>
          </ac:graphicFrameMkLst>
        </pc:graphicFrameChg>
        <pc:picChg chg="add del mod">
          <ac:chgData name="Yousuf, Arsalan" userId="1f742cd1-60f2-4cc5-8102-e09412e517e3" providerId="ADAL" clId="{15464559-230C-484E-9C98-D7B9D3FDBA96}" dt="2024-01-11T11:15:25.585" v="758" actId="1038"/>
          <ac:picMkLst>
            <pc:docMk/>
            <pc:sldMk cId="3632895860" sldId="2147479539"/>
            <ac:picMk id="51" creationId="{B42DE202-605F-8646-8FD4-F6057FCD9FB2}"/>
          </ac:picMkLst>
        </pc:picChg>
        <pc:picChg chg="add del mod">
          <ac:chgData name="Yousuf, Arsalan" userId="1f742cd1-60f2-4cc5-8102-e09412e517e3" providerId="ADAL" clId="{15464559-230C-484E-9C98-D7B9D3FDBA96}" dt="2024-01-11T11:15:25.585" v="758" actId="1038"/>
          <ac:picMkLst>
            <pc:docMk/>
            <pc:sldMk cId="3632895860" sldId="2147479539"/>
            <ac:picMk id="52" creationId="{C63D9AE8-6779-E743-CBA7-F60489DF6EA6}"/>
          </ac:picMkLst>
        </pc:picChg>
        <pc:picChg chg="add del mod">
          <ac:chgData name="Yousuf, Arsalan" userId="1f742cd1-60f2-4cc5-8102-e09412e517e3" providerId="ADAL" clId="{15464559-230C-484E-9C98-D7B9D3FDBA96}" dt="2024-01-11T11:15:25.585" v="758" actId="1038"/>
          <ac:picMkLst>
            <pc:docMk/>
            <pc:sldMk cId="3632895860" sldId="2147479539"/>
            <ac:picMk id="53" creationId="{4A611BA0-194A-7206-9A47-5A7CDA7F3076}"/>
          </ac:picMkLst>
        </pc:picChg>
        <pc:picChg chg="add del mod">
          <ac:chgData name="Yousuf, Arsalan" userId="1f742cd1-60f2-4cc5-8102-e09412e517e3" providerId="ADAL" clId="{15464559-230C-484E-9C98-D7B9D3FDBA96}" dt="2024-01-11T11:15:25.585" v="758" actId="1038"/>
          <ac:picMkLst>
            <pc:docMk/>
            <pc:sldMk cId="3632895860" sldId="2147479539"/>
            <ac:picMk id="54" creationId="{7F1AD0BA-BB0B-89F7-53EE-CA7BCBC218A4}"/>
          </ac:picMkLst>
        </pc:picChg>
        <pc:picChg chg="add del mod">
          <ac:chgData name="Yousuf, Arsalan" userId="1f742cd1-60f2-4cc5-8102-e09412e517e3" providerId="ADAL" clId="{15464559-230C-484E-9C98-D7B9D3FDBA96}" dt="2024-01-11T11:15:25.585" v="758" actId="1038"/>
          <ac:picMkLst>
            <pc:docMk/>
            <pc:sldMk cId="3632895860" sldId="2147479539"/>
            <ac:picMk id="55" creationId="{CBE65F01-448C-9947-CE23-F7ACD5C0228C}"/>
          </ac:picMkLst>
        </pc:picChg>
        <pc:picChg chg="add del mod">
          <ac:chgData name="Yousuf, Arsalan" userId="1f742cd1-60f2-4cc5-8102-e09412e517e3" providerId="ADAL" clId="{15464559-230C-484E-9C98-D7B9D3FDBA96}" dt="2024-01-11T11:15:25.585" v="758" actId="1038"/>
          <ac:picMkLst>
            <pc:docMk/>
            <pc:sldMk cId="3632895860" sldId="2147479539"/>
            <ac:picMk id="56" creationId="{3DC785C3-9732-EF6D-78B9-41E088C229ED}"/>
          </ac:picMkLst>
        </pc:picChg>
        <pc:picChg chg="add del mod">
          <ac:chgData name="Yousuf, Arsalan" userId="1f742cd1-60f2-4cc5-8102-e09412e517e3" providerId="ADAL" clId="{15464559-230C-484E-9C98-D7B9D3FDBA96}" dt="2024-01-11T11:15:25.585" v="758" actId="1038"/>
          <ac:picMkLst>
            <pc:docMk/>
            <pc:sldMk cId="3632895860" sldId="2147479539"/>
            <ac:picMk id="57" creationId="{03BDA2AB-8974-6B18-3613-DE0A02499535}"/>
          </ac:picMkLst>
        </pc:picChg>
        <pc:picChg chg="add del mod">
          <ac:chgData name="Yousuf, Arsalan" userId="1f742cd1-60f2-4cc5-8102-e09412e517e3" providerId="ADAL" clId="{15464559-230C-484E-9C98-D7B9D3FDBA96}" dt="2024-01-11T11:15:25.585" v="758" actId="1038"/>
          <ac:picMkLst>
            <pc:docMk/>
            <pc:sldMk cId="3632895860" sldId="2147479539"/>
            <ac:picMk id="58" creationId="{366B8C32-0F3E-86A1-A1DB-B85C083BDEE6}"/>
          </ac:picMkLst>
        </pc:picChg>
        <pc:picChg chg="add del mod">
          <ac:chgData name="Yousuf, Arsalan" userId="1f742cd1-60f2-4cc5-8102-e09412e517e3" providerId="ADAL" clId="{15464559-230C-484E-9C98-D7B9D3FDBA96}" dt="2024-01-11T11:15:25.585" v="758" actId="1038"/>
          <ac:picMkLst>
            <pc:docMk/>
            <pc:sldMk cId="3632895860" sldId="2147479539"/>
            <ac:picMk id="59" creationId="{A59A7C48-7E67-1DDF-4AE9-85EDCB461CA4}"/>
          </ac:picMkLst>
        </pc:picChg>
        <pc:picChg chg="add del mod">
          <ac:chgData name="Yousuf, Arsalan" userId="1f742cd1-60f2-4cc5-8102-e09412e517e3" providerId="ADAL" clId="{15464559-230C-484E-9C98-D7B9D3FDBA96}" dt="2024-01-11T11:15:25.585" v="758" actId="1038"/>
          <ac:picMkLst>
            <pc:docMk/>
            <pc:sldMk cId="3632895860" sldId="2147479539"/>
            <ac:picMk id="60" creationId="{615F4612-A51E-4BA8-5851-AABCFEF6B728}"/>
          </ac:picMkLst>
        </pc:picChg>
        <pc:picChg chg="add del mod">
          <ac:chgData name="Yousuf, Arsalan" userId="1f742cd1-60f2-4cc5-8102-e09412e517e3" providerId="ADAL" clId="{15464559-230C-484E-9C98-D7B9D3FDBA96}" dt="2024-01-11T11:15:25.585" v="758" actId="1038"/>
          <ac:picMkLst>
            <pc:docMk/>
            <pc:sldMk cId="3632895860" sldId="2147479539"/>
            <ac:picMk id="61" creationId="{7F9E9284-D6C0-1858-9CDD-0517CBDE4F0D}"/>
          </ac:picMkLst>
        </pc:picChg>
        <pc:picChg chg="add del mod">
          <ac:chgData name="Yousuf, Arsalan" userId="1f742cd1-60f2-4cc5-8102-e09412e517e3" providerId="ADAL" clId="{15464559-230C-484E-9C98-D7B9D3FDBA96}" dt="2024-01-11T11:15:25.585" v="758" actId="1038"/>
          <ac:picMkLst>
            <pc:docMk/>
            <pc:sldMk cId="3632895860" sldId="2147479539"/>
            <ac:picMk id="62" creationId="{39E6FC7C-1DFA-5A6A-2FC2-5CA055045FD3}"/>
          </ac:picMkLst>
        </pc:picChg>
        <pc:picChg chg="add del mod">
          <ac:chgData name="Yousuf, Arsalan" userId="1f742cd1-60f2-4cc5-8102-e09412e517e3" providerId="ADAL" clId="{15464559-230C-484E-9C98-D7B9D3FDBA96}" dt="2024-01-11T11:15:25.585" v="758" actId="1038"/>
          <ac:picMkLst>
            <pc:docMk/>
            <pc:sldMk cId="3632895860" sldId="2147479539"/>
            <ac:picMk id="63" creationId="{F0B3EE13-C444-8137-709F-9A52B543CDFF}"/>
          </ac:picMkLst>
        </pc:picChg>
        <pc:picChg chg="add del mod">
          <ac:chgData name="Yousuf, Arsalan" userId="1f742cd1-60f2-4cc5-8102-e09412e517e3" providerId="ADAL" clId="{15464559-230C-484E-9C98-D7B9D3FDBA96}" dt="2024-01-11T11:15:25.585" v="758" actId="1038"/>
          <ac:picMkLst>
            <pc:docMk/>
            <pc:sldMk cId="3632895860" sldId="2147479539"/>
            <ac:picMk id="64" creationId="{C9F4F4E4-D2F9-FC3F-61F3-4CBB30312A32}"/>
          </ac:picMkLst>
        </pc:picChg>
        <pc:picChg chg="add del mod">
          <ac:chgData name="Yousuf, Arsalan" userId="1f742cd1-60f2-4cc5-8102-e09412e517e3" providerId="ADAL" clId="{15464559-230C-484E-9C98-D7B9D3FDBA96}" dt="2024-01-11T11:15:25.585" v="758" actId="1038"/>
          <ac:picMkLst>
            <pc:docMk/>
            <pc:sldMk cId="3632895860" sldId="2147479539"/>
            <ac:picMk id="65" creationId="{01C019EE-C447-8A85-70F0-73F4BA2BD0FA}"/>
          </ac:picMkLst>
        </pc:picChg>
        <pc:picChg chg="add del mod">
          <ac:chgData name="Yousuf, Arsalan" userId="1f742cd1-60f2-4cc5-8102-e09412e517e3" providerId="ADAL" clId="{15464559-230C-484E-9C98-D7B9D3FDBA96}" dt="2024-01-11T11:15:25.585" v="758" actId="1038"/>
          <ac:picMkLst>
            <pc:docMk/>
            <pc:sldMk cId="3632895860" sldId="2147479539"/>
            <ac:picMk id="66" creationId="{9C56CBF7-B6B2-429C-D0FF-1430DE11AF33}"/>
          </ac:picMkLst>
        </pc:picChg>
        <pc:picChg chg="add del mod">
          <ac:chgData name="Yousuf, Arsalan" userId="1f742cd1-60f2-4cc5-8102-e09412e517e3" providerId="ADAL" clId="{15464559-230C-484E-9C98-D7B9D3FDBA96}" dt="2024-01-11T11:15:25.585" v="758" actId="1038"/>
          <ac:picMkLst>
            <pc:docMk/>
            <pc:sldMk cId="3632895860" sldId="2147479539"/>
            <ac:picMk id="67" creationId="{457AFD4E-0F6E-93FD-DB52-A2FCE78514EB}"/>
          </ac:picMkLst>
        </pc:picChg>
        <pc:picChg chg="add del mod">
          <ac:chgData name="Yousuf, Arsalan" userId="1f742cd1-60f2-4cc5-8102-e09412e517e3" providerId="ADAL" clId="{15464559-230C-484E-9C98-D7B9D3FDBA96}" dt="2024-01-11T11:15:25.585" v="758" actId="1038"/>
          <ac:picMkLst>
            <pc:docMk/>
            <pc:sldMk cId="3632895860" sldId="2147479539"/>
            <ac:picMk id="68" creationId="{6FF325F6-8DAC-09D6-69B7-51F86D688B7E}"/>
          </ac:picMkLst>
        </pc:picChg>
        <pc:picChg chg="add del mod">
          <ac:chgData name="Yousuf, Arsalan" userId="1f742cd1-60f2-4cc5-8102-e09412e517e3" providerId="ADAL" clId="{15464559-230C-484E-9C98-D7B9D3FDBA96}" dt="2024-01-11T11:15:25.585" v="758" actId="1038"/>
          <ac:picMkLst>
            <pc:docMk/>
            <pc:sldMk cId="3632895860" sldId="2147479539"/>
            <ac:picMk id="69" creationId="{EE22D790-C5E6-AB0B-6957-A1D2CC3885E1}"/>
          </ac:picMkLst>
        </pc:picChg>
        <pc:picChg chg="add del mod">
          <ac:chgData name="Yousuf, Arsalan" userId="1f742cd1-60f2-4cc5-8102-e09412e517e3" providerId="ADAL" clId="{15464559-230C-484E-9C98-D7B9D3FDBA96}" dt="2024-01-11T11:15:25.585" v="758" actId="1038"/>
          <ac:picMkLst>
            <pc:docMk/>
            <pc:sldMk cId="3632895860" sldId="2147479539"/>
            <ac:picMk id="70" creationId="{E6034C74-DD10-8C95-598F-4306702B6E7E}"/>
          </ac:picMkLst>
        </pc:picChg>
        <pc:picChg chg="add del mod">
          <ac:chgData name="Yousuf, Arsalan" userId="1f742cd1-60f2-4cc5-8102-e09412e517e3" providerId="ADAL" clId="{15464559-230C-484E-9C98-D7B9D3FDBA96}" dt="2024-01-11T11:15:25.585" v="758" actId="1038"/>
          <ac:picMkLst>
            <pc:docMk/>
            <pc:sldMk cId="3632895860" sldId="2147479539"/>
            <ac:picMk id="71" creationId="{B32CA1AE-7FC2-3806-1607-2D47ABFE3999}"/>
          </ac:picMkLst>
        </pc:picChg>
        <pc:picChg chg="add del mod">
          <ac:chgData name="Yousuf, Arsalan" userId="1f742cd1-60f2-4cc5-8102-e09412e517e3" providerId="ADAL" clId="{15464559-230C-484E-9C98-D7B9D3FDBA96}" dt="2024-01-11T11:15:25.585" v="758" actId="1038"/>
          <ac:picMkLst>
            <pc:docMk/>
            <pc:sldMk cId="3632895860" sldId="2147479539"/>
            <ac:picMk id="72" creationId="{A1CB4FB9-972D-212D-D72D-CB79091CDE2F}"/>
          </ac:picMkLst>
        </pc:picChg>
        <pc:picChg chg="add del mod">
          <ac:chgData name="Yousuf, Arsalan" userId="1f742cd1-60f2-4cc5-8102-e09412e517e3" providerId="ADAL" clId="{15464559-230C-484E-9C98-D7B9D3FDBA96}" dt="2024-01-11T11:15:25.585" v="758" actId="1038"/>
          <ac:picMkLst>
            <pc:docMk/>
            <pc:sldMk cId="3632895860" sldId="2147479539"/>
            <ac:picMk id="73" creationId="{6C356D35-6508-5FB3-6BC4-43B0BEBEDD58}"/>
          </ac:picMkLst>
        </pc:picChg>
        <pc:picChg chg="add del mod">
          <ac:chgData name="Yousuf, Arsalan" userId="1f742cd1-60f2-4cc5-8102-e09412e517e3" providerId="ADAL" clId="{15464559-230C-484E-9C98-D7B9D3FDBA96}" dt="2024-01-11T11:15:25.585" v="758" actId="1038"/>
          <ac:picMkLst>
            <pc:docMk/>
            <pc:sldMk cId="3632895860" sldId="2147479539"/>
            <ac:picMk id="74" creationId="{814FCC9F-7C5E-CA06-EEFF-7004B7307273}"/>
          </ac:picMkLst>
        </pc:picChg>
        <pc:picChg chg="add del mod">
          <ac:chgData name="Yousuf, Arsalan" userId="1f742cd1-60f2-4cc5-8102-e09412e517e3" providerId="ADAL" clId="{15464559-230C-484E-9C98-D7B9D3FDBA96}" dt="2024-01-11T11:15:25.585" v="758" actId="1038"/>
          <ac:picMkLst>
            <pc:docMk/>
            <pc:sldMk cId="3632895860" sldId="2147479539"/>
            <ac:picMk id="77" creationId="{19AC7816-96ED-FDD8-04E6-C52FE81005F7}"/>
          </ac:picMkLst>
        </pc:picChg>
        <pc:picChg chg="add del mod">
          <ac:chgData name="Yousuf, Arsalan" userId="1f742cd1-60f2-4cc5-8102-e09412e517e3" providerId="ADAL" clId="{15464559-230C-484E-9C98-D7B9D3FDBA96}" dt="2024-01-11T11:15:25.585" v="758" actId="1038"/>
          <ac:picMkLst>
            <pc:docMk/>
            <pc:sldMk cId="3632895860" sldId="2147479539"/>
            <ac:picMk id="79" creationId="{A84E2251-39E4-F3FD-940D-C622AA2BFF71}"/>
          </ac:picMkLst>
        </pc:picChg>
        <pc:picChg chg="add del mod">
          <ac:chgData name="Yousuf, Arsalan" userId="1f742cd1-60f2-4cc5-8102-e09412e517e3" providerId="ADAL" clId="{15464559-230C-484E-9C98-D7B9D3FDBA96}" dt="2024-01-11T11:15:25.585" v="758" actId="1038"/>
          <ac:picMkLst>
            <pc:docMk/>
            <pc:sldMk cId="3632895860" sldId="2147479539"/>
            <ac:picMk id="80" creationId="{90672766-F2BE-71E5-38DB-6032775DA882}"/>
          </ac:picMkLst>
        </pc:picChg>
        <pc:picChg chg="add del mod">
          <ac:chgData name="Yousuf, Arsalan" userId="1f742cd1-60f2-4cc5-8102-e09412e517e3" providerId="ADAL" clId="{15464559-230C-484E-9C98-D7B9D3FDBA96}" dt="2024-01-11T11:15:25.585" v="758" actId="1038"/>
          <ac:picMkLst>
            <pc:docMk/>
            <pc:sldMk cId="3632895860" sldId="2147479539"/>
            <ac:picMk id="81" creationId="{6194C36D-222F-99A7-0A69-D97EB33C8DA1}"/>
          </ac:picMkLst>
        </pc:picChg>
        <pc:picChg chg="add del mod">
          <ac:chgData name="Yousuf, Arsalan" userId="1f742cd1-60f2-4cc5-8102-e09412e517e3" providerId="ADAL" clId="{15464559-230C-484E-9C98-D7B9D3FDBA96}" dt="2024-01-11T11:15:25.585" v="758" actId="1038"/>
          <ac:picMkLst>
            <pc:docMk/>
            <pc:sldMk cId="3632895860" sldId="2147479539"/>
            <ac:picMk id="82" creationId="{780AE9B8-62EB-87B3-AF98-1CD415687E5C}"/>
          </ac:picMkLst>
        </pc:picChg>
        <pc:picChg chg="add del mod">
          <ac:chgData name="Yousuf, Arsalan" userId="1f742cd1-60f2-4cc5-8102-e09412e517e3" providerId="ADAL" clId="{15464559-230C-484E-9C98-D7B9D3FDBA96}" dt="2024-01-11T11:15:25.585" v="758" actId="1038"/>
          <ac:picMkLst>
            <pc:docMk/>
            <pc:sldMk cId="3632895860" sldId="2147479539"/>
            <ac:picMk id="83" creationId="{B5F758D2-600D-650A-D8B8-4A00A7594FCD}"/>
          </ac:picMkLst>
        </pc:picChg>
        <pc:picChg chg="add del mod">
          <ac:chgData name="Yousuf, Arsalan" userId="1f742cd1-60f2-4cc5-8102-e09412e517e3" providerId="ADAL" clId="{15464559-230C-484E-9C98-D7B9D3FDBA96}" dt="2024-01-11T11:15:25.585" v="758" actId="1038"/>
          <ac:picMkLst>
            <pc:docMk/>
            <pc:sldMk cId="3632895860" sldId="2147479539"/>
            <ac:picMk id="84" creationId="{B54D2F75-EA3D-14B9-BF46-1C1B44368813}"/>
          </ac:picMkLst>
        </pc:picChg>
        <pc:picChg chg="add del mod">
          <ac:chgData name="Yousuf, Arsalan" userId="1f742cd1-60f2-4cc5-8102-e09412e517e3" providerId="ADAL" clId="{15464559-230C-484E-9C98-D7B9D3FDBA96}" dt="2024-01-11T11:15:25.585" v="758" actId="1038"/>
          <ac:picMkLst>
            <pc:docMk/>
            <pc:sldMk cId="3632895860" sldId="2147479539"/>
            <ac:picMk id="85" creationId="{B8BF60F7-B6A9-2E51-AC78-E2C742E15307}"/>
          </ac:picMkLst>
        </pc:picChg>
        <pc:picChg chg="add del mod">
          <ac:chgData name="Yousuf, Arsalan" userId="1f742cd1-60f2-4cc5-8102-e09412e517e3" providerId="ADAL" clId="{15464559-230C-484E-9C98-D7B9D3FDBA96}" dt="2024-01-11T11:15:25.585" v="758" actId="1038"/>
          <ac:picMkLst>
            <pc:docMk/>
            <pc:sldMk cId="3632895860" sldId="2147479539"/>
            <ac:picMk id="86" creationId="{D8D32FB7-3468-D361-8470-73E263916877}"/>
          </ac:picMkLst>
        </pc:picChg>
        <pc:picChg chg="add del mod">
          <ac:chgData name="Yousuf, Arsalan" userId="1f742cd1-60f2-4cc5-8102-e09412e517e3" providerId="ADAL" clId="{15464559-230C-484E-9C98-D7B9D3FDBA96}" dt="2024-01-11T11:15:25.585" v="758" actId="1038"/>
          <ac:picMkLst>
            <pc:docMk/>
            <pc:sldMk cId="3632895860" sldId="2147479539"/>
            <ac:picMk id="87" creationId="{BD5B0AB0-44CA-0234-6B6C-D1CDADC7CAC7}"/>
          </ac:picMkLst>
        </pc:picChg>
      </pc:sldChg>
      <pc:sldChg chg="addSp modSp mod">
        <pc:chgData name="Yousuf, Arsalan" userId="1f742cd1-60f2-4cc5-8102-e09412e517e3" providerId="ADAL" clId="{15464559-230C-484E-9C98-D7B9D3FDBA96}" dt="2024-01-11T13:38:25.156" v="1687" actId="20577"/>
        <pc:sldMkLst>
          <pc:docMk/>
          <pc:sldMk cId="1218059526" sldId="2147479547"/>
        </pc:sldMkLst>
        <pc:spChg chg="mod">
          <ac:chgData name="Yousuf, Arsalan" userId="1f742cd1-60f2-4cc5-8102-e09412e517e3" providerId="ADAL" clId="{15464559-230C-484E-9C98-D7B9D3FDBA96}" dt="2024-01-11T11:12:09.897" v="588" actId="404"/>
          <ac:spMkLst>
            <pc:docMk/>
            <pc:sldMk cId="1218059526" sldId="2147479547"/>
            <ac:spMk id="41" creationId="{759A0B1E-9D78-FFAD-0251-6A24DFE2F99E}"/>
          </ac:spMkLst>
        </pc:spChg>
        <pc:spChg chg="mod">
          <ac:chgData name="Yousuf, Arsalan" userId="1f742cd1-60f2-4cc5-8102-e09412e517e3" providerId="ADAL" clId="{15464559-230C-484E-9C98-D7B9D3FDBA96}" dt="2024-01-11T11:12:17.943" v="601" actId="1035"/>
          <ac:spMkLst>
            <pc:docMk/>
            <pc:sldMk cId="1218059526" sldId="2147479547"/>
            <ac:spMk id="43" creationId="{B9F0AA43-8096-72D5-0738-F477ED59400D}"/>
          </ac:spMkLst>
        </pc:spChg>
        <pc:spChg chg="mod">
          <ac:chgData name="Yousuf, Arsalan" userId="1f742cd1-60f2-4cc5-8102-e09412e517e3" providerId="ADAL" clId="{15464559-230C-484E-9C98-D7B9D3FDBA96}" dt="2024-01-11T11:12:17.943" v="601" actId="1035"/>
          <ac:spMkLst>
            <pc:docMk/>
            <pc:sldMk cId="1218059526" sldId="2147479547"/>
            <ac:spMk id="45" creationId="{2B843CA5-880C-1276-49BD-2A1E648647DE}"/>
          </ac:spMkLst>
        </pc:spChg>
        <pc:spChg chg="mod">
          <ac:chgData name="Yousuf, Arsalan" userId="1f742cd1-60f2-4cc5-8102-e09412e517e3" providerId="ADAL" clId="{15464559-230C-484E-9C98-D7B9D3FDBA96}" dt="2024-01-11T11:12:17.943" v="601" actId="1035"/>
          <ac:spMkLst>
            <pc:docMk/>
            <pc:sldMk cId="1218059526" sldId="2147479547"/>
            <ac:spMk id="46" creationId="{05A51262-E016-4555-EA12-4C8F047E2683}"/>
          </ac:spMkLst>
        </pc:spChg>
        <pc:spChg chg="mod">
          <ac:chgData name="Yousuf, Arsalan" userId="1f742cd1-60f2-4cc5-8102-e09412e517e3" providerId="ADAL" clId="{15464559-230C-484E-9C98-D7B9D3FDBA96}" dt="2024-01-11T11:12:17.943" v="601" actId="1035"/>
          <ac:spMkLst>
            <pc:docMk/>
            <pc:sldMk cId="1218059526" sldId="2147479547"/>
            <ac:spMk id="47" creationId="{913C1CD5-E67E-9DFC-64FE-3B79FC609F8E}"/>
          </ac:spMkLst>
        </pc:spChg>
        <pc:spChg chg="mod">
          <ac:chgData name="Yousuf, Arsalan" userId="1f742cd1-60f2-4cc5-8102-e09412e517e3" providerId="ADAL" clId="{15464559-230C-484E-9C98-D7B9D3FDBA96}" dt="2024-01-11T11:12:17.943" v="601" actId="1035"/>
          <ac:spMkLst>
            <pc:docMk/>
            <pc:sldMk cId="1218059526" sldId="2147479547"/>
            <ac:spMk id="49" creationId="{A768A577-3E32-01EC-13AC-7884AAF6019A}"/>
          </ac:spMkLst>
        </pc:spChg>
        <pc:spChg chg="mod">
          <ac:chgData name="Yousuf, Arsalan" userId="1f742cd1-60f2-4cc5-8102-e09412e517e3" providerId="ADAL" clId="{15464559-230C-484E-9C98-D7B9D3FDBA96}" dt="2024-01-11T11:12:17.943" v="601" actId="1035"/>
          <ac:spMkLst>
            <pc:docMk/>
            <pc:sldMk cId="1218059526" sldId="2147479547"/>
            <ac:spMk id="51" creationId="{03D2DA64-60F7-6C5D-7660-2554F1311E25}"/>
          </ac:spMkLst>
        </pc:spChg>
        <pc:spChg chg="mod">
          <ac:chgData name="Yousuf, Arsalan" userId="1f742cd1-60f2-4cc5-8102-e09412e517e3" providerId="ADAL" clId="{15464559-230C-484E-9C98-D7B9D3FDBA96}" dt="2024-01-11T11:12:17.943" v="601" actId="1035"/>
          <ac:spMkLst>
            <pc:docMk/>
            <pc:sldMk cId="1218059526" sldId="2147479547"/>
            <ac:spMk id="52" creationId="{CD210934-5B7C-01CE-AC8E-094B78B2708F}"/>
          </ac:spMkLst>
        </pc:spChg>
        <pc:spChg chg="mod">
          <ac:chgData name="Yousuf, Arsalan" userId="1f742cd1-60f2-4cc5-8102-e09412e517e3" providerId="ADAL" clId="{15464559-230C-484E-9C98-D7B9D3FDBA96}" dt="2024-01-11T11:12:17.943" v="601" actId="1035"/>
          <ac:spMkLst>
            <pc:docMk/>
            <pc:sldMk cId="1218059526" sldId="2147479547"/>
            <ac:spMk id="54" creationId="{8721500C-9289-3707-64EB-E7395EB963C9}"/>
          </ac:spMkLst>
        </pc:spChg>
        <pc:spChg chg="mod">
          <ac:chgData name="Yousuf, Arsalan" userId="1f742cd1-60f2-4cc5-8102-e09412e517e3" providerId="ADAL" clId="{15464559-230C-484E-9C98-D7B9D3FDBA96}" dt="2024-01-11T11:12:17.943" v="601" actId="1035"/>
          <ac:spMkLst>
            <pc:docMk/>
            <pc:sldMk cId="1218059526" sldId="2147479547"/>
            <ac:spMk id="55" creationId="{F2FC10E6-29C6-905C-7BB6-6B86CB39A150}"/>
          </ac:spMkLst>
        </pc:spChg>
        <pc:spChg chg="mod">
          <ac:chgData name="Yousuf, Arsalan" userId="1f742cd1-60f2-4cc5-8102-e09412e517e3" providerId="ADAL" clId="{15464559-230C-484E-9C98-D7B9D3FDBA96}" dt="2024-01-11T11:12:17.943" v="601" actId="1035"/>
          <ac:spMkLst>
            <pc:docMk/>
            <pc:sldMk cId="1218059526" sldId="2147479547"/>
            <ac:spMk id="56" creationId="{F74B56BA-5B4D-4044-4CF6-C2AEE2713B84}"/>
          </ac:spMkLst>
        </pc:spChg>
        <pc:spChg chg="mod">
          <ac:chgData name="Yousuf, Arsalan" userId="1f742cd1-60f2-4cc5-8102-e09412e517e3" providerId="ADAL" clId="{15464559-230C-484E-9C98-D7B9D3FDBA96}" dt="2024-01-11T11:12:17.943" v="601" actId="1035"/>
          <ac:spMkLst>
            <pc:docMk/>
            <pc:sldMk cId="1218059526" sldId="2147479547"/>
            <ac:spMk id="57" creationId="{5154731E-B7B7-B15F-74AE-6F294F54B971}"/>
          </ac:spMkLst>
        </pc:spChg>
        <pc:spChg chg="mod">
          <ac:chgData name="Yousuf, Arsalan" userId="1f742cd1-60f2-4cc5-8102-e09412e517e3" providerId="ADAL" clId="{15464559-230C-484E-9C98-D7B9D3FDBA96}" dt="2024-01-11T11:12:17.943" v="601" actId="1035"/>
          <ac:spMkLst>
            <pc:docMk/>
            <pc:sldMk cId="1218059526" sldId="2147479547"/>
            <ac:spMk id="59" creationId="{9CA2E5D0-3B48-5061-760B-74C7A0ACB827}"/>
          </ac:spMkLst>
        </pc:spChg>
        <pc:spChg chg="mod">
          <ac:chgData name="Yousuf, Arsalan" userId="1f742cd1-60f2-4cc5-8102-e09412e517e3" providerId="ADAL" clId="{15464559-230C-484E-9C98-D7B9D3FDBA96}" dt="2024-01-11T11:12:17.943" v="601" actId="1035"/>
          <ac:spMkLst>
            <pc:docMk/>
            <pc:sldMk cId="1218059526" sldId="2147479547"/>
            <ac:spMk id="60" creationId="{AF4D9B9A-FD21-858A-A783-9C601DC930D3}"/>
          </ac:spMkLst>
        </pc:spChg>
        <pc:spChg chg="mod">
          <ac:chgData name="Yousuf, Arsalan" userId="1f742cd1-60f2-4cc5-8102-e09412e517e3" providerId="ADAL" clId="{15464559-230C-484E-9C98-D7B9D3FDBA96}" dt="2024-01-11T11:12:17.943" v="601" actId="1035"/>
          <ac:spMkLst>
            <pc:docMk/>
            <pc:sldMk cId="1218059526" sldId="2147479547"/>
            <ac:spMk id="62" creationId="{1EB111C4-1793-9447-F283-BDCA2991DE0A}"/>
          </ac:spMkLst>
        </pc:spChg>
        <pc:spChg chg="mod">
          <ac:chgData name="Yousuf, Arsalan" userId="1f742cd1-60f2-4cc5-8102-e09412e517e3" providerId="ADAL" clId="{15464559-230C-484E-9C98-D7B9D3FDBA96}" dt="2024-01-11T11:12:17.943" v="601" actId="1035"/>
          <ac:spMkLst>
            <pc:docMk/>
            <pc:sldMk cId="1218059526" sldId="2147479547"/>
            <ac:spMk id="63" creationId="{8D1EA180-23D7-8F6A-BAB1-3C8D70A77A53}"/>
          </ac:spMkLst>
        </pc:spChg>
        <pc:spChg chg="mod">
          <ac:chgData name="Yousuf, Arsalan" userId="1f742cd1-60f2-4cc5-8102-e09412e517e3" providerId="ADAL" clId="{15464559-230C-484E-9C98-D7B9D3FDBA96}" dt="2024-01-11T11:12:17.943" v="601" actId="1035"/>
          <ac:spMkLst>
            <pc:docMk/>
            <pc:sldMk cId="1218059526" sldId="2147479547"/>
            <ac:spMk id="65" creationId="{331B27EF-5FE4-19D0-6D9D-538B3E9E9F04}"/>
          </ac:spMkLst>
        </pc:spChg>
        <pc:spChg chg="mod">
          <ac:chgData name="Yousuf, Arsalan" userId="1f742cd1-60f2-4cc5-8102-e09412e517e3" providerId="ADAL" clId="{15464559-230C-484E-9C98-D7B9D3FDBA96}" dt="2024-01-11T11:12:17.943" v="601" actId="1035"/>
          <ac:spMkLst>
            <pc:docMk/>
            <pc:sldMk cId="1218059526" sldId="2147479547"/>
            <ac:spMk id="66" creationId="{27437A9F-1E6E-C5BA-73DB-1FD61D25ABFD}"/>
          </ac:spMkLst>
        </pc:spChg>
        <pc:spChg chg="mod">
          <ac:chgData name="Yousuf, Arsalan" userId="1f742cd1-60f2-4cc5-8102-e09412e517e3" providerId="ADAL" clId="{15464559-230C-484E-9C98-D7B9D3FDBA96}" dt="2024-01-11T11:12:17.943" v="601" actId="1035"/>
          <ac:spMkLst>
            <pc:docMk/>
            <pc:sldMk cId="1218059526" sldId="2147479547"/>
            <ac:spMk id="68" creationId="{15A5B434-BE25-ED22-1F73-7A685ADC33C9}"/>
          </ac:spMkLst>
        </pc:spChg>
        <pc:spChg chg="mod">
          <ac:chgData name="Yousuf, Arsalan" userId="1f742cd1-60f2-4cc5-8102-e09412e517e3" providerId="ADAL" clId="{15464559-230C-484E-9C98-D7B9D3FDBA96}" dt="2024-01-11T11:12:17.943" v="601" actId="1035"/>
          <ac:spMkLst>
            <pc:docMk/>
            <pc:sldMk cId="1218059526" sldId="2147479547"/>
            <ac:spMk id="69" creationId="{928ACA19-A65D-C4B9-69B1-A9D28E1CDC14}"/>
          </ac:spMkLst>
        </pc:spChg>
        <pc:spChg chg="mod">
          <ac:chgData name="Yousuf, Arsalan" userId="1f742cd1-60f2-4cc5-8102-e09412e517e3" providerId="ADAL" clId="{15464559-230C-484E-9C98-D7B9D3FDBA96}" dt="2024-01-11T11:12:17.943" v="601" actId="1035"/>
          <ac:spMkLst>
            <pc:docMk/>
            <pc:sldMk cId="1218059526" sldId="2147479547"/>
            <ac:spMk id="70" creationId="{F89022CF-44AD-02D1-C38F-D5BC1D7C2E29}"/>
          </ac:spMkLst>
        </pc:spChg>
        <pc:spChg chg="mod">
          <ac:chgData name="Yousuf, Arsalan" userId="1f742cd1-60f2-4cc5-8102-e09412e517e3" providerId="ADAL" clId="{15464559-230C-484E-9C98-D7B9D3FDBA96}" dt="2024-01-11T11:12:17.943" v="601" actId="1035"/>
          <ac:spMkLst>
            <pc:docMk/>
            <pc:sldMk cId="1218059526" sldId="2147479547"/>
            <ac:spMk id="71" creationId="{C672E7FB-0D2E-464A-BDC4-796FBAC3697A}"/>
          </ac:spMkLst>
        </pc:spChg>
        <pc:spChg chg="mod">
          <ac:chgData name="Yousuf, Arsalan" userId="1f742cd1-60f2-4cc5-8102-e09412e517e3" providerId="ADAL" clId="{15464559-230C-484E-9C98-D7B9D3FDBA96}" dt="2024-01-11T11:12:17.943" v="601" actId="1035"/>
          <ac:spMkLst>
            <pc:docMk/>
            <pc:sldMk cId="1218059526" sldId="2147479547"/>
            <ac:spMk id="72" creationId="{A2ECF02C-7CB5-F8E4-575D-EC9E116749F7}"/>
          </ac:spMkLst>
        </pc:spChg>
        <pc:spChg chg="mod">
          <ac:chgData name="Yousuf, Arsalan" userId="1f742cd1-60f2-4cc5-8102-e09412e517e3" providerId="ADAL" clId="{15464559-230C-484E-9C98-D7B9D3FDBA96}" dt="2024-01-11T11:12:17.943" v="601" actId="1035"/>
          <ac:spMkLst>
            <pc:docMk/>
            <pc:sldMk cId="1218059526" sldId="2147479547"/>
            <ac:spMk id="73" creationId="{838D9131-FBC8-92A4-5FA9-6C0451E1FDC1}"/>
          </ac:spMkLst>
        </pc:spChg>
        <pc:spChg chg="mod">
          <ac:chgData name="Yousuf, Arsalan" userId="1f742cd1-60f2-4cc5-8102-e09412e517e3" providerId="ADAL" clId="{15464559-230C-484E-9C98-D7B9D3FDBA96}" dt="2024-01-11T13:37:27.594" v="1641" actId="1038"/>
          <ac:spMkLst>
            <pc:docMk/>
            <pc:sldMk cId="1218059526" sldId="2147479547"/>
            <ac:spMk id="74" creationId="{CA5C8E26-840E-4FBA-1B65-16254EB09359}"/>
          </ac:spMkLst>
        </pc:spChg>
        <pc:spChg chg="mod">
          <ac:chgData name="Yousuf, Arsalan" userId="1f742cd1-60f2-4cc5-8102-e09412e517e3" providerId="ADAL" clId="{15464559-230C-484E-9C98-D7B9D3FDBA96}" dt="2024-01-11T11:11:47.675" v="582" actId="2711"/>
          <ac:spMkLst>
            <pc:docMk/>
            <pc:sldMk cId="1218059526" sldId="2147479547"/>
            <ac:spMk id="75" creationId="{0B00487E-9A8E-46E0-B60F-BB884C23310C}"/>
          </ac:spMkLst>
        </pc:spChg>
        <pc:spChg chg="mod">
          <ac:chgData name="Yousuf, Arsalan" userId="1f742cd1-60f2-4cc5-8102-e09412e517e3" providerId="ADAL" clId="{15464559-230C-484E-9C98-D7B9D3FDBA96}" dt="2024-01-11T11:11:47.675" v="582" actId="2711"/>
          <ac:spMkLst>
            <pc:docMk/>
            <pc:sldMk cId="1218059526" sldId="2147479547"/>
            <ac:spMk id="76" creationId="{11F95CE4-70DC-4FF6-9740-A5C6EC6923E7}"/>
          </ac:spMkLst>
        </pc:spChg>
        <pc:spChg chg="mod">
          <ac:chgData name="Yousuf, Arsalan" userId="1f742cd1-60f2-4cc5-8102-e09412e517e3" providerId="ADAL" clId="{15464559-230C-484E-9C98-D7B9D3FDBA96}" dt="2024-01-11T13:37:25.488" v="1636" actId="1037"/>
          <ac:spMkLst>
            <pc:docMk/>
            <pc:sldMk cId="1218059526" sldId="2147479547"/>
            <ac:spMk id="77" creationId="{1D11AE9E-ED1C-FE3C-83AC-06422044C214}"/>
          </ac:spMkLst>
        </pc:spChg>
        <pc:spChg chg="mod">
          <ac:chgData name="Yousuf, Arsalan" userId="1f742cd1-60f2-4cc5-8102-e09412e517e3" providerId="ADAL" clId="{15464559-230C-484E-9C98-D7B9D3FDBA96}" dt="2024-01-11T11:12:17.943" v="601" actId="1035"/>
          <ac:spMkLst>
            <pc:docMk/>
            <pc:sldMk cId="1218059526" sldId="2147479547"/>
            <ac:spMk id="78" creationId="{E6758575-71F0-08B4-DB82-01B7FE8D2408}"/>
          </ac:spMkLst>
        </pc:spChg>
        <pc:spChg chg="mod">
          <ac:chgData name="Yousuf, Arsalan" userId="1f742cd1-60f2-4cc5-8102-e09412e517e3" providerId="ADAL" clId="{15464559-230C-484E-9C98-D7B9D3FDBA96}" dt="2024-01-11T13:38:25.156" v="1687" actId="20577"/>
          <ac:spMkLst>
            <pc:docMk/>
            <pc:sldMk cId="1218059526" sldId="2147479547"/>
            <ac:spMk id="79" creationId="{30F3C000-B50F-6612-651A-D1E1D222E53F}"/>
          </ac:spMkLst>
        </pc:spChg>
        <pc:spChg chg="mod">
          <ac:chgData name="Yousuf, Arsalan" userId="1f742cd1-60f2-4cc5-8102-e09412e517e3" providerId="ADAL" clId="{15464559-230C-484E-9C98-D7B9D3FDBA96}" dt="2024-01-11T13:37:47.040" v="1669" actId="20577"/>
          <ac:spMkLst>
            <pc:docMk/>
            <pc:sldMk cId="1218059526" sldId="2147479547"/>
            <ac:spMk id="80" creationId="{CE6478C8-EC4A-677B-5CCF-B2EA47445358}"/>
          </ac:spMkLst>
        </pc:spChg>
        <pc:spChg chg="mod">
          <ac:chgData name="Yousuf, Arsalan" userId="1f742cd1-60f2-4cc5-8102-e09412e517e3" providerId="ADAL" clId="{15464559-230C-484E-9C98-D7B9D3FDBA96}" dt="2024-01-11T13:37:31.720" v="1646" actId="1038"/>
          <ac:spMkLst>
            <pc:docMk/>
            <pc:sldMk cId="1218059526" sldId="2147479547"/>
            <ac:spMk id="81" creationId="{ED1851B0-F324-C706-D26B-3AC0FA21BB13}"/>
          </ac:spMkLst>
        </pc:spChg>
        <pc:spChg chg="mod">
          <ac:chgData name="Yousuf, Arsalan" userId="1f742cd1-60f2-4cc5-8102-e09412e517e3" providerId="ADAL" clId="{15464559-230C-484E-9C98-D7B9D3FDBA96}" dt="2024-01-11T11:12:17.943" v="601" actId="1035"/>
          <ac:spMkLst>
            <pc:docMk/>
            <pc:sldMk cId="1218059526" sldId="2147479547"/>
            <ac:spMk id="455" creationId="{D9785F65-3874-E2D3-CA63-CC7AF502FD2E}"/>
          </ac:spMkLst>
        </pc:spChg>
        <pc:spChg chg="mod">
          <ac:chgData name="Yousuf, Arsalan" userId="1f742cd1-60f2-4cc5-8102-e09412e517e3" providerId="ADAL" clId="{15464559-230C-484E-9C98-D7B9D3FDBA96}" dt="2024-01-11T11:12:17.943" v="601" actId="1035"/>
          <ac:spMkLst>
            <pc:docMk/>
            <pc:sldMk cId="1218059526" sldId="2147479547"/>
            <ac:spMk id="457" creationId="{373C3A18-37D7-CF8B-EF30-40B06523707E}"/>
          </ac:spMkLst>
        </pc:spChg>
        <pc:spChg chg="mod">
          <ac:chgData name="Yousuf, Arsalan" userId="1f742cd1-60f2-4cc5-8102-e09412e517e3" providerId="ADAL" clId="{15464559-230C-484E-9C98-D7B9D3FDBA96}" dt="2024-01-11T11:12:17.943" v="601" actId="1035"/>
          <ac:spMkLst>
            <pc:docMk/>
            <pc:sldMk cId="1218059526" sldId="2147479547"/>
            <ac:spMk id="458" creationId="{AD22BE74-585C-2B25-0DD7-C36DBC9493C0}"/>
          </ac:spMkLst>
        </pc:spChg>
        <pc:spChg chg="mod">
          <ac:chgData name="Yousuf, Arsalan" userId="1f742cd1-60f2-4cc5-8102-e09412e517e3" providerId="ADAL" clId="{15464559-230C-484E-9C98-D7B9D3FDBA96}" dt="2024-01-11T11:12:17.943" v="601" actId="1035"/>
          <ac:spMkLst>
            <pc:docMk/>
            <pc:sldMk cId="1218059526" sldId="2147479547"/>
            <ac:spMk id="460" creationId="{85263F45-5962-DA52-CC70-3AEFCAF0E0D3}"/>
          </ac:spMkLst>
        </pc:spChg>
        <pc:spChg chg="mod">
          <ac:chgData name="Yousuf, Arsalan" userId="1f742cd1-60f2-4cc5-8102-e09412e517e3" providerId="ADAL" clId="{15464559-230C-484E-9C98-D7B9D3FDBA96}" dt="2024-01-11T11:12:17.943" v="601" actId="1035"/>
          <ac:spMkLst>
            <pc:docMk/>
            <pc:sldMk cId="1218059526" sldId="2147479547"/>
            <ac:spMk id="461" creationId="{10562E6E-A3D8-7273-A09E-8A3DB3B13A76}"/>
          </ac:spMkLst>
        </pc:spChg>
        <pc:spChg chg="mod">
          <ac:chgData name="Yousuf, Arsalan" userId="1f742cd1-60f2-4cc5-8102-e09412e517e3" providerId="ADAL" clId="{15464559-230C-484E-9C98-D7B9D3FDBA96}" dt="2024-01-11T11:12:17.943" v="601" actId="1035"/>
          <ac:spMkLst>
            <pc:docMk/>
            <pc:sldMk cId="1218059526" sldId="2147479547"/>
            <ac:spMk id="462" creationId="{88C371E6-843A-E557-E8AE-9F9D2F18945E}"/>
          </ac:spMkLst>
        </pc:spChg>
        <pc:spChg chg="mod">
          <ac:chgData name="Yousuf, Arsalan" userId="1f742cd1-60f2-4cc5-8102-e09412e517e3" providerId="ADAL" clId="{15464559-230C-484E-9C98-D7B9D3FDBA96}" dt="2024-01-11T11:12:17.943" v="601" actId="1035"/>
          <ac:spMkLst>
            <pc:docMk/>
            <pc:sldMk cId="1218059526" sldId="2147479547"/>
            <ac:spMk id="464" creationId="{9CD1A5D6-6A18-ECC3-D84E-F34B0046BBB2}"/>
          </ac:spMkLst>
        </pc:spChg>
        <pc:spChg chg="mod">
          <ac:chgData name="Yousuf, Arsalan" userId="1f742cd1-60f2-4cc5-8102-e09412e517e3" providerId="ADAL" clId="{15464559-230C-484E-9C98-D7B9D3FDBA96}" dt="2024-01-11T11:12:17.943" v="601" actId="1035"/>
          <ac:spMkLst>
            <pc:docMk/>
            <pc:sldMk cId="1218059526" sldId="2147479547"/>
            <ac:spMk id="465" creationId="{50C69615-B54B-04AF-C0DB-6DA1EDC95301}"/>
          </ac:spMkLst>
        </pc:spChg>
        <pc:spChg chg="mod">
          <ac:chgData name="Yousuf, Arsalan" userId="1f742cd1-60f2-4cc5-8102-e09412e517e3" providerId="ADAL" clId="{15464559-230C-484E-9C98-D7B9D3FDBA96}" dt="2024-01-11T11:12:17.943" v="601" actId="1035"/>
          <ac:spMkLst>
            <pc:docMk/>
            <pc:sldMk cId="1218059526" sldId="2147479547"/>
            <ac:spMk id="467" creationId="{53566281-DEA7-474D-CAFD-982E77DE6AB9}"/>
          </ac:spMkLst>
        </pc:spChg>
        <pc:spChg chg="mod">
          <ac:chgData name="Yousuf, Arsalan" userId="1f742cd1-60f2-4cc5-8102-e09412e517e3" providerId="ADAL" clId="{15464559-230C-484E-9C98-D7B9D3FDBA96}" dt="2024-01-11T11:12:17.943" v="601" actId="1035"/>
          <ac:spMkLst>
            <pc:docMk/>
            <pc:sldMk cId="1218059526" sldId="2147479547"/>
            <ac:spMk id="468" creationId="{C954C043-72BD-E161-E7C2-BC322BC61ECD}"/>
          </ac:spMkLst>
        </pc:spChg>
        <pc:spChg chg="mod">
          <ac:chgData name="Yousuf, Arsalan" userId="1f742cd1-60f2-4cc5-8102-e09412e517e3" providerId="ADAL" clId="{15464559-230C-484E-9C98-D7B9D3FDBA96}" dt="2024-01-11T11:12:17.943" v="601" actId="1035"/>
          <ac:spMkLst>
            <pc:docMk/>
            <pc:sldMk cId="1218059526" sldId="2147479547"/>
            <ac:spMk id="469" creationId="{8D3E485A-1A9E-6A2D-E175-34415DB32514}"/>
          </ac:spMkLst>
        </pc:spChg>
        <pc:spChg chg="mod">
          <ac:chgData name="Yousuf, Arsalan" userId="1f742cd1-60f2-4cc5-8102-e09412e517e3" providerId="ADAL" clId="{15464559-230C-484E-9C98-D7B9D3FDBA96}" dt="2024-01-11T11:12:17.943" v="601" actId="1035"/>
          <ac:spMkLst>
            <pc:docMk/>
            <pc:sldMk cId="1218059526" sldId="2147479547"/>
            <ac:spMk id="471" creationId="{CF4880AE-D6CE-F70F-F3B3-D08E3391330F}"/>
          </ac:spMkLst>
        </pc:spChg>
        <pc:spChg chg="mod">
          <ac:chgData name="Yousuf, Arsalan" userId="1f742cd1-60f2-4cc5-8102-e09412e517e3" providerId="ADAL" clId="{15464559-230C-484E-9C98-D7B9D3FDBA96}" dt="2024-01-11T11:12:17.943" v="601" actId="1035"/>
          <ac:spMkLst>
            <pc:docMk/>
            <pc:sldMk cId="1218059526" sldId="2147479547"/>
            <ac:spMk id="472" creationId="{5C35BC3A-2FA9-D779-DA17-7C0275114FE0}"/>
          </ac:spMkLst>
        </pc:spChg>
        <pc:spChg chg="mod">
          <ac:chgData name="Yousuf, Arsalan" userId="1f742cd1-60f2-4cc5-8102-e09412e517e3" providerId="ADAL" clId="{15464559-230C-484E-9C98-D7B9D3FDBA96}" dt="2024-01-11T11:12:17.943" v="601" actId="1035"/>
          <ac:spMkLst>
            <pc:docMk/>
            <pc:sldMk cId="1218059526" sldId="2147479547"/>
            <ac:spMk id="474" creationId="{1E3617D1-C96A-30B3-421C-8028406B5FF3}"/>
          </ac:spMkLst>
        </pc:spChg>
        <pc:spChg chg="mod">
          <ac:chgData name="Yousuf, Arsalan" userId="1f742cd1-60f2-4cc5-8102-e09412e517e3" providerId="ADAL" clId="{15464559-230C-484E-9C98-D7B9D3FDBA96}" dt="2024-01-11T11:12:17.943" v="601" actId="1035"/>
          <ac:spMkLst>
            <pc:docMk/>
            <pc:sldMk cId="1218059526" sldId="2147479547"/>
            <ac:spMk id="475" creationId="{F5B82F7E-53D9-DD95-FBF1-43211C027691}"/>
          </ac:spMkLst>
        </pc:spChg>
        <pc:spChg chg="mod">
          <ac:chgData name="Yousuf, Arsalan" userId="1f742cd1-60f2-4cc5-8102-e09412e517e3" providerId="ADAL" clId="{15464559-230C-484E-9C98-D7B9D3FDBA96}" dt="2024-01-11T11:12:17.943" v="601" actId="1035"/>
          <ac:spMkLst>
            <pc:docMk/>
            <pc:sldMk cId="1218059526" sldId="2147479547"/>
            <ac:spMk id="476" creationId="{D63300D7-0231-0043-7427-223C2839D69F}"/>
          </ac:spMkLst>
        </pc:spChg>
        <pc:spChg chg="mod">
          <ac:chgData name="Yousuf, Arsalan" userId="1f742cd1-60f2-4cc5-8102-e09412e517e3" providerId="ADAL" clId="{15464559-230C-484E-9C98-D7B9D3FDBA96}" dt="2024-01-11T11:12:17.943" v="601" actId="1035"/>
          <ac:spMkLst>
            <pc:docMk/>
            <pc:sldMk cId="1218059526" sldId="2147479547"/>
            <ac:spMk id="478" creationId="{00D131DE-9191-2371-FF6D-D21C4326FD16}"/>
          </ac:spMkLst>
        </pc:spChg>
        <pc:spChg chg="mod">
          <ac:chgData name="Yousuf, Arsalan" userId="1f742cd1-60f2-4cc5-8102-e09412e517e3" providerId="ADAL" clId="{15464559-230C-484E-9C98-D7B9D3FDBA96}" dt="2024-01-11T11:12:17.943" v="601" actId="1035"/>
          <ac:spMkLst>
            <pc:docMk/>
            <pc:sldMk cId="1218059526" sldId="2147479547"/>
            <ac:spMk id="479" creationId="{11E47715-296D-DAF7-17BC-C9B9B51385EF}"/>
          </ac:spMkLst>
        </pc:spChg>
        <pc:spChg chg="mod">
          <ac:chgData name="Yousuf, Arsalan" userId="1f742cd1-60f2-4cc5-8102-e09412e517e3" providerId="ADAL" clId="{15464559-230C-484E-9C98-D7B9D3FDBA96}" dt="2024-01-11T11:12:17.943" v="601" actId="1035"/>
          <ac:spMkLst>
            <pc:docMk/>
            <pc:sldMk cId="1218059526" sldId="2147479547"/>
            <ac:spMk id="481" creationId="{7D4BEA86-86CA-A7C8-0911-CC2332B30E99}"/>
          </ac:spMkLst>
        </pc:spChg>
        <pc:spChg chg="mod">
          <ac:chgData name="Yousuf, Arsalan" userId="1f742cd1-60f2-4cc5-8102-e09412e517e3" providerId="ADAL" clId="{15464559-230C-484E-9C98-D7B9D3FDBA96}" dt="2024-01-11T11:12:17.943" v="601" actId="1035"/>
          <ac:spMkLst>
            <pc:docMk/>
            <pc:sldMk cId="1218059526" sldId="2147479547"/>
            <ac:spMk id="482" creationId="{39059789-6509-288E-1E49-732381F61B46}"/>
          </ac:spMkLst>
        </pc:spChg>
        <pc:spChg chg="mod">
          <ac:chgData name="Yousuf, Arsalan" userId="1f742cd1-60f2-4cc5-8102-e09412e517e3" providerId="ADAL" clId="{15464559-230C-484E-9C98-D7B9D3FDBA96}" dt="2024-01-11T11:12:17.943" v="601" actId="1035"/>
          <ac:spMkLst>
            <pc:docMk/>
            <pc:sldMk cId="1218059526" sldId="2147479547"/>
            <ac:spMk id="483" creationId="{839E64F6-6AEC-AF27-E32C-423D5A97AD62}"/>
          </ac:spMkLst>
        </pc:spChg>
        <pc:spChg chg="mod">
          <ac:chgData name="Yousuf, Arsalan" userId="1f742cd1-60f2-4cc5-8102-e09412e517e3" providerId="ADAL" clId="{15464559-230C-484E-9C98-D7B9D3FDBA96}" dt="2024-01-11T11:12:17.943" v="601" actId="1035"/>
          <ac:spMkLst>
            <pc:docMk/>
            <pc:sldMk cId="1218059526" sldId="2147479547"/>
            <ac:spMk id="485" creationId="{13268297-5D62-A418-DA18-51D3357C8831}"/>
          </ac:spMkLst>
        </pc:spChg>
        <pc:spChg chg="mod">
          <ac:chgData name="Yousuf, Arsalan" userId="1f742cd1-60f2-4cc5-8102-e09412e517e3" providerId="ADAL" clId="{15464559-230C-484E-9C98-D7B9D3FDBA96}" dt="2024-01-11T11:12:17.943" v="601" actId="1035"/>
          <ac:spMkLst>
            <pc:docMk/>
            <pc:sldMk cId="1218059526" sldId="2147479547"/>
            <ac:spMk id="486" creationId="{4367D556-5D24-F7D1-CD4A-B86836F8E7B8}"/>
          </ac:spMkLst>
        </pc:spChg>
        <pc:spChg chg="mod">
          <ac:chgData name="Yousuf, Arsalan" userId="1f742cd1-60f2-4cc5-8102-e09412e517e3" providerId="ADAL" clId="{15464559-230C-484E-9C98-D7B9D3FDBA96}" dt="2024-01-11T11:12:17.943" v="601" actId="1035"/>
          <ac:spMkLst>
            <pc:docMk/>
            <pc:sldMk cId="1218059526" sldId="2147479547"/>
            <ac:spMk id="488" creationId="{9B36D44A-5613-82CB-8BE8-1DA6B9DD4D1A}"/>
          </ac:spMkLst>
        </pc:spChg>
        <pc:spChg chg="mod">
          <ac:chgData name="Yousuf, Arsalan" userId="1f742cd1-60f2-4cc5-8102-e09412e517e3" providerId="ADAL" clId="{15464559-230C-484E-9C98-D7B9D3FDBA96}" dt="2024-01-11T11:12:17.943" v="601" actId="1035"/>
          <ac:spMkLst>
            <pc:docMk/>
            <pc:sldMk cId="1218059526" sldId="2147479547"/>
            <ac:spMk id="489" creationId="{D2762FAF-E63C-D057-4AEE-38D46189B3B9}"/>
          </ac:spMkLst>
        </pc:spChg>
        <pc:spChg chg="mod">
          <ac:chgData name="Yousuf, Arsalan" userId="1f742cd1-60f2-4cc5-8102-e09412e517e3" providerId="ADAL" clId="{15464559-230C-484E-9C98-D7B9D3FDBA96}" dt="2024-01-11T11:12:17.943" v="601" actId="1035"/>
          <ac:spMkLst>
            <pc:docMk/>
            <pc:sldMk cId="1218059526" sldId="2147479547"/>
            <ac:spMk id="490" creationId="{D8C6714E-9DCB-0D56-1CA6-DC613AE1AA00}"/>
          </ac:spMkLst>
        </pc:spChg>
        <pc:spChg chg="mod">
          <ac:chgData name="Yousuf, Arsalan" userId="1f742cd1-60f2-4cc5-8102-e09412e517e3" providerId="ADAL" clId="{15464559-230C-484E-9C98-D7B9D3FDBA96}" dt="2024-01-11T11:12:17.943" v="601" actId="1035"/>
          <ac:spMkLst>
            <pc:docMk/>
            <pc:sldMk cId="1218059526" sldId="2147479547"/>
            <ac:spMk id="491" creationId="{CA9AAFF8-8DB6-CF8E-5C68-BFAC90CC55B0}"/>
          </ac:spMkLst>
        </pc:spChg>
        <pc:spChg chg="mod">
          <ac:chgData name="Yousuf, Arsalan" userId="1f742cd1-60f2-4cc5-8102-e09412e517e3" providerId="ADAL" clId="{15464559-230C-484E-9C98-D7B9D3FDBA96}" dt="2024-01-11T11:12:17.943" v="601" actId="1035"/>
          <ac:spMkLst>
            <pc:docMk/>
            <pc:sldMk cId="1218059526" sldId="2147479547"/>
            <ac:spMk id="493" creationId="{7411FB6D-5C59-D5DF-F583-7D1C0B0566A1}"/>
          </ac:spMkLst>
        </pc:spChg>
        <pc:spChg chg="mod">
          <ac:chgData name="Yousuf, Arsalan" userId="1f742cd1-60f2-4cc5-8102-e09412e517e3" providerId="ADAL" clId="{15464559-230C-484E-9C98-D7B9D3FDBA96}" dt="2024-01-11T11:12:17.943" v="601" actId="1035"/>
          <ac:spMkLst>
            <pc:docMk/>
            <pc:sldMk cId="1218059526" sldId="2147479547"/>
            <ac:spMk id="495" creationId="{31AA36B1-3EF2-1F09-4ADC-48EFD2F08102}"/>
          </ac:spMkLst>
        </pc:spChg>
        <pc:spChg chg="mod">
          <ac:chgData name="Yousuf, Arsalan" userId="1f742cd1-60f2-4cc5-8102-e09412e517e3" providerId="ADAL" clId="{15464559-230C-484E-9C98-D7B9D3FDBA96}" dt="2024-01-11T11:12:17.943" v="601" actId="1035"/>
          <ac:spMkLst>
            <pc:docMk/>
            <pc:sldMk cId="1218059526" sldId="2147479547"/>
            <ac:spMk id="496" creationId="{5346809F-2BAB-1ED0-1925-7BFF060D1C5F}"/>
          </ac:spMkLst>
        </pc:spChg>
        <pc:spChg chg="mod">
          <ac:chgData name="Yousuf, Arsalan" userId="1f742cd1-60f2-4cc5-8102-e09412e517e3" providerId="ADAL" clId="{15464559-230C-484E-9C98-D7B9D3FDBA96}" dt="2024-01-11T11:12:17.943" v="601" actId="1035"/>
          <ac:spMkLst>
            <pc:docMk/>
            <pc:sldMk cId="1218059526" sldId="2147479547"/>
            <ac:spMk id="497" creationId="{0055CAA0-7D74-C379-3D6D-52DD282B5F7D}"/>
          </ac:spMkLst>
        </pc:spChg>
        <pc:spChg chg="mod">
          <ac:chgData name="Yousuf, Arsalan" userId="1f742cd1-60f2-4cc5-8102-e09412e517e3" providerId="ADAL" clId="{15464559-230C-484E-9C98-D7B9D3FDBA96}" dt="2024-01-11T11:12:17.943" v="601" actId="1035"/>
          <ac:spMkLst>
            <pc:docMk/>
            <pc:sldMk cId="1218059526" sldId="2147479547"/>
            <ac:spMk id="499" creationId="{8B059197-9C61-132F-A435-F3635BB29EB0}"/>
          </ac:spMkLst>
        </pc:spChg>
        <pc:spChg chg="mod">
          <ac:chgData name="Yousuf, Arsalan" userId="1f742cd1-60f2-4cc5-8102-e09412e517e3" providerId="ADAL" clId="{15464559-230C-484E-9C98-D7B9D3FDBA96}" dt="2024-01-11T11:12:17.943" v="601" actId="1035"/>
          <ac:spMkLst>
            <pc:docMk/>
            <pc:sldMk cId="1218059526" sldId="2147479547"/>
            <ac:spMk id="500" creationId="{924056F2-8B99-F2D2-813B-991570DFDDB3}"/>
          </ac:spMkLst>
        </pc:spChg>
        <pc:spChg chg="mod">
          <ac:chgData name="Yousuf, Arsalan" userId="1f742cd1-60f2-4cc5-8102-e09412e517e3" providerId="ADAL" clId="{15464559-230C-484E-9C98-D7B9D3FDBA96}" dt="2024-01-11T11:12:17.943" v="601" actId="1035"/>
          <ac:spMkLst>
            <pc:docMk/>
            <pc:sldMk cId="1218059526" sldId="2147479547"/>
            <ac:spMk id="502" creationId="{105381C5-62B1-0128-744D-AAC5CFF903DD}"/>
          </ac:spMkLst>
        </pc:spChg>
        <pc:spChg chg="mod">
          <ac:chgData name="Yousuf, Arsalan" userId="1f742cd1-60f2-4cc5-8102-e09412e517e3" providerId="ADAL" clId="{15464559-230C-484E-9C98-D7B9D3FDBA96}" dt="2024-01-11T11:12:17.943" v="601" actId="1035"/>
          <ac:spMkLst>
            <pc:docMk/>
            <pc:sldMk cId="1218059526" sldId="2147479547"/>
            <ac:spMk id="503" creationId="{D078378A-108E-A7F1-4FD3-5ED2CCDF2EB6}"/>
          </ac:spMkLst>
        </pc:spChg>
        <pc:spChg chg="mod">
          <ac:chgData name="Yousuf, Arsalan" userId="1f742cd1-60f2-4cc5-8102-e09412e517e3" providerId="ADAL" clId="{15464559-230C-484E-9C98-D7B9D3FDBA96}" dt="2024-01-11T11:12:17.943" v="601" actId="1035"/>
          <ac:spMkLst>
            <pc:docMk/>
            <pc:sldMk cId="1218059526" sldId="2147479547"/>
            <ac:spMk id="504" creationId="{DBF49B21-EB87-14E0-8EA5-8EDBB0DB2ED0}"/>
          </ac:spMkLst>
        </pc:spChg>
        <pc:spChg chg="mod">
          <ac:chgData name="Yousuf, Arsalan" userId="1f742cd1-60f2-4cc5-8102-e09412e517e3" providerId="ADAL" clId="{15464559-230C-484E-9C98-D7B9D3FDBA96}" dt="2024-01-11T11:12:17.943" v="601" actId="1035"/>
          <ac:spMkLst>
            <pc:docMk/>
            <pc:sldMk cId="1218059526" sldId="2147479547"/>
            <ac:spMk id="506" creationId="{92D0D7C1-EA69-6BE9-53B8-55B6D0093CC3}"/>
          </ac:spMkLst>
        </pc:spChg>
        <pc:spChg chg="mod">
          <ac:chgData name="Yousuf, Arsalan" userId="1f742cd1-60f2-4cc5-8102-e09412e517e3" providerId="ADAL" clId="{15464559-230C-484E-9C98-D7B9D3FDBA96}" dt="2024-01-11T11:12:17.943" v="601" actId="1035"/>
          <ac:spMkLst>
            <pc:docMk/>
            <pc:sldMk cId="1218059526" sldId="2147479547"/>
            <ac:spMk id="507" creationId="{5AF20D34-E69C-BE10-C2F0-0D22A0A52F88}"/>
          </ac:spMkLst>
        </pc:spChg>
        <pc:spChg chg="mod">
          <ac:chgData name="Yousuf, Arsalan" userId="1f742cd1-60f2-4cc5-8102-e09412e517e3" providerId="ADAL" clId="{15464559-230C-484E-9C98-D7B9D3FDBA96}" dt="2024-01-11T11:12:17.943" v="601" actId="1035"/>
          <ac:spMkLst>
            <pc:docMk/>
            <pc:sldMk cId="1218059526" sldId="2147479547"/>
            <ac:spMk id="509" creationId="{6F0B436E-F1E3-C994-8EF0-2AC2C7D24498}"/>
          </ac:spMkLst>
        </pc:spChg>
        <pc:spChg chg="mod">
          <ac:chgData name="Yousuf, Arsalan" userId="1f742cd1-60f2-4cc5-8102-e09412e517e3" providerId="ADAL" clId="{15464559-230C-484E-9C98-D7B9D3FDBA96}" dt="2024-01-11T11:12:17.943" v="601" actId="1035"/>
          <ac:spMkLst>
            <pc:docMk/>
            <pc:sldMk cId="1218059526" sldId="2147479547"/>
            <ac:spMk id="510" creationId="{65F905FD-DAF3-BCA1-4CCC-13A283011C0B}"/>
          </ac:spMkLst>
        </pc:spChg>
        <pc:spChg chg="mod">
          <ac:chgData name="Yousuf, Arsalan" userId="1f742cd1-60f2-4cc5-8102-e09412e517e3" providerId="ADAL" clId="{15464559-230C-484E-9C98-D7B9D3FDBA96}" dt="2024-01-11T11:12:17.943" v="601" actId="1035"/>
          <ac:spMkLst>
            <pc:docMk/>
            <pc:sldMk cId="1218059526" sldId="2147479547"/>
            <ac:spMk id="511" creationId="{D6FAF2F4-FC9B-9FA1-5F34-7EE565437063}"/>
          </ac:spMkLst>
        </pc:spChg>
        <pc:grpChg chg="add mod">
          <ac:chgData name="Yousuf, Arsalan" userId="1f742cd1-60f2-4cc5-8102-e09412e517e3" providerId="ADAL" clId="{15464559-230C-484E-9C98-D7B9D3FDBA96}" dt="2024-01-11T11:12:17.943" v="601" actId="1035"/>
          <ac:grpSpMkLst>
            <pc:docMk/>
            <pc:sldMk cId="1218059526" sldId="2147479547"/>
            <ac:grpSpMk id="2" creationId="{99672ED4-D8CF-8CB5-8995-E66D525577B4}"/>
          </ac:grpSpMkLst>
        </pc:grpChg>
        <pc:grpChg chg="mod">
          <ac:chgData name="Yousuf, Arsalan" userId="1f742cd1-60f2-4cc5-8102-e09412e517e3" providerId="ADAL" clId="{15464559-230C-484E-9C98-D7B9D3FDBA96}" dt="2024-01-11T11:12:17.943" v="601" actId="1035"/>
          <ac:grpSpMkLst>
            <pc:docMk/>
            <pc:sldMk cId="1218059526" sldId="2147479547"/>
            <ac:grpSpMk id="42" creationId="{C78440E1-43F3-6456-D2C6-FB17FB6A82D6}"/>
          </ac:grpSpMkLst>
        </pc:grpChg>
        <pc:grpChg chg="mod">
          <ac:chgData name="Yousuf, Arsalan" userId="1f742cd1-60f2-4cc5-8102-e09412e517e3" providerId="ADAL" clId="{15464559-230C-484E-9C98-D7B9D3FDBA96}" dt="2024-01-11T11:12:17.943" v="601" actId="1035"/>
          <ac:grpSpMkLst>
            <pc:docMk/>
            <pc:sldMk cId="1218059526" sldId="2147479547"/>
            <ac:grpSpMk id="44" creationId="{554DB754-13C9-802A-68EA-CEBEC31DB09A}"/>
          </ac:grpSpMkLst>
        </pc:grpChg>
        <pc:grpChg chg="mod">
          <ac:chgData name="Yousuf, Arsalan" userId="1f742cd1-60f2-4cc5-8102-e09412e517e3" providerId="ADAL" clId="{15464559-230C-484E-9C98-D7B9D3FDBA96}" dt="2024-01-11T11:12:17.943" v="601" actId="1035"/>
          <ac:grpSpMkLst>
            <pc:docMk/>
            <pc:sldMk cId="1218059526" sldId="2147479547"/>
            <ac:grpSpMk id="48" creationId="{AAC1933B-ECB2-C48D-E28D-42B8C38BC8CB}"/>
          </ac:grpSpMkLst>
        </pc:grpChg>
        <pc:grpChg chg="mod">
          <ac:chgData name="Yousuf, Arsalan" userId="1f742cd1-60f2-4cc5-8102-e09412e517e3" providerId="ADAL" clId="{15464559-230C-484E-9C98-D7B9D3FDBA96}" dt="2024-01-11T11:12:17.943" v="601" actId="1035"/>
          <ac:grpSpMkLst>
            <pc:docMk/>
            <pc:sldMk cId="1218059526" sldId="2147479547"/>
            <ac:grpSpMk id="50" creationId="{A7C4394C-609F-BD61-12A1-BD5DE7833F07}"/>
          </ac:grpSpMkLst>
        </pc:grpChg>
        <pc:grpChg chg="mod">
          <ac:chgData name="Yousuf, Arsalan" userId="1f742cd1-60f2-4cc5-8102-e09412e517e3" providerId="ADAL" clId="{15464559-230C-484E-9C98-D7B9D3FDBA96}" dt="2024-01-11T11:12:17.943" v="601" actId="1035"/>
          <ac:grpSpMkLst>
            <pc:docMk/>
            <pc:sldMk cId="1218059526" sldId="2147479547"/>
            <ac:grpSpMk id="53" creationId="{E5259E88-8957-F3FF-BEFB-9883799D0404}"/>
          </ac:grpSpMkLst>
        </pc:grpChg>
        <pc:grpChg chg="mod">
          <ac:chgData name="Yousuf, Arsalan" userId="1f742cd1-60f2-4cc5-8102-e09412e517e3" providerId="ADAL" clId="{15464559-230C-484E-9C98-D7B9D3FDBA96}" dt="2024-01-11T11:12:17.943" v="601" actId="1035"/>
          <ac:grpSpMkLst>
            <pc:docMk/>
            <pc:sldMk cId="1218059526" sldId="2147479547"/>
            <ac:grpSpMk id="58" creationId="{D01B58F9-BCB6-79E6-EBA8-52E3822509BC}"/>
          </ac:grpSpMkLst>
        </pc:grpChg>
        <pc:grpChg chg="mod">
          <ac:chgData name="Yousuf, Arsalan" userId="1f742cd1-60f2-4cc5-8102-e09412e517e3" providerId="ADAL" clId="{15464559-230C-484E-9C98-D7B9D3FDBA96}" dt="2024-01-11T11:12:17.943" v="601" actId="1035"/>
          <ac:grpSpMkLst>
            <pc:docMk/>
            <pc:sldMk cId="1218059526" sldId="2147479547"/>
            <ac:grpSpMk id="61" creationId="{82FCF2E9-5230-9E09-47B0-49772A5FADA8}"/>
          </ac:grpSpMkLst>
        </pc:grpChg>
        <pc:grpChg chg="mod">
          <ac:chgData name="Yousuf, Arsalan" userId="1f742cd1-60f2-4cc5-8102-e09412e517e3" providerId="ADAL" clId="{15464559-230C-484E-9C98-D7B9D3FDBA96}" dt="2024-01-11T11:12:17.943" v="601" actId="1035"/>
          <ac:grpSpMkLst>
            <pc:docMk/>
            <pc:sldMk cId="1218059526" sldId="2147479547"/>
            <ac:grpSpMk id="64" creationId="{37BB78CB-55A2-65E9-8FCB-CD19F21238A6}"/>
          </ac:grpSpMkLst>
        </pc:grpChg>
        <pc:grpChg chg="mod">
          <ac:chgData name="Yousuf, Arsalan" userId="1f742cd1-60f2-4cc5-8102-e09412e517e3" providerId="ADAL" clId="{15464559-230C-484E-9C98-D7B9D3FDBA96}" dt="2024-01-11T11:12:17.943" v="601" actId="1035"/>
          <ac:grpSpMkLst>
            <pc:docMk/>
            <pc:sldMk cId="1218059526" sldId="2147479547"/>
            <ac:grpSpMk id="67" creationId="{78E1C241-399E-F2D0-87BD-4AA3C2125F6F}"/>
          </ac:grpSpMkLst>
        </pc:grpChg>
        <pc:grpChg chg="mod">
          <ac:chgData name="Yousuf, Arsalan" userId="1f742cd1-60f2-4cc5-8102-e09412e517e3" providerId="ADAL" clId="{15464559-230C-484E-9C98-D7B9D3FDBA96}" dt="2024-01-11T11:12:17.943" v="601" actId="1035"/>
          <ac:grpSpMkLst>
            <pc:docMk/>
            <pc:sldMk cId="1218059526" sldId="2147479547"/>
            <ac:grpSpMk id="456" creationId="{BED901E3-E7F5-BC1B-1DAE-339CA81CA31E}"/>
          </ac:grpSpMkLst>
        </pc:grpChg>
        <pc:grpChg chg="mod">
          <ac:chgData name="Yousuf, Arsalan" userId="1f742cd1-60f2-4cc5-8102-e09412e517e3" providerId="ADAL" clId="{15464559-230C-484E-9C98-D7B9D3FDBA96}" dt="2024-01-11T11:12:17.943" v="601" actId="1035"/>
          <ac:grpSpMkLst>
            <pc:docMk/>
            <pc:sldMk cId="1218059526" sldId="2147479547"/>
            <ac:grpSpMk id="459" creationId="{0CFC0D1C-A496-9C5A-63BC-34D4B98AE9E4}"/>
          </ac:grpSpMkLst>
        </pc:grpChg>
        <pc:grpChg chg="mod">
          <ac:chgData name="Yousuf, Arsalan" userId="1f742cd1-60f2-4cc5-8102-e09412e517e3" providerId="ADAL" clId="{15464559-230C-484E-9C98-D7B9D3FDBA96}" dt="2024-01-11T11:12:17.943" v="601" actId="1035"/>
          <ac:grpSpMkLst>
            <pc:docMk/>
            <pc:sldMk cId="1218059526" sldId="2147479547"/>
            <ac:grpSpMk id="463" creationId="{56926467-A1F0-9575-5F4D-E78460C65997}"/>
          </ac:grpSpMkLst>
        </pc:grpChg>
        <pc:grpChg chg="mod">
          <ac:chgData name="Yousuf, Arsalan" userId="1f742cd1-60f2-4cc5-8102-e09412e517e3" providerId="ADAL" clId="{15464559-230C-484E-9C98-D7B9D3FDBA96}" dt="2024-01-11T11:12:17.943" v="601" actId="1035"/>
          <ac:grpSpMkLst>
            <pc:docMk/>
            <pc:sldMk cId="1218059526" sldId="2147479547"/>
            <ac:grpSpMk id="466" creationId="{B6DBD3AF-3F30-1936-D829-E23DD80D31FD}"/>
          </ac:grpSpMkLst>
        </pc:grpChg>
        <pc:grpChg chg="mod">
          <ac:chgData name="Yousuf, Arsalan" userId="1f742cd1-60f2-4cc5-8102-e09412e517e3" providerId="ADAL" clId="{15464559-230C-484E-9C98-D7B9D3FDBA96}" dt="2024-01-11T11:12:17.943" v="601" actId="1035"/>
          <ac:grpSpMkLst>
            <pc:docMk/>
            <pc:sldMk cId="1218059526" sldId="2147479547"/>
            <ac:grpSpMk id="470" creationId="{1E6E2BAE-0072-0DC9-F12A-4D9EDDDB877C}"/>
          </ac:grpSpMkLst>
        </pc:grpChg>
        <pc:grpChg chg="mod">
          <ac:chgData name="Yousuf, Arsalan" userId="1f742cd1-60f2-4cc5-8102-e09412e517e3" providerId="ADAL" clId="{15464559-230C-484E-9C98-D7B9D3FDBA96}" dt="2024-01-11T11:12:17.943" v="601" actId="1035"/>
          <ac:grpSpMkLst>
            <pc:docMk/>
            <pc:sldMk cId="1218059526" sldId="2147479547"/>
            <ac:grpSpMk id="473" creationId="{03B54A80-6972-7C4C-1A63-D0A05BC7C32D}"/>
          </ac:grpSpMkLst>
        </pc:grpChg>
        <pc:grpChg chg="mod">
          <ac:chgData name="Yousuf, Arsalan" userId="1f742cd1-60f2-4cc5-8102-e09412e517e3" providerId="ADAL" clId="{15464559-230C-484E-9C98-D7B9D3FDBA96}" dt="2024-01-11T11:12:17.943" v="601" actId="1035"/>
          <ac:grpSpMkLst>
            <pc:docMk/>
            <pc:sldMk cId="1218059526" sldId="2147479547"/>
            <ac:grpSpMk id="477" creationId="{71A8721D-77FA-F822-EC13-91DF48E3BE0C}"/>
          </ac:grpSpMkLst>
        </pc:grpChg>
        <pc:grpChg chg="mod">
          <ac:chgData name="Yousuf, Arsalan" userId="1f742cd1-60f2-4cc5-8102-e09412e517e3" providerId="ADAL" clId="{15464559-230C-484E-9C98-D7B9D3FDBA96}" dt="2024-01-11T11:12:17.943" v="601" actId="1035"/>
          <ac:grpSpMkLst>
            <pc:docMk/>
            <pc:sldMk cId="1218059526" sldId="2147479547"/>
            <ac:grpSpMk id="480" creationId="{7988C998-F07F-78DD-7DAE-11EA86A60E45}"/>
          </ac:grpSpMkLst>
        </pc:grpChg>
        <pc:grpChg chg="mod">
          <ac:chgData name="Yousuf, Arsalan" userId="1f742cd1-60f2-4cc5-8102-e09412e517e3" providerId="ADAL" clId="{15464559-230C-484E-9C98-D7B9D3FDBA96}" dt="2024-01-11T11:12:17.943" v="601" actId="1035"/>
          <ac:grpSpMkLst>
            <pc:docMk/>
            <pc:sldMk cId="1218059526" sldId="2147479547"/>
            <ac:grpSpMk id="484" creationId="{4523E3D3-8ED0-8DC3-58EB-B446D84A650D}"/>
          </ac:grpSpMkLst>
        </pc:grpChg>
        <pc:grpChg chg="mod">
          <ac:chgData name="Yousuf, Arsalan" userId="1f742cd1-60f2-4cc5-8102-e09412e517e3" providerId="ADAL" clId="{15464559-230C-484E-9C98-D7B9D3FDBA96}" dt="2024-01-11T11:12:17.943" v="601" actId="1035"/>
          <ac:grpSpMkLst>
            <pc:docMk/>
            <pc:sldMk cId="1218059526" sldId="2147479547"/>
            <ac:grpSpMk id="487" creationId="{159EA030-A319-4F90-4E4F-396BBFCB8DEB}"/>
          </ac:grpSpMkLst>
        </pc:grpChg>
        <pc:grpChg chg="mod">
          <ac:chgData name="Yousuf, Arsalan" userId="1f742cd1-60f2-4cc5-8102-e09412e517e3" providerId="ADAL" clId="{15464559-230C-484E-9C98-D7B9D3FDBA96}" dt="2024-01-11T11:12:17.943" v="601" actId="1035"/>
          <ac:grpSpMkLst>
            <pc:docMk/>
            <pc:sldMk cId="1218059526" sldId="2147479547"/>
            <ac:grpSpMk id="492" creationId="{D2C6DE31-8AB8-23BB-FAA3-2D96C8FFD426}"/>
          </ac:grpSpMkLst>
        </pc:grpChg>
        <pc:grpChg chg="mod">
          <ac:chgData name="Yousuf, Arsalan" userId="1f742cd1-60f2-4cc5-8102-e09412e517e3" providerId="ADAL" clId="{15464559-230C-484E-9C98-D7B9D3FDBA96}" dt="2024-01-11T11:12:17.943" v="601" actId="1035"/>
          <ac:grpSpMkLst>
            <pc:docMk/>
            <pc:sldMk cId="1218059526" sldId="2147479547"/>
            <ac:grpSpMk id="494" creationId="{4DDB7972-1EAE-CA62-8A82-24AAA25DD1D1}"/>
          </ac:grpSpMkLst>
        </pc:grpChg>
        <pc:grpChg chg="mod">
          <ac:chgData name="Yousuf, Arsalan" userId="1f742cd1-60f2-4cc5-8102-e09412e517e3" providerId="ADAL" clId="{15464559-230C-484E-9C98-D7B9D3FDBA96}" dt="2024-01-11T11:12:17.943" v="601" actId="1035"/>
          <ac:grpSpMkLst>
            <pc:docMk/>
            <pc:sldMk cId="1218059526" sldId="2147479547"/>
            <ac:grpSpMk id="498" creationId="{44C14E94-46A2-2868-F2F9-B11AF79F4EE1}"/>
          </ac:grpSpMkLst>
        </pc:grpChg>
        <pc:grpChg chg="mod">
          <ac:chgData name="Yousuf, Arsalan" userId="1f742cd1-60f2-4cc5-8102-e09412e517e3" providerId="ADAL" clId="{15464559-230C-484E-9C98-D7B9D3FDBA96}" dt="2024-01-11T11:12:17.943" v="601" actId="1035"/>
          <ac:grpSpMkLst>
            <pc:docMk/>
            <pc:sldMk cId="1218059526" sldId="2147479547"/>
            <ac:grpSpMk id="501" creationId="{F71E7B35-27E8-1920-BE09-1DC1838800BC}"/>
          </ac:grpSpMkLst>
        </pc:grpChg>
        <pc:grpChg chg="mod">
          <ac:chgData name="Yousuf, Arsalan" userId="1f742cd1-60f2-4cc5-8102-e09412e517e3" providerId="ADAL" clId="{15464559-230C-484E-9C98-D7B9D3FDBA96}" dt="2024-01-11T11:12:17.943" v="601" actId="1035"/>
          <ac:grpSpMkLst>
            <pc:docMk/>
            <pc:sldMk cId="1218059526" sldId="2147479547"/>
            <ac:grpSpMk id="505" creationId="{74810D33-0356-80E1-6E9D-175DE76419D8}"/>
          </ac:grpSpMkLst>
        </pc:grpChg>
        <pc:grpChg chg="mod">
          <ac:chgData name="Yousuf, Arsalan" userId="1f742cd1-60f2-4cc5-8102-e09412e517e3" providerId="ADAL" clId="{15464559-230C-484E-9C98-D7B9D3FDBA96}" dt="2024-01-11T11:12:17.943" v="601" actId="1035"/>
          <ac:grpSpMkLst>
            <pc:docMk/>
            <pc:sldMk cId="1218059526" sldId="2147479547"/>
            <ac:grpSpMk id="508" creationId="{E0BF4461-FA9D-EADD-249E-5887C412901B}"/>
          </ac:grpSpMkLst>
        </pc:grpChg>
      </pc:sldChg>
      <pc:sldChg chg="addSp delSp modSp mod">
        <pc:chgData name="Yousuf, Arsalan" userId="1f742cd1-60f2-4cc5-8102-e09412e517e3" providerId="ADAL" clId="{15464559-230C-484E-9C98-D7B9D3FDBA96}" dt="2024-01-11T15:36:21.131" v="5087" actId="478"/>
        <pc:sldMkLst>
          <pc:docMk/>
          <pc:sldMk cId="963063207" sldId="2147479551"/>
        </pc:sldMkLst>
        <pc:spChg chg="mod">
          <ac:chgData name="Yousuf, Arsalan" userId="1f742cd1-60f2-4cc5-8102-e09412e517e3" providerId="ADAL" clId="{15464559-230C-484E-9C98-D7B9D3FDBA96}" dt="2024-01-11T13:06:43.953" v="1342" actId="2711"/>
          <ac:spMkLst>
            <pc:docMk/>
            <pc:sldMk cId="963063207" sldId="2147479551"/>
            <ac:spMk id="3" creationId="{3D932C54-6D45-0E8E-10D4-CD5BF0E3CB83}"/>
          </ac:spMkLst>
        </pc:spChg>
        <pc:spChg chg="mod">
          <ac:chgData name="Yousuf, Arsalan" userId="1f742cd1-60f2-4cc5-8102-e09412e517e3" providerId="ADAL" clId="{15464559-230C-484E-9C98-D7B9D3FDBA96}" dt="2024-01-11T13:06:43.953" v="1342" actId="2711"/>
          <ac:spMkLst>
            <pc:docMk/>
            <pc:sldMk cId="963063207" sldId="2147479551"/>
            <ac:spMk id="4" creationId="{A62E2CBC-340D-21E9-BD82-051721A11E2B}"/>
          </ac:spMkLst>
        </pc:spChg>
        <pc:spChg chg="mod">
          <ac:chgData name="Yousuf, Arsalan" userId="1f742cd1-60f2-4cc5-8102-e09412e517e3" providerId="ADAL" clId="{15464559-230C-484E-9C98-D7B9D3FDBA96}" dt="2024-01-11T13:06:43.953" v="1342" actId="2711"/>
          <ac:spMkLst>
            <pc:docMk/>
            <pc:sldMk cId="963063207" sldId="2147479551"/>
            <ac:spMk id="6" creationId="{1827F025-8FE9-8D9E-B33D-B13E41310417}"/>
          </ac:spMkLst>
        </pc:spChg>
        <pc:spChg chg="mod">
          <ac:chgData name="Yousuf, Arsalan" userId="1f742cd1-60f2-4cc5-8102-e09412e517e3" providerId="ADAL" clId="{15464559-230C-484E-9C98-D7B9D3FDBA96}" dt="2024-01-11T13:06:43.953" v="1342" actId="2711"/>
          <ac:spMkLst>
            <pc:docMk/>
            <pc:sldMk cId="963063207" sldId="2147479551"/>
            <ac:spMk id="7" creationId="{AC80C594-E5C3-9DE5-A28D-D7C24195ED16}"/>
          </ac:spMkLst>
        </pc:spChg>
        <pc:spChg chg="add del">
          <ac:chgData name="Yousuf, Arsalan" userId="1f742cd1-60f2-4cc5-8102-e09412e517e3" providerId="ADAL" clId="{15464559-230C-484E-9C98-D7B9D3FDBA96}" dt="2024-01-11T15:36:21.131" v="5087" actId="478"/>
          <ac:spMkLst>
            <pc:docMk/>
            <pc:sldMk cId="963063207" sldId="2147479551"/>
            <ac:spMk id="9" creationId="{4CAF0C7A-0327-89A4-9F34-083148FDEF3D}"/>
          </ac:spMkLst>
        </pc:spChg>
        <pc:spChg chg="add del mod">
          <ac:chgData name="Yousuf, Arsalan" userId="1f742cd1-60f2-4cc5-8102-e09412e517e3" providerId="ADAL" clId="{15464559-230C-484E-9C98-D7B9D3FDBA96}" dt="2024-01-11T15:36:21.131" v="5087" actId="478"/>
          <ac:spMkLst>
            <pc:docMk/>
            <pc:sldMk cId="963063207" sldId="2147479551"/>
            <ac:spMk id="10" creationId="{9C1BEBBF-F219-734B-948E-24A064F6C53E}"/>
          </ac:spMkLst>
        </pc:spChg>
        <pc:spChg chg="add del">
          <ac:chgData name="Yousuf, Arsalan" userId="1f742cd1-60f2-4cc5-8102-e09412e517e3" providerId="ADAL" clId="{15464559-230C-484E-9C98-D7B9D3FDBA96}" dt="2024-01-11T15:36:21.131" v="5087" actId="478"/>
          <ac:spMkLst>
            <pc:docMk/>
            <pc:sldMk cId="963063207" sldId="2147479551"/>
            <ac:spMk id="11" creationId="{0062BBDF-BBC3-0270-113C-9FC5448CF429}"/>
          </ac:spMkLst>
        </pc:spChg>
        <pc:spChg chg="add del">
          <ac:chgData name="Yousuf, Arsalan" userId="1f742cd1-60f2-4cc5-8102-e09412e517e3" providerId="ADAL" clId="{15464559-230C-484E-9C98-D7B9D3FDBA96}" dt="2024-01-11T15:36:21.131" v="5087" actId="478"/>
          <ac:spMkLst>
            <pc:docMk/>
            <pc:sldMk cId="963063207" sldId="2147479551"/>
            <ac:spMk id="12" creationId="{70E5E09C-577D-A003-5DA6-9693A9A55BD6}"/>
          </ac:spMkLst>
        </pc:spChg>
        <pc:spChg chg="add del mod">
          <ac:chgData name="Yousuf, Arsalan" userId="1f742cd1-60f2-4cc5-8102-e09412e517e3" providerId="ADAL" clId="{15464559-230C-484E-9C98-D7B9D3FDBA96}" dt="2024-01-11T15:36:21.131" v="5087" actId="478"/>
          <ac:spMkLst>
            <pc:docMk/>
            <pc:sldMk cId="963063207" sldId="2147479551"/>
            <ac:spMk id="13" creationId="{53881B7D-9080-6C2D-346C-5E2C0DE9EC7A}"/>
          </ac:spMkLst>
        </pc:spChg>
        <pc:spChg chg="add del mod">
          <ac:chgData name="Yousuf, Arsalan" userId="1f742cd1-60f2-4cc5-8102-e09412e517e3" providerId="ADAL" clId="{15464559-230C-484E-9C98-D7B9D3FDBA96}" dt="2024-01-11T15:36:21.131" v="5087" actId="478"/>
          <ac:spMkLst>
            <pc:docMk/>
            <pc:sldMk cId="963063207" sldId="2147479551"/>
            <ac:spMk id="17" creationId="{7E4F4373-FC22-E6F0-8E52-F7AB326AEA80}"/>
          </ac:spMkLst>
        </pc:spChg>
        <pc:spChg chg="mod">
          <ac:chgData name="Yousuf, Arsalan" userId="1f742cd1-60f2-4cc5-8102-e09412e517e3" providerId="ADAL" clId="{15464559-230C-484E-9C98-D7B9D3FDBA96}" dt="2024-01-11T13:06:43.953" v="1342" actId="2711"/>
          <ac:spMkLst>
            <pc:docMk/>
            <pc:sldMk cId="963063207" sldId="2147479551"/>
            <ac:spMk id="18" creationId="{84D4BD23-9F91-713C-2860-2FB7111058A0}"/>
          </ac:spMkLst>
        </pc:spChg>
        <pc:spChg chg="mod">
          <ac:chgData name="Yousuf, Arsalan" userId="1f742cd1-60f2-4cc5-8102-e09412e517e3" providerId="ADAL" clId="{15464559-230C-484E-9C98-D7B9D3FDBA96}" dt="2024-01-11T13:06:43.953" v="1342" actId="2711"/>
          <ac:spMkLst>
            <pc:docMk/>
            <pc:sldMk cId="963063207" sldId="2147479551"/>
            <ac:spMk id="19" creationId="{6EA2233B-1AE2-79A3-3AFA-638F58548468}"/>
          </ac:spMkLst>
        </pc:spChg>
        <pc:spChg chg="add del mod topLvl">
          <ac:chgData name="Yousuf, Arsalan" userId="1f742cd1-60f2-4cc5-8102-e09412e517e3" providerId="ADAL" clId="{15464559-230C-484E-9C98-D7B9D3FDBA96}" dt="2024-01-11T15:36:21.131" v="5087" actId="478"/>
          <ac:spMkLst>
            <pc:docMk/>
            <pc:sldMk cId="963063207" sldId="2147479551"/>
            <ac:spMk id="21" creationId="{AECFE85C-6B00-CC95-86AA-FFCFBEF60451}"/>
          </ac:spMkLst>
        </pc:spChg>
        <pc:spChg chg="del mod topLvl">
          <ac:chgData name="Yousuf, Arsalan" userId="1f742cd1-60f2-4cc5-8102-e09412e517e3" providerId="ADAL" clId="{15464559-230C-484E-9C98-D7B9D3FDBA96}" dt="2024-01-11T12:47:47.783" v="1006" actId="478"/>
          <ac:spMkLst>
            <pc:docMk/>
            <pc:sldMk cId="963063207" sldId="2147479551"/>
            <ac:spMk id="22" creationId="{80C5BA98-2FB9-5039-76B8-E78336F229E0}"/>
          </ac:spMkLst>
        </pc:spChg>
        <pc:spChg chg="add del mod">
          <ac:chgData name="Yousuf, Arsalan" userId="1f742cd1-60f2-4cc5-8102-e09412e517e3" providerId="ADAL" clId="{15464559-230C-484E-9C98-D7B9D3FDBA96}" dt="2024-01-11T15:36:21.131" v="5087" actId="478"/>
          <ac:spMkLst>
            <pc:docMk/>
            <pc:sldMk cId="963063207" sldId="2147479551"/>
            <ac:spMk id="23" creationId="{AFDA9751-69E3-091A-9D32-6555CB329ADA}"/>
          </ac:spMkLst>
        </pc:spChg>
        <pc:spChg chg="add del mod">
          <ac:chgData name="Yousuf, Arsalan" userId="1f742cd1-60f2-4cc5-8102-e09412e517e3" providerId="ADAL" clId="{15464559-230C-484E-9C98-D7B9D3FDBA96}" dt="2024-01-11T15:36:21.131" v="5087" actId="478"/>
          <ac:spMkLst>
            <pc:docMk/>
            <pc:sldMk cId="963063207" sldId="2147479551"/>
            <ac:spMk id="24" creationId="{56EDF2F9-6048-0F31-B11D-098F6251AFDF}"/>
          </ac:spMkLst>
        </pc:spChg>
        <pc:spChg chg="add mod">
          <ac:chgData name="Yousuf, Arsalan" userId="1f742cd1-60f2-4cc5-8102-e09412e517e3" providerId="ADAL" clId="{15464559-230C-484E-9C98-D7B9D3FDBA96}" dt="2024-01-11T12:53:56.932" v="1062"/>
          <ac:spMkLst>
            <pc:docMk/>
            <pc:sldMk cId="963063207" sldId="2147479551"/>
            <ac:spMk id="25" creationId="{3EF3AEC8-DA55-7A0B-21A8-98EA16B10F73}"/>
          </ac:spMkLst>
        </pc:spChg>
        <pc:spChg chg="add del mod">
          <ac:chgData name="Yousuf, Arsalan" userId="1f742cd1-60f2-4cc5-8102-e09412e517e3" providerId="ADAL" clId="{15464559-230C-484E-9C98-D7B9D3FDBA96}" dt="2024-01-11T15:36:21.131" v="5087" actId="478"/>
          <ac:spMkLst>
            <pc:docMk/>
            <pc:sldMk cId="963063207" sldId="2147479551"/>
            <ac:spMk id="30" creationId="{5CEC9C43-6864-4837-A2EF-7BE245B08955}"/>
          </ac:spMkLst>
        </pc:spChg>
        <pc:spChg chg="mod">
          <ac:chgData name="Yousuf, Arsalan" userId="1f742cd1-60f2-4cc5-8102-e09412e517e3" providerId="ADAL" clId="{15464559-230C-484E-9C98-D7B9D3FDBA96}" dt="2024-01-11T13:08:30.804" v="1372" actId="20577"/>
          <ac:spMkLst>
            <pc:docMk/>
            <pc:sldMk cId="963063207" sldId="2147479551"/>
            <ac:spMk id="31" creationId="{EB336CB1-F0AF-00B0-D7E1-DFC95C0695C1}"/>
          </ac:spMkLst>
        </pc:spChg>
        <pc:spChg chg="mod">
          <ac:chgData name="Yousuf, Arsalan" userId="1f742cd1-60f2-4cc5-8102-e09412e517e3" providerId="ADAL" clId="{15464559-230C-484E-9C98-D7B9D3FDBA96}" dt="2024-01-11T13:06:43.953" v="1342" actId="2711"/>
          <ac:spMkLst>
            <pc:docMk/>
            <pc:sldMk cId="963063207" sldId="2147479551"/>
            <ac:spMk id="32" creationId="{DF40F458-E87C-8608-FDC4-85E6BD85ADDE}"/>
          </ac:spMkLst>
        </pc:spChg>
        <pc:spChg chg="mod">
          <ac:chgData name="Yousuf, Arsalan" userId="1f742cd1-60f2-4cc5-8102-e09412e517e3" providerId="ADAL" clId="{15464559-230C-484E-9C98-D7B9D3FDBA96}" dt="2024-01-11T13:06:43.953" v="1342" actId="2711"/>
          <ac:spMkLst>
            <pc:docMk/>
            <pc:sldMk cId="963063207" sldId="2147479551"/>
            <ac:spMk id="34" creationId="{4D62FD28-571E-CB2C-B195-7BA2E02A9D6F}"/>
          </ac:spMkLst>
        </pc:spChg>
        <pc:spChg chg="mod">
          <ac:chgData name="Yousuf, Arsalan" userId="1f742cd1-60f2-4cc5-8102-e09412e517e3" providerId="ADAL" clId="{15464559-230C-484E-9C98-D7B9D3FDBA96}" dt="2024-01-11T13:06:43.953" v="1342" actId="2711"/>
          <ac:spMkLst>
            <pc:docMk/>
            <pc:sldMk cId="963063207" sldId="2147479551"/>
            <ac:spMk id="35" creationId="{0DB803F1-C1B9-F40A-F6E6-0C16EBBF01A4}"/>
          </ac:spMkLst>
        </pc:spChg>
        <pc:spChg chg="mod">
          <ac:chgData name="Yousuf, Arsalan" userId="1f742cd1-60f2-4cc5-8102-e09412e517e3" providerId="ADAL" clId="{15464559-230C-484E-9C98-D7B9D3FDBA96}" dt="2024-01-11T13:06:43.953" v="1342" actId="2711"/>
          <ac:spMkLst>
            <pc:docMk/>
            <pc:sldMk cId="963063207" sldId="2147479551"/>
            <ac:spMk id="37" creationId="{F37D77EF-4DB8-F167-B83B-E52FD757D243}"/>
          </ac:spMkLst>
        </pc:spChg>
        <pc:spChg chg="mod">
          <ac:chgData name="Yousuf, Arsalan" userId="1f742cd1-60f2-4cc5-8102-e09412e517e3" providerId="ADAL" clId="{15464559-230C-484E-9C98-D7B9D3FDBA96}" dt="2024-01-11T13:06:43.953" v="1342" actId="2711"/>
          <ac:spMkLst>
            <pc:docMk/>
            <pc:sldMk cId="963063207" sldId="2147479551"/>
            <ac:spMk id="38" creationId="{AE23089C-AEC8-230D-A6DB-E8F9269FEBCD}"/>
          </ac:spMkLst>
        </pc:spChg>
        <pc:spChg chg="mod">
          <ac:chgData name="Yousuf, Arsalan" userId="1f742cd1-60f2-4cc5-8102-e09412e517e3" providerId="ADAL" clId="{15464559-230C-484E-9C98-D7B9D3FDBA96}" dt="2024-01-11T11:15:40.317" v="759" actId="2711"/>
          <ac:spMkLst>
            <pc:docMk/>
            <pc:sldMk cId="963063207" sldId="2147479551"/>
            <ac:spMk id="88" creationId="{7F7F099B-8F9F-1FE1-69A9-C32C6EDCBC1D}"/>
          </ac:spMkLst>
        </pc:spChg>
        <pc:spChg chg="del mod">
          <ac:chgData name="Yousuf, Arsalan" userId="1f742cd1-60f2-4cc5-8102-e09412e517e3" providerId="ADAL" clId="{15464559-230C-484E-9C98-D7B9D3FDBA96}" dt="2024-01-11T12:53:56.096" v="1061" actId="478"/>
          <ac:spMkLst>
            <pc:docMk/>
            <pc:sldMk cId="963063207" sldId="2147479551"/>
            <ac:spMk id="89" creationId="{0177CC97-1339-5FBC-CD7C-6B0DAB826951}"/>
          </ac:spMkLst>
        </pc:spChg>
        <pc:grpChg chg="add del mod">
          <ac:chgData name="Yousuf, Arsalan" userId="1f742cd1-60f2-4cc5-8102-e09412e517e3" providerId="ADAL" clId="{15464559-230C-484E-9C98-D7B9D3FDBA96}" dt="2024-01-11T15:36:21.131" v="5087" actId="478"/>
          <ac:grpSpMkLst>
            <pc:docMk/>
            <pc:sldMk cId="963063207" sldId="2147479551"/>
            <ac:grpSpMk id="2" creationId="{1881503D-E34A-C66F-0A4A-2ADB1DDBC7A1}"/>
          </ac:grpSpMkLst>
        </pc:grpChg>
        <pc:grpChg chg="add del">
          <ac:chgData name="Yousuf, Arsalan" userId="1f742cd1-60f2-4cc5-8102-e09412e517e3" providerId="ADAL" clId="{15464559-230C-484E-9C98-D7B9D3FDBA96}" dt="2024-01-11T15:36:21.131" v="5087" actId="478"/>
          <ac:grpSpMkLst>
            <pc:docMk/>
            <pc:sldMk cId="963063207" sldId="2147479551"/>
            <ac:grpSpMk id="5" creationId="{D8BFACE2-40C2-0356-A658-CA56AC21B718}"/>
          </ac:grpSpMkLst>
        </pc:grpChg>
        <pc:grpChg chg="add del mod">
          <ac:chgData name="Yousuf, Arsalan" userId="1f742cd1-60f2-4cc5-8102-e09412e517e3" providerId="ADAL" clId="{15464559-230C-484E-9C98-D7B9D3FDBA96}" dt="2024-01-11T15:36:21.131" v="5087" actId="478"/>
          <ac:grpSpMkLst>
            <pc:docMk/>
            <pc:sldMk cId="963063207" sldId="2147479551"/>
            <ac:grpSpMk id="8" creationId="{4DE3465D-8970-BC97-00A5-B69C2D76728E}"/>
          </ac:grpSpMkLst>
        </pc:grpChg>
        <pc:grpChg chg="del">
          <ac:chgData name="Yousuf, Arsalan" userId="1f742cd1-60f2-4cc5-8102-e09412e517e3" providerId="ADAL" clId="{15464559-230C-484E-9C98-D7B9D3FDBA96}" dt="2024-01-11T12:47:37.263" v="994" actId="478"/>
          <ac:grpSpMkLst>
            <pc:docMk/>
            <pc:sldMk cId="963063207" sldId="2147479551"/>
            <ac:grpSpMk id="14" creationId="{A96D97B9-DAB5-B812-D1E6-0D4A3E7F85D0}"/>
          </ac:grpSpMkLst>
        </pc:grpChg>
        <pc:grpChg chg="add del mod">
          <ac:chgData name="Yousuf, Arsalan" userId="1f742cd1-60f2-4cc5-8102-e09412e517e3" providerId="ADAL" clId="{15464559-230C-484E-9C98-D7B9D3FDBA96}" dt="2024-01-11T12:47:47.783" v="1006" actId="478"/>
          <ac:grpSpMkLst>
            <pc:docMk/>
            <pc:sldMk cId="963063207" sldId="2147479551"/>
            <ac:grpSpMk id="20" creationId="{177E8E51-9716-4C7B-99FF-63683FD7DB4A}"/>
          </ac:grpSpMkLst>
        </pc:grpChg>
        <pc:grpChg chg="add del mod">
          <ac:chgData name="Yousuf, Arsalan" userId="1f742cd1-60f2-4cc5-8102-e09412e517e3" providerId="ADAL" clId="{15464559-230C-484E-9C98-D7B9D3FDBA96}" dt="2024-01-11T15:36:21.131" v="5087" actId="478"/>
          <ac:grpSpMkLst>
            <pc:docMk/>
            <pc:sldMk cId="963063207" sldId="2147479551"/>
            <ac:grpSpMk id="28" creationId="{40C448EE-DD98-9299-1CF3-22B1884ADDA1}"/>
          </ac:grpSpMkLst>
        </pc:grpChg>
        <pc:grpChg chg="add del mod">
          <ac:chgData name="Yousuf, Arsalan" userId="1f742cd1-60f2-4cc5-8102-e09412e517e3" providerId="ADAL" clId="{15464559-230C-484E-9C98-D7B9D3FDBA96}" dt="2024-01-11T15:36:21.131" v="5087" actId="478"/>
          <ac:grpSpMkLst>
            <pc:docMk/>
            <pc:sldMk cId="963063207" sldId="2147479551"/>
            <ac:grpSpMk id="33" creationId="{1F915F29-60A5-6DB9-F3EB-9FC3AFCFEC9A}"/>
          </ac:grpSpMkLst>
        </pc:grpChg>
        <pc:grpChg chg="add del mod">
          <ac:chgData name="Yousuf, Arsalan" userId="1f742cd1-60f2-4cc5-8102-e09412e517e3" providerId="ADAL" clId="{15464559-230C-484E-9C98-D7B9D3FDBA96}" dt="2024-01-11T15:36:21.131" v="5087" actId="478"/>
          <ac:grpSpMkLst>
            <pc:docMk/>
            <pc:sldMk cId="963063207" sldId="2147479551"/>
            <ac:grpSpMk id="36" creationId="{64A11BBC-E3B1-C759-6075-0A899D28B68F}"/>
          </ac:grpSpMkLst>
        </pc:grpChg>
        <pc:grpChg chg="del">
          <ac:chgData name="Yousuf, Arsalan" userId="1f742cd1-60f2-4cc5-8102-e09412e517e3" providerId="ADAL" clId="{15464559-230C-484E-9C98-D7B9D3FDBA96}" dt="2024-01-11T12:48:07.129" v="1008" actId="478"/>
          <ac:grpSpMkLst>
            <pc:docMk/>
            <pc:sldMk cId="963063207" sldId="2147479551"/>
            <ac:grpSpMk id="46" creationId="{64B4ADEA-53E3-E0F7-E189-3890AB0BEFF7}"/>
          </ac:grpSpMkLst>
        </pc:grpChg>
        <pc:grpChg chg="del">
          <ac:chgData name="Yousuf, Arsalan" userId="1f742cd1-60f2-4cc5-8102-e09412e517e3" providerId="ADAL" clId="{15464559-230C-484E-9C98-D7B9D3FDBA96}" dt="2024-01-11T12:47:34.981" v="993" actId="478"/>
          <ac:grpSpMkLst>
            <pc:docMk/>
            <pc:sldMk cId="963063207" sldId="2147479551"/>
            <ac:grpSpMk id="49" creationId="{6056F20D-60F9-95BD-CFCE-D4D9ED0134CF}"/>
          </ac:grpSpMkLst>
        </pc:grpChg>
        <pc:graphicFrameChg chg="add del mod modGraphic">
          <ac:chgData name="Yousuf, Arsalan" userId="1f742cd1-60f2-4cc5-8102-e09412e517e3" providerId="ADAL" clId="{15464559-230C-484E-9C98-D7B9D3FDBA96}" dt="2024-01-11T15:36:21.131" v="5087" actId="478"/>
          <ac:graphicFrameMkLst>
            <pc:docMk/>
            <pc:sldMk cId="963063207" sldId="2147479551"/>
            <ac:graphicFrameMk id="29" creationId="{43959F16-6688-48DE-97B4-606698A66F3C}"/>
          </ac:graphicFrameMkLst>
        </pc:graphicFrameChg>
      </pc:sldChg>
      <pc:sldChg chg="addSp delSp modSp mod">
        <pc:chgData name="Yousuf, Arsalan" userId="1f742cd1-60f2-4cc5-8102-e09412e517e3" providerId="ADAL" clId="{15464559-230C-484E-9C98-D7B9D3FDBA96}" dt="2024-01-11T13:59:27.517" v="2291"/>
        <pc:sldMkLst>
          <pc:docMk/>
          <pc:sldMk cId="3652616824" sldId="2147479553"/>
        </pc:sldMkLst>
        <pc:spChg chg="mod">
          <ac:chgData name="Yousuf, Arsalan" userId="1f742cd1-60f2-4cc5-8102-e09412e517e3" providerId="ADAL" clId="{15464559-230C-484E-9C98-D7B9D3FDBA96}" dt="2024-01-11T13:57:28.189" v="2272" actId="2711"/>
          <ac:spMkLst>
            <pc:docMk/>
            <pc:sldMk cId="3652616824" sldId="2147479553"/>
            <ac:spMk id="2" creationId="{B92A2EE2-BFCC-59A6-9E51-FEF7C615177D}"/>
          </ac:spMkLst>
        </pc:spChg>
        <pc:spChg chg="mod">
          <ac:chgData name="Yousuf, Arsalan" userId="1f742cd1-60f2-4cc5-8102-e09412e517e3" providerId="ADAL" clId="{15464559-230C-484E-9C98-D7B9D3FDBA96}" dt="2024-01-11T13:59:14.730" v="2289" actId="255"/>
          <ac:spMkLst>
            <pc:docMk/>
            <pc:sldMk cId="3652616824" sldId="2147479553"/>
            <ac:spMk id="3" creationId="{AB5D6BF8-7300-E63E-239D-894031572500}"/>
          </ac:spMkLst>
        </pc:spChg>
        <pc:spChg chg="add mod">
          <ac:chgData name="Yousuf, Arsalan" userId="1f742cd1-60f2-4cc5-8102-e09412e517e3" providerId="ADAL" clId="{15464559-230C-484E-9C98-D7B9D3FDBA96}" dt="2024-01-11T13:53:00.020" v="2193"/>
          <ac:spMkLst>
            <pc:docMk/>
            <pc:sldMk cId="3652616824" sldId="2147479553"/>
            <ac:spMk id="4" creationId="{8F080B74-7478-93C3-4736-E8DF4718042F}"/>
          </ac:spMkLst>
        </pc:spChg>
        <pc:spChg chg="del mod">
          <ac:chgData name="Yousuf, Arsalan" userId="1f742cd1-60f2-4cc5-8102-e09412e517e3" providerId="ADAL" clId="{15464559-230C-484E-9C98-D7B9D3FDBA96}" dt="2024-01-11T13:59:18.576" v="2290" actId="478"/>
          <ac:spMkLst>
            <pc:docMk/>
            <pc:sldMk cId="3652616824" sldId="2147479553"/>
            <ac:spMk id="5" creationId="{86BC2E49-06D8-135E-EAC7-9C5A173F147A}"/>
          </ac:spMkLst>
        </pc:spChg>
        <pc:spChg chg="mod">
          <ac:chgData name="Yousuf, Arsalan" userId="1f742cd1-60f2-4cc5-8102-e09412e517e3" providerId="ADAL" clId="{15464559-230C-484E-9C98-D7B9D3FDBA96}" dt="2024-01-11T13:57:19.658" v="2271" actId="2711"/>
          <ac:spMkLst>
            <pc:docMk/>
            <pc:sldMk cId="3652616824" sldId="2147479553"/>
            <ac:spMk id="8" creationId="{21582DA6-E7A5-ECAA-971C-B029B9F65B7A}"/>
          </ac:spMkLst>
        </pc:spChg>
        <pc:spChg chg="del">
          <ac:chgData name="Yousuf, Arsalan" userId="1f742cd1-60f2-4cc5-8102-e09412e517e3" providerId="ADAL" clId="{15464559-230C-484E-9C98-D7B9D3FDBA96}" dt="2024-01-11T13:52:59.662" v="2192" actId="478"/>
          <ac:spMkLst>
            <pc:docMk/>
            <pc:sldMk cId="3652616824" sldId="2147479553"/>
            <ac:spMk id="9" creationId="{0A1B49BC-874A-8D11-4DD3-FC19D8C191DD}"/>
          </ac:spMkLst>
        </pc:spChg>
        <pc:spChg chg="mod">
          <ac:chgData name="Yousuf, Arsalan" userId="1f742cd1-60f2-4cc5-8102-e09412e517e3" providerId="ADAL" clId="{15464559-230C-484E-9C98-D7B9D3FDBA96}" dt="2024-01-11T13:59:27.517" v="2291"/>
          <ac:spMkLst>
            <pc:docMk/>
            <pc:sldMk cId="3652616824" sldId="2147479553"/>
            <ac:spMk id="10" creationId="{42332CA2-3BE1-EEA3-49D0-87196A19DD0F}"/>
          </ac:spMkLst>
        </pc:spChg>
        <pc:spChg chg="mod">
          <ac:chgData name="Yousuf, Arsalan" userId="1f742cd1-60f2-4cc5-8102-e09412e517e3" providerId="ADAL" clId="{15464559-230C-484E-9C98-D7B9D3FDBA96}" dt="2024-01-11T13:59:27.517" v="2291"/>
          <ac:spMkLst>
            <pc:docMk/>
            <pc:sldMk cId="3652616824" sldId="2147479553"/>
            <ac:spMk id="15" creationId="{92539689-AA33-1A91-3F9C-01C7D442E5FD}"/>
          </ac:spMkLst>
        </pc:spChg>
        <pc:spChg chg="mod">
          <ac:chgData name="Yousuf, Arsalan" userId="1f742cd1-60f2-4cc5-8102-e09412e517e3" providerId="ADAL" clId="{15464559-230C-484E-9C98-D7B9D3FDBA96}" dt="2024-01-11T13:59:27.517" v="2291"/>
          <ac:spMkLst>
            <pc:docMk/>
            <pc:sldMk cId="3652616824" sldId="2147479553"/>
            <ac:spMk id="16" creationId="{775487DE-D3DF-085D-3D6C-CF46A9C08055}"/>
          </ac:spMkLst>
        </pc:spChg>
        <pc:spChg chg="mod">
          <ac:chgData name="Yousuf, Arsalan" userId="1f742cd1-60f2-4cc5-8102-e09412e517e3" providerId="ADAL" clId="{15464559-230C-484E-9C98-D7B9D3FDBA96}" dt="2024-01-11T13:59:27.517" v="2291"/>
          <ac:spMkLst>
            <pc:docMk/>
            <pc:sldMk cId="3652616824" sldId="2147479553"/>
            <ac:spMk id="17" creationId="{C9AD913C-1AEC-F27D-CE9D-2858A789425E}"/>
          </ac:spMkLst>
        </pc:spChg>
        <pc:spChg chg="mod">
          <ac:chgData name="Yousuf, Arsalan" userId="1f742cd1-60f2-4cc5-8102-e09412e517e3" providerId="ADAL" clId="{15464559-230C-484E-9C98-D7B9D3FDBA96}" dt="2024-01-11T13:59:27.517" v="2291"/>
          <ac:spMkLst>
            <pc:docMk/>
            <pc:sldMk cId="3652616824" sldId="2147479553"/>
            <ac:spMk id="18" creationId="{A9D979B6-E04A-8AF7-85A4-8942289527B1}"/>
          </ac:spMkLst>
        </pc:spChg>
        <pc:spChg chg="mod">
          <ac:chgData name="Yousuf, Arsalan" userId="1f742cd1-60f2-4cc5-8102-e09412e517e3" providerId="ADAL" clId="{15464559-230C-484E-9C98-D7B9D3FDBA96}" dt="2024-01-11T13:59:27.517" v="2291"/>
          <ac:spMkLst>
            <pc:docMk/>
            <pc:sldMk cId="3652616824" sldId="2147479553"/>
            <ac:spMk id="19" creationId="{2EC8E10E-E3E9-8F74-AE74-6D84E1449E52}"/>
          </ac:spMkLst>
        </pc:spChg>
        <pc:spChg chg="mod">
          <ac:chgData name="Yousuf, Arsalan" userId="1f742cd1-60f2-4cc5-8102-e09412e517e3" providerId="ADAL" clId="{15464559-230C-484E-9C98-D7B9D3FDBA96}" dt="2024-01-11T13:59:27.517" v="2291"/>
          <ac:spMkLst>
            <pc:docMk/>
            <pc:sldMk cId="3652616824" sldId="2147479553"/>
            <ac:spMk id="20" creationId="{297574B2-8C9E-5E47-3AA6-531A55E08613}"/>
          </ac:spMkLst>
        </pc:spChg>
        <pc:spChg chg="mod">
          <ac:chgData name="Yousuf, Arsalan" userId="1f742cd1-60f2-4cc5-8102-e09412e517e3" providerId="ADAL" clId="{15464559-230C-484E-9C98-D7B9D3FDBA96}" dt="2024-01-11T13:59:27.517" v="2291"/>
          <ac:spMkLst>
            <pc:docMk/>
            <pc:sldMk cId="3652616824" sldId="2147479553"/>
            <ac:spMk id="21" creationId="{F4742F8B-976A-28A8-2A6B-268880E4ED8E}"/>
          </ac:spMkLst>
        </pc:spChg>
        <pc:spChg chg="mod">
          <ac:chgData name="Yousuf, Arsalan" userId="1f742cd1-60f2-4cc5-8102-e09412e517e3" providerId="ADAL" clId="{15464559-230C-484E-9C98-D7B9D3FDBA96}" dt="2024-01-11T13:59:27.517" v="2291"/>
          <ac:spMkLst>
            <pc:docMk/>
            <pc:sldMk cId="3652616824" sldId="2147479553"/>
            <ac:spMk id="22" creationId="{81F0EDC2-5BB1-0845-13A3-920CC9CC2292}"/>
          </ac:spMkLst>
        </pc:spChg>
        <pc:spChg chg="mod">
          <ac:chgData name="Yousuf, Arsalan" userId="1f742cd1-60f2-4cc5-8102-e09412e517e3" providerId="ADAL" clId="{15464559-230C-484E-9C98-D7B9D3FDBA96}" dt="2024-01-11T13:59:27.517" v="2291"/>
          <ac:spMkLst>
            <pc:docMk/>
            <pc:sldMk cId="3652616824" sldId="2147479553"/>
            <ac:spMk id="23" creationId="{4C7F8F27-FD41-0103-C96A-C468105E986E}"/>
          </ac:spMkLst>
        </pc:spChg>
        <pc:spChg chg="mod">
          <ac:chgData name="Yousuf, Arsalan" userId="1f742cd1-60f2-4cc5-8102-e09412e517e3" providerId="ADAL" clId="{15464559-230C-484E-9C98-D7B9D3FDBA96}" dt="2024-01-11T13:59:27.517" v="2291"/>
          <ac:spMkLst>
            <pc:docMk/>
            <pc:sldMk cId="3652616824" sldId="2147479553"/>
            <ac:spMk id="24" creationId="{E00ED1A1-218C-C729-24DB-776643C64E8F}"/>
          </ac:spMkLst>
        </pc:spChg>
        <pc:spChg chg="mod">
          <ac:chgData name="Yousuf, Arsalan" userId="1f742cd1-60f2-4cc5-8102-e09412e517e3" providerId="ADAL" clId="{15464559-230C-484E-9C98-D7B9D3FDBA96}" dt="2024-01-11T13:59:27.517" v="2291"/>
          <ac:spMkLst>
            <pc:docMk/>
            <pc:sldMk cId="3652616824" sldId="2147479553"/>
            <ac:spMk id="25" creationId="{4CEBD178-AB98-18F6-7D02-369FEF042468}"/>
          </ac:spMkLst>
        </pc:spChg>
        <pc:spChg chg="mod">
          <ac:chgData name="Yousuf, Arsalan" userId="1f742cd1-60f2-4cc5-8102-e09412e517e3" providerId="ADAL" clId="{15464559-230C-484E-9C98-D7B9D3FDBA96}" dt="2024-01-11T13:59:27.517" v="2291"/>
          <ac:spMkLst>
            <pc:docMk/>
            <pc:sldMk cId="3652616824" sldId="2147479553"/>
            <ac:spMk id="26" creationId="{978C9699-F45F-3700-28B7-7F24A1D3ED9C}"/>
          </ac:spMkLst>
        </pc:spChg>
        <pc:spChg chg="mod">
          <ac:chgData name="Yousuf, Arsalan" userId="1f742cd1-60f2-4cc5-8102-e09412e517e3" providerId="ADAL" clId="{15464559-230C-484E-9C98-D7B9D3FDBA96}" dt="2024-01-11T13:59:27.517" v="2291"/>
          <ac:spMkLst>
            <pc:docMk/>
            <pc:sldMk cId="3652616824" sldId="2147479553"/>
            <ac:spMk id="27" creationId="{C7FA3969-FFAD-ABE0-2A11-9D814B34D402}"/>
          </ac:spMkLst>
        </pc:spChg>
        <pc:spChg chg="mod">
          <ac:chgData name="Yousuf, Arsalan" userId="1f742cd1-60f2-4cc5-8102-e09412e517e3" providerId="ADAL" clId="{15464559-230C-484E-9C98-D7B9D3FDBA96}" dt="2024-01-11T13:59:27.517" v="2291"/>
          <ac:spMkLst>
            <pc:docMk/>
            <pc:sldMk cId="3652616824" sldId="2147479553"/>
            <ac:spMk id="28" creationId="{0898B805-8ED7-80A0-91C2-4B74DBFC1462}"/>
          </ac:spMkLst>
        </pc:spChg>
        <pc:spChg chg="mod">
          <ac:chgData name="Yousuf, Arsalan" userId="1f742cd1-60f2-4cc5-8102-e09412e517e3" providerId="ADAL" clId="{15464559-230C-484E-9C98-D7B9D3FDBA96}" dt="2024-01-11T13:59:27.517" v="2291"/>
          <ac:spMkLst>
            <pc:docMk/>
            <pc:sldMk cId="3652616824" sldId="2147479553"/>
            <ac:spMk id="29" creationId="{6BDE028D-B30F-1241-E20C-86692B9F35CF}"/>
          </ac:spMkLst>
        </pc:spChg>
        <pc:spChg chg="mod">
          <ac:chgData name="Yousuf, Arsalan" userId="1f742cd1-60f2-4cc5-8102-e09412e517e3" providerId="ADAL" clId="{15464559-230C-484E-9C98-D7B9D3FDBA96}" dt="2024-01-11T13:59:27.517" v="2291"/>
          <ac:spMkLst>
            <pc:docMk/>
            <pc:sldMk cId="3652616824" sldId="2147479553"/>
            <ac:spMk id="30" creationId="{67E1BF75-3F5F-7CC3-5084-1607783B7895}"/>
          </ac:spMkLst>
        </pc:spChg>
        <pc:spChg chg="mod">
          <ac:chgData name="Yousuf, Arsalan" userId="1f742cd1-60f2-4cc5-8102-e09412e517e3" providerId="ADAL" clId="{15464559-230C-484E-9C98-D7B9D3FDBA96}" dt="2024-01-11T13:59:27.517" v="2291"/>
          <ac:spMkLst>
            <pc:docMk/>
            <pc:sldMk cId="3652616824" sldId="2147479553"/>
            <ac:spMk id="32" creationId="{8CBDB346-3BA2-1B52-B0D2-AA93402EB240}"/>
          </ac:spMkLst>
        </pc:spChg>
        <pc:spChg chg="mod">
          <ac:chgData name="Yousuf, Arsalan" userId="1f742cd1-60f2-4cc5-8102-e09412e517e3" providerId="ADAL" clId="{15464559-230C-484E-9C98-D7B9D3FDBA96}" dt="2024-01-11T13:59:27.517" v="2291"/>
          <ac:spMkLst>
            <pc:docMk/>
            <pc:sldMk cId="3652616824" sldId="2147479553"/>
            <ac:spMk id="33" creationId="{449CA36E-D8F7-350C-B7FE-59AEAD619943}"/>
          </ac:spMkLst>
        </pc:spChg>
        <pc:spChg chg="mod">
          <ac:chgData name="Yousuf, Arsalan" userId="1f742cd1-60f2-4cc5-8102-e09412e517e3" providerId="ADAL" clId="{15464559-230C-484E-9C98-D7B9D3FDBA96}" dt="2024-01-11T13:59:27.517" v="2291"/>
          <ac:spMkLst>
            <pc:docMk/>
            <pc:sldMk cId="3652616824" sldId="2147479553"/>
            <ac:spMk id="35" creationId="{6C4A15F0-249D-A9DF-46D5-3E2F9B900DD8}"/>
          </ac:spMkLst>
        </pc:spChg>
        <pc:spChg chg="mod">
          <ac:chgData name="Yousuf, Arsalan" userId="1f742cd1-60f2-4cc5-8102-e09412e517e3" providerId="ADAL" clId="{15464559-230C-484E-9C98-D7B9D3FDBA96}" dt="2024-01-11T13:59:27.517" v="2291"/>
          <ac:spMkLst>
            <pc:docMk/>
            <pc:sldMk cId="3652616824" sldId="2147479553"/>
            <ac:spMk id="36" creationId="{B1363AC9-EF6D-442E-8879-3E3EE144A794}"/>
          </ac:spMkLst>
        </pc:spChg>
        <pc:spChg chg="mod">
          <ac:chgData name="Yousuf, Arsalan" userId="1f742cd1-60f2-4cc5-8102-e09412e517e3" providerId="ADAL" clId="{15464559-230C-484E-9C98-D7B9D3FDBA96}" dt="2024-01-11T13:59:27.517" v="2291"/>
          <ac:spMkLst>
            <pc:docMk/>
            <pc:sldMk cId="3652616824" sldId="2147479553"/>
            <ac:spMk id="38" creationId="{88E1CCDE-ECFC-AB7A-348C-A461016C2551}"/>
          </ac:spMkLst>
        </pc:spChg>
        <pc:spChg chg="mod">
          <ac:chgData name="Yousuf, Arsalan" userId="1f742cd1-60f2-4cc5-8102-e09412e517e3" providerId="ADAL" clId="{15464559-230C-484E-9C98-D7B9D3FDBA96}" dt="2024-01-11T13:59:27.517" v="2291"/>
          <ac:spMkLst>
            <pc:docMk/>
            <pc:sldMk cId="3652616824" sldId="2147479553"/>
            <ac:spMk id="39" creationId="{60E93A4B-99AE-4561-85A1-D676E1BA62A6}"/>
          </ac:spMkLst>
        </pc:spChg>
        <pc:spChg chg="mod">
          <ac:chgData name="Yousuf, Arsalan" userId="1f742cd1-60f2-4cc5-8102-e09412e517e3" providerId="ADAL" clId="{15464559-230C-484E-9C98-D7B9D3FDBA96}" dt="2024-01-11T13:59:27.517" v="2291"/>
          <ac:spMkLst>
            <pc:docMk/>
            <pc:sldMk cId="3652616824" sldId="2147479553"/>
            <ac:spMk id="41" creationId="{64635851-37D6-6D4F-A297-5AAEB8B25198}"/>
          </ac:spMkLst>
        </pc:spChg>
        <pc:spChg chg="mod">
          <ac:chgData name="Yousuf, Arsalan" userId="1f742cd1-60f2-4cc5-8102-e09412e517e3" providerId="ADAL" clId="{15464559-230C-484E-9C98-D7B9D3FDBA96}" dt="2024-01-11T13:59:27.517" v="2291"/>
          <ac:spMkLst>
            <pc:docMk/>
            <pc:sldMk cId="3652616824" sldId="2147479553"/>
            <ac:spMk id="42" creationId="{E967F48E-03BA-FE55-7267-BA687B21D39D}"/>
          </ac:spMkLst>
        </pc:spChg>
        <pc:grpChg chg="add mod">
          <ac:chgData name="Yousuf, Arsalan" userId="1f742cd1-60f2-4cc5-8102-e09412e517e3" providerId="ADAL" clId="{15464559-230C-484E-9C98-D7B9D3FDBA96}" dt="2024-01-11T13:59:27.517" v="2291"/>
          <ac:grpSpMkLst>
            <pc:docMk/>
            <pc:sldMk cId="3652616824" sldId="2147479553"/>
            <ac:grpSpMk id="7" creationId="{80700139-51CB-7E78-B58F-24B2930A5DB1}"/>
          </ac:grpSpMkLst>
        </pc:grpChg>
        <pc:grpChg chg="mod">
          <ac:chgData name="Yousuf, Arsalan" userId="1f742cd1-60f2-4cc5-8102-e09412e517e3" providerId="ADAL" clId="{15464559-230C-484E-9C98-D7B9D3FDBA96}" dt="2024-01-11T13:59:27.517" v="2291"/>
          <ac:grpSpMkLst>
            <pc:docMk/>
            <pc:sldMk cId="3652616824" sldId="2147479553"/>
            <ac:grpSpMk id="11" creationId="{82020137-9BB2-5A50-B01C-9C52DD6DD2EF}"/>
          </ac:grpSpMkLst>
        </pc:grpChg>
        <pc:grpChg chg="mod">
          <ac:chgData name="Yousuf, Arsalan" userId="1f742cd1-60f2-4cc5-8102-e09412e517e3" providerId="ADAL" clId="{15464559-230C-484E-9C98-D7B9D3FDBA96}" dt="2024-01-11T13:59:27.517" v="2291"/>
          <ac:grpSpMkLst>
            <pc:docMk/>
            <pc:sldMk cId="3652616824" sldId="2147479553"/>
            <ac:grpSpMk id="12" creationId="{28A6668D-DC91-435E-D57B-905B5B4E0E59}"/>
          </ac:grpSpMkLst>
        </pc:grpChg>
        <pc:grpChg chg="mod">
          <ac:chgData name="Yousuf, Arsalan" userId="1f742cd1-60f2-4cc5-8102-e09412e517e3" providerId="ADAL" clId="{15464559-230C-484E-9C98-D7B9D3FDBA96}" dt="2024-01-11T13:59:27.517" v="2291"/>
          <ac:grpSpMkLst>
            <pc:docMk/>
            <pc:sldMk cId="3652616824" sldId="2147479553"/>
            <ac:grpSpMk id="13" creationId="{9C6993CE-9678-974D-F2E1-76BDBB4680DA}"/>
          </ac:grpSpMkLst>
        </pc:grpChg>
        <pc:grpChg chg="mod">
          <ac:chgData name="Yousuf, Arsalan" userId="1f742cd1-60f2-4cc5-8102-e09412e517e3" providerId="ADAL" clId="{15464559-230C-484E-9C98-D7B9D3FDBA96}" dt="2024-01-11T13:59:27.517" v="2291"/>
          <ac:grpSpMkLst>
            <pc:docMk/>
            <pc:sldMk cId="3652616824" sldId="2147479553"/>
            <ac:grpSpMk id="14" creationId="{EA2689CD-B156-69CF-9019-08704552D9D9}"/>
          </ac:grpSpMkLst>
        </pc:grpChg>
        <pc:grpChg chg="add mod">
          <ac:chgData name="Yousuf, Arsalan" userId="1f742cd1-60f2-4cc5-8102-e09412e517e3" providerId="ADAL" clId="{15464559-230C-484E-9C98-D7B9D3FDBA96}" dt="2024-01-11T13:59:27.517" v="2291"/>
          <ac:grpSpMkLst>
            <pc:docMk/>
            <pc:sldMk cId="3652616824" sldId="2147479553"/>
            <ac:grpSpMk id="31" creationId="{D82E0E0E-322E-ED57-B471-5F1A116D073B}"/>
          </ac:grpSpMkLst>
        </pc:grpChg>
        <pc:grpChg chg="add mod">
          <ac:chgData name="Yousuf, Arsalan" userId="1f742cd1-60f2-4cc5-8102-e09412e517e3" providerId="ADAL" clId="{15464559-230C-484E-9C98-D7B9D3FDBA96}" dt="2024-01-11T13:59:27.517" v="2291"/>
          <ac:grpSpMkLst>
            <pc:docMk/>
            <pc:sldMk cId="3652616824" sldId="2147479553"/>
            <ac:grpSpMk id="34" creationId="{3283090C-81A9-1140-95C4-B47F80970ADE}"/>
          </ac:grpSpMkLst>
        </pc:grpChg>
        <pc:grpChg chg="add mod">
          <ac:chgData name="Yousuf, Arsalan" userId="1f742cd1-60f2-4cc5-8102-e09412e517e3" providerId="ADAL" clId="{15464559-230C-484E-9C98-D7B9D3FDBA96}" dt="2024-01-11T13:59:27.517" v="2291"/>
          <ac:grpSpMkLst>
            <pc:docMk/>
            <pc:sldMk cId="3652616824" sldId="2147479553"/>
            <ac:grpSpMk id="37" creationId="{C012CE7C-0197-2EF6-6240-6530138F8FE4}"/>
          </ac:grpSpMkLst>
        </pc:grpChg>
        <pc:grpChg chg="add mod">
          <ac:chgData name="Yousuf, Arsalan" userId="1f742cd1-60f2-4cc5-8102-e09412e517e3" providerId="ADAL" clId="{15464559-230C-484E-9C98-D7B9D3FDBA96}" dt="2024-01-11T13:59:27.517" v="2291"/>
          <ac:grpSpMkLst>
            <pc:docMk/>
            <pc:sldMk cId="3652616824" sldId="2147479553"/>
            <ac:grpSpMk id="40" creationId="{15CA9DC0-40AD-CF8F-D816-CC645E24FCD5}"/>
          </ac:grpSpMkLst>
        </pc:grpChg>
        <pc:graphicFrameChg chg="del modGraphic">
          <ac:chgData name="Yousuf, Arsalan" userId="1f742cd1-60f2-4cc5-8102-e09412e517e3" providerId="ADAL" clId="{15464559-230C-484E-9C98-D7B9D3FDBA96}" dt="2024-01-11T13:58:22.381" v="2275" actId="478"/>
          <ac:graphicFrameMkLst>
            <pc:docMk/>
            <pc:sldMk cId="3652616824" sldId="2147479553"/>
            <ac:graphicFrameMk id="6" creationId="{65A3CD0E-CEED-0CC7-421E-DF7B1C9B16EC}"/>
          </ac:graphicFrameMkLst>
        </pc:graphicFrameChg>
      </pc:sldChg>
      <pc:sldChg chg="addSp delSp modSp mod">
        <pc:chgData name="Yousuf, Arsalan" userId="1f742cd1-60f2-4cc5-8102-e09412e517e3" providerId="ADAL" clId="{15464559-230C-484E-9C98-D7B9D3FDBA96}" dt="2024-01-11T14:00:09.838" v="2296"/>
        <pc:sldMkLst>
          <pc:docMk/>
          <pc:sldMk cId="256600027" sldId="2147479555"/>
        </pc:sldMkLst>
        <pc:spChg chg="add mod">
          <ac:chgData name="Yousuf, Arsalan" userId="1f742cd1-60f2-4cc5-8102-e09412e517e3" providerId="ADAL" clId="{15464559-230C-484E-9C98-D7B9D3FDBA96}" dt="2024-01-11T13:53:01.660" v="2195"/>
          <ac:spMkLst>
            <pc:docMk/>
            <pc:sldMk cId="256600027" sldId="2147479555"/>
            <ac:spMk id="2" creationId="{555FB515-BF19-5150-21EE-C86D59A094CC}"/>
          </ac:spMkLst>
        </pc:spChg>
        <pc:spChg chg="add del mod">
          <ac:chgData name="Yousuf, Arsalan" userId="1f742cd1-60f2-4cc5-8102-e09412e517e3" providerId="ADAL" clId="{15464559-230C-484E-9C98-D7B9D3FDBA96}" dt="2024-01-11T14:00:06.922" v="2295"/>
          <ac:spMkLst>
            <pc:docMk/>
            <pc:sldMk cId="256600027" sldId="2147479555"/>
            <ac:spMk id="3" creationId="{449A6778-9B3D-88F0-950E-B24C04AE4601}"/>
          </ac:spMkLst>
        </pc:spChg>
        <pc:spChg chg="mod">
          <ac:chgData name="Yousuf, Arsalan" userId="1f742cd1-60f2-4cc5-8102-e09412e517e3" providerId="ADAL" clId="{15464559-230C-484E-9C98-D7B9D3FDBA96}" dt="2024-01-11T14:00:09.838" v="2296"/>
          <ac:spMkLst>
            <pc:docMk/>
            <pc:sldMk cId="256600027" sldId="2147479555"/>
            <ac:spMk id="8" creationId="{21582DA6-E7A5-ECAA-971C-B029B9F65B7A}"/>
          </ac:spMkLst>
        </pc:spChg>
        <pc:spChg chg="del">
          <ac:chgData name="Yousuf, Arsalan" userId="1f742cd1-60f2-4cc5-8102-e09412e517e3" providerId="ADAL" clId="{15464559-230C-484E-9C98-D7B9D3FDBA96}" dt="2024-01-11T13:53:01.275" v="2194" actId="478"/>
          <ac:spMkLst>
            <pc:docMk/>
            <pc:sldMk cId="256600027" sldId="2147479555"/>
            <ac:spMk id="9" creationId="{0A1B49BC-874A-8D11-4DD3-FC19D8C191DD}"/>
          </ac:spMkLst>
        </pc:spChg>
        <pc:spChg chg="mod">
          <ac:chgData name="Yousuf, Arsalan" userId="1f742cd1-60f2-4cc5-8102-e09412e517e3" providerId="ADAL" clId="{15464559-230C-484E-9C98-D7B9D3FDBA96}" dt="2024-01-11T13:54:45.516" v="2238" actId="2711"/>
          <ac:spMkLst>
            <pc:docMk/>
            <pc:sldMk cId="256600027" sldId="2147479555"/>
            <ac:spMk id="31" creationId="{5825BA2D-1B97-661E-272C-65BB0A4118A5}"/>
          </ac:spMkLst>
        </pc:spChg>
        <pc:spChg chg="mod">
          <ac:chgData name="Yousuf, Arsalan" userId="1f742cd1-60f2-4cc5-8102-e09412e517e3" providerId="ADAL" clId="{15464559-230C-484E-9C98-D7B9D3FDBA96}" dt="2024-01-11T13:59:43.478" v="2292" actId="255"/>
          <ac:spMkLst>
            <pc:docMk/>
            <pc:sldMk cId="256600027" sldId="2147479555"/>
            <ac:spMk id="32" creationId="{425461AE-77E8-7D25-F3FC-D449AEA505B0}"/>
          </ac:spMkLst>
        </pc:spChg>
        <pc:spChg chg="mod">
          <ac:chgData name="Yousuf, Arsalan" userId="1f742cd1-60f2-4cc5-8102-e09412e517e3" providerId="ADAL" clId="{15464559-230C-484E-9C98-D7B9D3FDBA96}" dt="2024-01-11T13:54:54.539" v="2239" actId="404"/>
          <ac:spMkLst>
            <pc:docMk/>
            <pc:sldMk cId="256600027" sldId="2147479555"/>
            <ac:spMk id="33" creationId="{5F59E401-6038-223E-FBB2-41D37DC3DAA9}"/>
          </ac:spMkLst>
        </pc:spChg>
        <pc:spChg chg="mod">
          <ac:chgData name="Yousuf, Arsalan" userId="1f742cd1-60f2-4cc5-8102-e09412e517e3" providerId="ADAL" clId="{15464559-230C-484E-9C98-D7B9D3FDBA96}" dt="2024-01-11T13:54:45.516" v="2238" actId="2711"/>
          <ac:spMkLst>
            <pc:docMk/>
            <pc:sldMk cId="256600027" sldId="2147479555"/>
            <ac:spMk id="34" creationId="{1A216E56-ACB8-2BF7-CBC8-D895FC56721D}"/>
          </ac:spMkLst>
        </pc:spChg>
        <pc:spChg chg="mod">
          <ac:chgData name="Yousuf, Arsalan" userId="1f742cd1-60f2-4cc5-8102-e09412e517e3" providerId="ADAL" clId="{15464559-230C-484E-9C98-D7B9D3FDBA96}" dt="2024-01-11T13:54:54.539" v="2239" actId="404"/>
          <ac:spMkLst>
            <pc:docMk/>
            <pc:sldMk cId="256600027" sldId="2147479555"/>
            <ac:spMk id="35" creationId="{1FA3CA76-8A4E-78CE-031A-AF64F450B5DB}"/>
          </ac:spMkLst>
        </pc:spChg>
        <pc:spChg chg="mod">
          <ac:chgData name="Yousuf, Arsalan" userId="1f742cd1-60f2-4cc5-8102-e09412e517e3" providerId="ADAL" clId="{15464559-230C-484E-9C98-D7B9D3FDBA96}" dt="2024-01-11T13:54:54.539" v="2239" actId="404"/>
          <ac:spMkLst>
            <pc:docMk/>
            <pc:sldMk cId="256600027" sldId="2147479555"/>
            <ac:spMk id="36" creationId="{A3EEE8D3-37A8-4A83-8C0E-13799018C6D9}"/>
          </ac:spMkLst>
        </pc:spChg>
        <pc:spChg chg="mod">
          <ac:chgData name="Yousuf, Arsalan" userId="1f742cd1-60f2-4cc5-8102-e09412e517e3" providerId="ADAL" clId="{15464559-230C-484E-9C98-D7B9D3FDBA96}" dt="2024-01-11T13:54:45.516" v="2238" actId="2711"/>
          <ac:spMkLst>
            <pc:docMk/>
            <pc:sldMk cId="256600027" sldId="2147479555"/>
            <ac:spMk id="37" creationId="{50D15220-0001-DA01-3055-B50CDC0FB9E9}"/>
          </ac:spMkLst>
        </pc:spChg>
        <pc:spChg chg="mod">
          <ac:chgData name="Yousuf, Arsalan" userId="1f742cd1-60f2-4cc5-8102-e09412e517e3" providerId="ADAL" clId="{15464559-230C-484E-9C98-D7B9D3FDBA96}" dt="2024-01-11T13:54:45.516" v="2238" actId="2711"/>
          <ac:spMkLst>
            <pc:docMk/>
            <pc:sldMk cId="256600027" sldId="2147479555"/>
            <ac:spMk id="38" creationId="{2E413D39-49AC-F253-F163-5B71743F2F0B}"/>
          </ac:spMkLst>
        </pc:spChg>
        <pc:spChg chg="mod">
          <ac:chgData name="Yousuf, Arsalan" userId="1f742cd1-60f2-4cc5-8102-e09412e517e3" providerId="ADAL" clId="{15464559-230C-484E-9C98-D7B9D3FDBA96}" dt="2024-01-11T13:59:51.500" v="2293" actId="255"/>
          <ac:spMkLst>
            <pc:docMk/>
            <pc:sldMk cId="256600027" sldId="2147479555"/>
            <ac:spMk id="39" creationId="{CFB7B9D0-4EBE-4E6B-8152-CAA49B2EE314}"/>
          </ac:spMkLst>
        </pc:spChg>
        <pc:spChg chg="mod">
          <ac:chgData name="Yousuf, Arsalan" userId="1f742cd1-60f2-4cc5-8102-e09412e517e3" providerId="ADAL" clId="{15464559-230C-484E-9C98-D7B9D3FDBA96}" dt="2024-01-11T13:59:51.500" v="2293" actId="255"/>
          <ac:spMkLst>
            <pc:docMk/>
            <pc:sldMk cId="256600027" sldId="2147479555"/>
            <ac:spMk id="40" creationId="{4C1C5595-A5FE-85BD-6734-E088F9A3C1BA}"/>
          </ac:spMkLst>
        </pc:spChg>
        <pc:spChg chg="mod">
          <ac:chgData name="Yousuf, Arsalan" userId="1f742cd1-60f2-4cc5-8102-e09412e517e3" providerId="ADAL" clId="{15464559-230C-484E-9C98-D7B9D3FDBA96}" dt="2024-01-11T13:59:51.500" v="2293" actId="255"/>
          <ac:spMkLst>
            <pc:docMk/>
            <pc:sldMk cId="256600027" sldId="2147479555"/>
            <ac:spMk id="41" creationId="{B1A99134-B882-45F7-8647-512639B78DE4}"/>
          </ac:spMkLst>
        </pc:spChg>
        <pc:spChg chg="mod">
          <ac:chgData name="Yousuf, Arsalan" userId="1f742cd1-60f2-4cc5-8102-e09412e517e3" providerId="ADAL" clId="{15464559-230C-484E-9C98-D7B9D3FDBA96}" dt="2024-01-11T13:59:51.500" v="2293" actId="255"/>
          <ac:spMkLst>
            <pc:docMk/>
            <pc:sldMk cId="256600027" sldId="2147479555"/>
            <ac:spMk id="42" creationId="{2B40D0E7-2A64-CE6D-A1B4-6F0A4C130999}"/>
          </ac:spMkLst>
        </pc:spChg>
        <pc:spChg chg="mod">
          <ac:chgData name="Yousuf, Arsalan" userId="1f742cd1-60f2-4cc5-8102-e09412e517e3" providerId="ADAL" clId="{15464559-230C-484E-9C98-D7B9D3FDBA96}" dt="2024-01-11T13:59:43.478" v="2292" actId="255"/>
          <ac:spMkLst>
            <pc:docMk/>
            <pc:sldMk cId="256600027" sldId="2147479555"/>
            <ac:spMk id="43" creationId="{60D148AD-1661-0128-790F-7598C0E4E0DF}"/>
          </ac:spMkLst>
        </pc:spChg>
        <pc:spChg chg="mod">
          <ac:chgData name="Yousuf, Arsalan" userId="1f742cd1-60f2-4cc5-8102-e09412e517e3" providerId="ADAL" clId="{15464559-230C-484E-9C98-D7B9D3FDBA96}" dt="2024-01-11T13:59:43.478" v="2292" actId="255"/>
          <ac:spMkLst>
            <pc:docMk/>
            <pc:sldMk cId="256600027" sldId="2147479555"/>
            <ac:spMk id="44" creationId="{BA7A9EC4-3749-D594-30A6-C46ED7A7AD31}"/>
          </ac:spMkLst>
        </pc:spChg>
        <pc:spChg chg="mod">
          <ac:chgData name="Yousuf, Arsalan" userId="1f742cd1-60f2-4cc5-8102-e09412e517e3" providerId="ADAL" clId="{15464559-230C-484E-9C98-D7B9D3FDBA96}" dt="2024-01-11T13:59:43.478" v="2292" actId="255"/>
          <ac:spMkLst>
            <pc:docMk/>
            <pc:sldMk cId="256600027" sldId="2147479555"/>
            <ac:spMk id="45" creationId="{60AA774A-DBCD-FA2C-C4AC-F2043FAA9299}"/>
          </ac:spMkLst>
        </pc:spChg>
        <pc:spChg chg="mod">
          <ac:chgData name="Yousuf, Arsalan" userId="1f742cd1-60f2-4cc5-8102-e09412e517e3" providerId="ADAL" clId="{15464559-230C-484E-9C98-D7B9D3FDBA96}" dt="2024-01-11T13:59:51.500" v="2293" actId="255"/>
          <ac:spMkLst>
            <pc:docMk/>
            <pc:sldMk cId="256600027" sldId="2147479555"/>
            <ac:spMk id="46" creationId="{B478C9EA-8A22-4ADF-17CC-1DCD4C2103D6}"/>
          </ac:spMkLst>
        </pc:spChg>
        <pc:spChg chg="mod">
          <ac:chgData name="Yousuf, Arsalan" userId="1f742cd1-60f2-4cc5-8102-e09412e517e3" providerId="ADAL" clId="{15464559-230C-484E-9C98-D7B9D3FDBA96}" dt="2024-01-11T13:59:51.500" v="2293" actId="255"/>
          <ac:spMkLst>
            <pc:docMk/>
            <pc:sldMk cId="256600027" sldId="2147479555"/>
            <ac:spMk id="47" creationId="{DE57D1B7-E8DE-BB19-1641-D9B89174FFB4}"/>
          </ac:spMkLst>
        </pc:spChg>
        <pc:spChg chg="mod">
          <ac:chgData name="Yousuf, Arsalan" userId="1f742cd1-60f2-4cc5-8102-e09412e517e3" providerId="ADAL" clId="{15464559-230C-484E-9C98-D7B9D3FDBA96}" dt="2024-01-11T13:59:51.500" v="2293" actId="255"/>
          <ac:spMkLst>
            <pc:docMk/>
            <pc:sldMk cId="256600027" sldId="2147479555"/>
            <ac:spMk id="48" creationId="{56159F65-052E-3F92-D2A8-C8DE36797E44}"/>
          </ac:spMkLst>
        </pc:spChg>
        <pc:spChg chg="mod">
          <ac:chgData name="Yousuf, Arsalan" userId="1f742cd1-60f2-4cc5-8102-e09412e517e3" providerId="ADAL" clId="{15464559-230C-484E-9C98-D7B9D3FDBA96}" dt="2024-01-11T13:59:51.500" v="2293" actId="255"/>
          <ac:spMkLst>
            <pc:docMk/>
            <pc:sldMk cId="256600027" sldId="2147479555"/>
            <ac:spMk id="50" creationId="{47111B73-8CA5-662F-02B4-17CFE19A4358}"/>
          </ac:spMkLst>
        </pc:spChg>
        <pc:spChg chg="mod">
          <ac:chgData name="Yousuf, Arsalan" userId="1f742cd1-60f2-4cc5-8102-e09412e517e3" providerId="ADAL" clId="{15464559-230C-484E-9C98-D7B9D3FDBA96}" dt="2024-01-11T13:59:43.478" v="2292" actId="255"/>
          <ac:spMkLst>
            <pc:docMk/>
            <pc:sldMk cId="256600027" sldId="2147479555"/>
            <ac:spMk id="52" creationId="{A264C1D1-7A5E-CD29-D991-701CE8F810FA}"/>
          </ac:spMkLst>
        </pc:spChg>
      </pc:sldChg>
      <pc:sldChg chg="addSp delSp modSp mod">
        <pc:chgData name="Yousuf, Arsalan" userId="1f742cd1-60f2-4cc5-8102-e09412e517e3" providerId="ADAL" clId="{15464559-230C-484E-9C98-D7B9D3FDBA96}" dt="2024-01-11T14:11:37.522" v="2384" actId="255"/>
        <pc:sldMkLst>
          <pc:docMk/>
          <pc:sldMk cId="4098489044" sldId="2147479556"/>
        </pc:sldMkLst>
        <pc:spChg chg="del">
          <ac:chgData name="Yousuf, Arsalan" userId="1f742cd1-60f2-4cc5-8102-e09412e517e3" providerId="ADAL" clId="{15464559-230C-484E-9C98-D7B9D3FDBA96}" dt="2024-01-11T13:53:02.594" v="2196" actId="478"/>
          <ac:spMkLst>
            <pc:docMk/>
            <pc:sldMk cId="4098489044" sldId="2147479556"/>
            <ac:spMk id="3" creationId="{BB4C9129-5A3E-6121-EA80-6A061C3C7FDE}"/>
          </ac:spMkLst>
        </pc:spChg>
        <pc:spChg chg="mod">
          <ac:chgData name="Yousuf, Arsalan" userId="1f742cd1-60f2-4cc5-8102-e09412e517e3" providerId="ADAL" clId="{15464559-230C-484E-9C98-D7B9D3FDBA96}" dt="2024-01-11T14:11:24.640" v="2383" actId="404"/>
          <ac:spMkLst>
            <pc:docMk/>
            <pc:sldMk cId="4098489044" sldId="2147479556"/>
            <ac:spMk id="4" creationId="{C4ED0885-CD66-777A-B69A-7B47DBCD398F}"/>
          </ac:spMkLst>
        </pc:spChg>
        <pc:spChg chg="del">
          <ac:chgData name="Yousuf, Arsalan" userId="1f742cd1-60f2-4cc5-8102-e09412e517e3" providerId="ADAL" clId="{15464559-230C-484E-9C98-D7B9D3FDBA96}" dt="2024-01-11T14:00:12.430" v="2297" actId="478"/>
          <ac:spMkLst>
            <pc:docMk/>
            <pc:sldMk cId="4098489044" sldId="2147479556"/>
            <ac:spMk id="5" creationId="{25CA3B3D-3FFD-6F65-4576-3A1F6AB62827}"/>
          </ac:spMkLst>
        </pc:spChg>
        <pc:spChg chg="add mod">
          <ac:chgData name="Yousuf, Arsalan" userId="1f742cd1-60f2-4cc5-8102-e09412e517e3" providerId="ADAL" clId="{15464559-230C-484E-9C98-D7B9D3FDBA96}" dt="2024-01-11T13:53:03.026" v="2197"/>
          <ac:spMkLst>
            <pc:docMk/>
            <pc:sldMk cId="4098489044" sldId="2147479556"/>
            <ac:spMk id="6" creationId="{592E6EE6-2BC5-B3A5-5EAC-94876F5CE942}"/>
          </ac:spMkLst>
        </pc:spChg>
        <pc:spChg chg="mod">
          <ac:chgData name="Yousuf, Arsalan" userId="1f742cd1-60f2-4cc5-8102-e09412e517e3" providerId="ADAL" clId="{15464559-230C-484E-9C98-D7B9D3FDBA96}" dt="2024-01-11T14:11:37.522" v="2384" actId="255"/>
          <ac:spMkLst>
            <pc:docMk/>
            <pc:sldMk cId="4098489044" sldId="2147479556"/>
            <ac:spMk id="8" creationId="{1820D49A-44A7-3E39-AF6E-ACB5A10BDEF9}"/>
          </ac:spMkLst>
        </pc:spChg>
        <pc:spChg chg="add mod">
          <ac:chgData name="Yousuf, Arsalan" userId="1f742cd1-60f2-4cc5-8102-e09412e517e3" providerId="ADAL" clId="{15464559-230C-484E-9C98-D7B9D3FDBA96}" dt="2024-01-11T14:00:15.037" v="2298"/>
          <ac:spMkLst>
            <pc:docMk/>
            <pc:sldMk cId="4098489044" sldId="2147479556"/>
            <ac:spMk id="9" creationId="{ABA6BBF7-A3E5-F516-A6E1-5BA1F5761382}"/>
          </ac:spMkLst>
        </pc:spChg>
        <pc:spChg chg="mod">
          <ac:chgData name="Yousuf, Arsalan" userId="1f742cd1-60f2-4cc5-8102-e09412e517e3" providerId="ADAL" clId="{15464559-230C-484E-9C98-D7B9D3FDBA96}" dt="2024-01-11T14:07:10.253" v="2331" actId="1036"/>
          <ac:spMkLst>
            <pc:docMk/>
            <pc:sldMk cId="4098489044" sldId="2147479556"/>
            <ac:spMk id="10" creationId="{751AC597-BB38-BC25-9EF9-F8F4807FCE7D}"/>
          </ac:spMkLst>
        </pc:spChg>
        <pc:spChg chg="mod">
          <ac:chgData name="Yousuf, Arsalan" userId="1f742cd1-60f2-4cc5-8102-e09412e517e3" providerId="ADAL" clId="{15464559-230C-484E-9C98-D7B9D3FDBA96}" dt="2024-01-11T14:07:03.136" v="2325" actId="1038"/>
          <ac:spMkLst>
            <pc:docMk/>
            <pc:sldMk cId="4098489044" sldId="2147479556"/>
            <ac:spMk id="11" creationId="{6A4C7360-545B-6F1A-5DB0-1975FA14A3A3}"/>
          </ac:spMkLst>
        </pc:spChg>
        <pc:spChg chg="mod">
          <ac:chgData name="Yousuf, Arsalan" userId="1f742cd1-60f2-4cc5-8102-e09412e517e3" providerId="ADAL" clId="{15464559-230C-484E-9C98-D7B9D3FDBA96}" dt="2024-01-11T14:06:51.902" v="2321" actId="255"/>
          <ac:spMkLst>
            <pc:docMk/>
            <pc:sldMk cId="4098489044" sldId="2147479556"/>
            <ac:spMk id="14" creationId="{922B792C-16FA-517B-DB65-2F5DBA64C44C}"/>
          </ac:spMkLst>
        </pc:spChg>
      </pc:sldChg>
      <pc:sldChg chg="addSp delSp modSp add del mod">
        <pc:chgData name="Yousuf, Arsalan" userId="1f742cd1-60f2-4cc5-8102-e09412e517e3" providerId="ADAL" clId="{15464559-230C-484E-9C98-D7B9D3FDBA96}" dt="2024-01-11T16:01:53.097" v="5384" actId="167"/>
        <pc:sldMkLst>
          <pc:docMk/>
          <pc:sldMk cId="775752231" sldId="2147479557"/>
        </pc:sldMkLst>
        <pc:spChg chg="add del mod">
          <ac:chgData name="Yousuf, Arsalan" userId="1f742cd1-60f2-4cc5-8102-e09412e517e3" providerId="ADAL" clId="{15464559-230C-484E-9C98-D7B9D3FDBA96}" dt="2024-01-11T15:48:44.614" v="5129" actId="478"/>
          <ac:spMkLst>
            <pc:docMk/>
            <pc:sldMk cId="775752231" sldId="2147479557"/>
            <ac:spMk id="4" creationId="{B9DB77D7-B93F-86EA-43EC-EE328DAC213F}"/>
          </ac:spMkLst>
        </pc:spChg>
        <pc:spChg chg="add del mod">
          <ac:chgData name="Yousuf, Arsalan" userId="1f742cd1-60f2-4cc5-8102-e09412e517e3" providerId="ADAL" clId="{15464559-230C-484E-9C98-D7B9D3FDBA96}" dt="2024-01-11T16:01:50.029" v="5382" actId="478"/>
          <ac:spMkLst>
            <pc:docMk/>
            <pc:sldMk cId="775752231" sldId="2147479557"/>
            <ac:spMk id="5" creationId="{302F1B31-BE86-BB3E-2CCC-786FE33C5E5B}"/>
          </ac:spMkLst>
        </pc:spChg>
        <pc:spChg chg="add mod">
          <ac:chgData name="Yousuf, Arsalan" userId="1f742cd1-60f2-4cc5-8102-e09412e517e3" providerId="ADAL" clId="{15464559-230C-484E-9C98-D7B9D3FDBA96}" dt="2024-01-11T15:49:18.604" v="5141"/>
          <ac:spMkLst>
            <pc:docMk/>
            <pc:sldMk cId="775752231" sldId="2147479557"/>
            <ac:spMk id="6" creationId="{B3654AA7-4990-9783-BADB-AC3E54F8E58F}"/>
          </ac:spMkLst>
        </pc:spChg>
        <pc:spChg chg="add mod">
          <ac:chgData name="Yousuf, Arsalan" userId="1f742cd1-60f2-4cc5-8102-e09412e517e3" providerId="ADAL" clId="{15464559-230C-484E-9C98-D7B9D3FDBA96}" dt="2024-01-11T15:49:25.719" v="5145" actId="20577"/>
          <ac:spMkLst>
            <pc:docMk/>
            <pc:sldMk cId="775752231" sldId="2147479557"/>
            <ac:spMk id="7" creationId="{C0CA5A5C-3EBF-A679-9D1B-BD2164F04D1E}"/>
          </ac:spMkLst>
        </pc:spChg>
        <pc:spChg chg="add mod">
          <ac:chgData name="Yousuf, Arsalan" userId="1f742cd1-60f2-4cc5-8102-e09412e517e3" providerId="ADAL" clId="{15464559-230C-484E-9C98-D7B9D3FDBA96}" dt="2024-01-11T15:54:47.771" v="5252" actId="20577"/>
          <ac:spMkLst>
            <pc:docMk/>
            <pc:sldMk cId="775752231" sldId="2147479557"/>
            <ac:spMk id="8" creationId="{D9296310-AEA3-7128-B5BC-C23B622696A6}"/>
          </ac:spMkLst>
        </pc:spChg>
        <pc:spChg chg="add mod">
          <ac:chgData name="Yousuf, Arsalan" userId="1f742cd1-60f2-4cc5-8102-e09412e517e3" providerId="ADAL" clId="{15464559-230C-484E-9C98-D7B9D3FDBA96}" dt="2024-01-11T15:49:18.604" v="5141"/>
          <ac:spMkLst>
            <pc:docMk/>
            <pc:sldMk cId="775752231" sldId="2147479557"/>
            <ac:spMk id="9" creationId="{ED7BEBB1-719A-71E1-4BF1-477C69CBE1EB}"/>
          </ac:spMkLst>
        </pc:spChg>
        <pc:spChg chg="del">
          <ac:chgData name="Yousuf, Arsalan" userId="1f742cd1-60f2-4cc5-8102-e09412e517e3" providerId="ADAL" clId="{15464559-230C-484E-9C98-D7B9D3FDBA96}" dt="2024-01-11T15:48:43.442" v="5128" actId="478"/>
          <ac:spMkLst>
            <pc:docMk/>
            <pc:sldMk cId="775752231" sldId="2147479557"/>
            <ac:spMk id="10" creationId="{FD52CFFD-35A4-4819-BEFA-A216D384E824}"/>
          </ac:spMkLst>
        </pc:spChg>
        <pc:spChg chg="del">
          <ac:chgData name="Yousuf, Arsalan" userId="1f742cd1-60f2-4cc5-8102-e09412e517e3" providerId="ADAL" clId="{15464559-230C-484E-9C98-D7B9D3FDBA96}" dt="2024-01-11T15:48:43.442" v="5128" actId="478"/>
          <ac:spMkLst>
            <pc:docMk/>
            <pc:sldMk cId="775752231" sldId="2147479557"/>
            <ac:spMk id="12" creationId="{8016CE3C-690F-45FC-8079-361E167CB5D0}"/>
          </ac:spMkLst>
        </pc:spChg>
        <pc:spChg chg="del">
          <ac:chgData name="Yousuf, Arsalan" userId="1f742cd1-60f2-4cc5-8102-e09412e517e3" providerId="ADAL" clId="{15464559-230C-484E-9C98-D7B9D3FDBA96}" dt="2024-01-11T15:48:43.442" v="5128" actId="478"/>
          <ac:spMkLst>
            <pc:docMk/>
            <pc:sldMk cId="775752231" sldId="2147479557"/>
            <ac:spMk id="13" creationId="{885D406F-B2FE-4686-8A0B-47FC56065756}"/>
          </ac:spMkLst>
        </pc:spChg>
        <pc:spChg chg="add mod">
          <ac:chgData name="Yousuf, Arsalan" userId="1f742cd1-60f2-4cc5-8102-e09412e517e3" providerId="ADAL" clId="{15464559-230C-484E-9C98-D7B9D3FDBA96}" dt="2024-01-11T15:54:50.089" v="5254"/>
          <ac:spMkLst>
            <pc:docMk/>
            <pc:sldMk cId="775752231" sldId="2147479557"/>
            <ac:spMk id="14" creationId="{C6A6248D-DB1C-51B2-8252-153BFDC1403A}"/>
          </ac:spMkLst>
        </pc:spChg>
        <pc:spChg chg="del">
          <ac:chgData name="Yousuf, Arsalan" userId="1f742cd1-60f2-4cc5-8102-e09412e517e3" providerId="ADAL" clId="{15464559-230C-484E-9C98-D7B9D3FDBA96}" dt="2024-01-11T15:48:43.442" v="5128" actId="478"/>
          <ac:spMkLst>
            <pc:docMk/>
            <pc:sldMk cId="775752231" sldId="2147479557"/>
            <ac:spMk id="15" creationId="{3B014F6B-414B-4F42-B595-4CB0922A753F}"/>
          </ac:spMkLst>
        </pc:spChg>
        <pc:spChg chg="add mod ord">
          <ac:chgData name="Yousuf, Arsalan" userId="1f742cd1-60f2-4cc5-8102-e09412e517e3" providerId="ADAL" clId="{15464559-230C-484E-9C98-D7B9D3FDBA96}" dt="2024-01-11T16:01:53.097" v="5384" actId="167"/>
          <ac:spMkLst>
            <pc:docMk/>
            <pc:sldMk cId="775752231" sldId="2147479557"/>
            <ac:spMk id="17" creationId="{0C775DE4-5110-056C-1934-70C59539F088}"/>
          </ac:spMkLst>
        </pc:spChg>
        <pc:spChg chg="del">
          <ac:chgData name="Yousuf, Arsalan" userId="1f742cd1-60f2-4cc5-8102-e09412e517e3" providerId="ADAL" clId="{15464559-230C-484E-9C98-D7B9D3FDBA96}" dt="2024-01-11T15:48:43.442" v="5128" actId="478"/>
          <ac:spMkLst>
            <pc:docMk/>
            <pc:sldMk cId="775752231" sldId="2147479557"/>
            <ac:spMk id="21" creationId="{B499CC86-FE6E-45EE-BB9C-523792A2D04A}"/>
          </ac:spMkLst>
        </pc:spChg>
        <pc:spChg chg="del">
          <ac:chgData name="Yousuf, Arsalan" userId="1f742cd1-60f2-4cc5-8102-e09412e517e3" providerId="ADAL" clId="{15464559-230C-484E-9C98-D7B9D3FDBA96}" dt="2024-01-11T15:48:43.442" v="5128" actId="478"/>
          <ac:spMkLst>
            <pc:docMk/>
            <pc:sldMk cId="775752231" sldId="2147479557"/>
            <ac:spMk id="25" creationId="{4F4FBC41-DE73-4CCA-8D2B-68794AB2CC6F}"/>
          </ac:spMkLst>
        </pc:spChg>
        <pc:spChg chg="del">
          <ac:chgData name="Yousuf, Arsalan" userId="1f742cd1-60f2-4cc5-8102-e09412e517e3" providerId="ADAL" clId="{15464559-230C-484E-9C98-D7B9D3FDBA96}" dt="2024-01-11T15:48:43.442" v="5128" actId="478"/>
          <ac:spMkLst>
            <pc:docMk/>
            <pc:sldMk cId="775752231" sldId="2147479557"/>
            <ac:spMk id="28" creationId="{3DF3102D-D97A-4C9C-8CF3-B45470DA7882}"/>
          </ac:spMkLst>
        </pc:spChg>
        <pc:spChg chg="del">
          <ac:chgData name="Yousuf, Arsalan" userId="1f742cd1-60f2-4cc5-8102-e09412e517e3" providerId="ADAL" clId="{15464559-230C-484E-9C98-D7B9D3FDBA96}" dt="2024-01-11T15:48:43.442" v="5128" actId="478"/>
          <ac:spMkLst>
            <pc:docMk/>
            <pc:sldMk cId="775752231" sldId="2147479557"/>
            <ac:spMk id="29" creationId="{590F340B-A1F4-4DF2-884C-ACC23F6FCF20}"/>
          </ac:spMkLst>
        </pc:spChg>
        <pc:graphicFrameChg chg="add mod">
          <ac:chgData name="Yousuf, Arsalan" userId="1f742cd1-60f2-4cc5-8102-e09412e517e3" providerId="ADAL" clId="{15464559-230C-484E-9C98-D7B9D3FDBA96}" dt="2024-01-11T15:49:18.604" v="5141"/>
          <ac:graphicFrameMkLst>
            <pc:docMk/>
            <pc:sldMk cId="775752231" sldId="2147479557"/>
            <ac:graphicFrameMk id="11" creationId="{0A3605E1-DBA3-73E3-CF56-C7442AEAE50D}"/>
          </ac:graphicFrameMkLst>
        </pc:graphicFrameChg>
        <pc:picChg chg="del">
          <ac:chgData name="Yousuf, Arsalan" userId="1f742cd1-60f2-4cc5-8102-e09412e517e3" providerId="ADAL" clId="{15464559-230C-484E-9C98-D7B9D3FDBA96}" dt="2024-01-11T15:48:43.442" v="5128" actId="478"/>
          <ac:picMkLst>
            <pc:docMk/>
            <pc:sldMk cId="775752231" sldId="2147479557"/>
            <ac:picMk id="3" creationId="{F69C51CB-C47C-6CBA-E9FF-B0B71B2E62E1}"/>
          </ac:picMkLst>
        </pc:picChg>
        <pc:picChg chg="add mod">
          <ac:chgData name="Yousuf, Arsalan" userId="1f742cd1-60f2-4cc5-8102-e09412e517e3" providerId="ADAL" clId="{15464559-230C-484E-9C98-D7B9D3FDBA96}" dt="2024-01-11T15:49:18.604" v="5141"/>
          <ac:picMkLst>
            <pc:docMk/>
            <pc:sldMk cId="775752231" sldId="2147479557"/>
            <ac:picMk id="16" creationId="{7B9D6B80-C87D-CA1B-B267-188E830C4BDA}"/>
          </ac:picMkLst>
        </pc:picChg>
      </pc:sldChg>
      <pc:sldChg chg="del">
        <pc:chgData name="Yousuf, Arsalan" userId="1f742cd1-60f2-4cc5-8102-e09412e517e3" providerId="ADAL" clId="{15464559-230C-484E-9C98-D7B9D3FDBA96}" dt="2024-01-11T15:49:01.616" v="5133" actId="47"/>
        <pc:sldMkLst>
          <pc:docMk/>
          <pc:sldMk cId="2395944440" sldId="2147479559"/>
        </pc:sldMkLst>
      </pc:sldChg>
      <pc:sldChg chg="del">
        <pc:chgData name="Yousuf, Arsalan" userId="1f742cd1-60f2-4cc5-8102-e09412e517e3" providerId="ADAL" clId="{15464559-230C-484E-9C98-D7B9D3FDBA96}" dt="2024-01-11T15:49:01.616" v="5133" actId="47"/>
        <pc:sldMkLst>
          <pc:docMk/>
          <pc:sldMk cId="1891079789" sldId="2147479560"/>
        </pc:sldMkLst>
      </pc:sldChg>
      <pc:sldChg chg="addSp delSp modSp mod">
        <pc:chgData name="Yousuf, Arsalan" userId="1f742cd1-60f2-4cc5-8102-e09412e517e3" providerId="ADAL" clId="{15464559-230C-484E-9C98-D7B9D3FDBA96}" dt="2024-01-11T16:34:05.931" v="7648" actId="20577"/>
        <pc:sldMkLst>
          <pc:docMk/>
          <pc:sldMk cId="4280744372" sldId="2147479562"/>
        </pc:sldMkLst>
        <pc:spChg chg="del">
          <ac:chgData name="Yousuf, Arsalan" userId="1f742cd1-60f2-4cc5-8102-e09412e517e3" providerId="ADAL" clId="{15464559-230C-484E-9C98-D7B9D3FDBA96}" dt="2024-01-11T16:07:39.687" v="5459" actId="478"/>
          <ac:spMkLst>
            <pc:docMk/>
            <pc:sldMk cId="4280744372" sldId="2147479562"/>
            <ac:spMk id="2" creationId="{CC93B7E7-8D0A-1A99-7EF2-95F71E057368}"/>
          </ac:spMkLst>
        </pc:spChg>
        <pc:spChg chg="del">
          <ac:chgData name="Yousuf, Arsalan" userId="1f742cd1-60f2-4cc5-8102-e09412e517e3" providerId="ADAL" clId="{15464559-230C-484E-9C98-D7B9D3FDBA96}" dt="2024-01-11T16:07:39.687" v="5459" actId="478"/>
          <ac:spMkLst>
            <pc:docMk/>
            <pc:sldMk cId="4280744372" sldId="2147479562"/>
            <ac:spMk id="3" creationId="{349E825D-7E80-8FCA-A82E-1A57A034F362}"/>
          </ac:spMkLst>
        </pc:spChg>
        <pc:spChg chg="add del mod">
          <ac:chgData name="Yousuf, Arsalan" userId="1f742cd1-60f2-4cc5-8102-e09412e517e3" providerId="ADAL" clId="{15464559-230C-484E-9C98-D7B9D3FDBA96}" dt="2024-01-11T16:07:41.450" v="5460" actId="478"/>
          <ac:spMkLst>
            <pc:docMk/>
            <pc:sldMk cId="4280744372" sldId="2147479562"/>
            <ac:spMk id="6" creationId="{6734E8DC-9521-34DE-2EB8-F244B2733C7B}"/>
          </ac:spMkLst>
        </pc:spChg>
        <pc:spChg chg="add mod">
          <ac:chgData name="Yousuf, Arsalan" userId="1f742cd1-60f2-4cc5-8102-e09412e517e3" providerId="ADAL" clId="{15464559-230C-484E-9C98-D7B9D3FDBA96}" dt="2024-01-11T16:07:41.887" v="5461"/>
          <ac:spMkLst>
            <pc:docMk/>
            <pc:sldMk cId="4280744372" sldId="2147479562"/>
            <ac:spMk id="7" creationId="{2F0268B0-B651-4960-3C48-D5246BA7AA21}"/>
          </ac:spMkLst>
        </pc:spChg>
        <pc:spChg chg="add mod">
          <ac:chgData name="Yousuf, Arsalan" userId="1f742cd1-60f2-4cc5-8102-e09412e517e3" providerId="ADAL" clId="{15464559-230C-484E-9C98-D7B9D3FDBA96}" dt="2024-01-11T16:07:46.306" v="5463" actId="20577"/>
          <ac:spMkLst>
            <pc:docMk/>
            <pc:sldMk cId="4280744372" sldId="2147479562"/>
            <ac:spMk id="8" creationId="{B081F70D-7540-FBAD-E61E-55229EAD6E9D}"/>
          </ac:spMkLst>
        </pc:spChg>
        <pc:graphicFrameChg chg="mod modGraphic">
          <ac:chgData name="Yousuf, Arsalan" userId="1f742cd1-60f2-4cc5-8102-e09412e517e3" providerId="ADAL" clId="{15464559-230C-484E-9C98-D7B9D3FDBA96}" dt="2024-01-11T16:34:05.931" v="7648" actId="20577"/>
          <ac:graphicFrameMkLst>
            <pc:docMk/>
            <pc:sldMk cId="4280744372" sldId="2147479562"/>
            <ac:graphicFrameMk id="5" creationId="{E9AE7BA3-E382-37AF-A4D7-457B619974F4}"/>
          </ac:graphicFrameMkLst>
        </pc:graphicFrameChg>
      </pc:sldChg>
      <pc:sldChg chg="addSp delSp modSp mod">
        <pc:chgData name="Yousuf, Arsalan" userId="1f742cd1-60f2-4cc5-8102-e09412e517e3" providerId="ADAL" clId="{15464559-230C-484E-9C98-D7B9D3FDBA96}" dt="2024-01-11T14:28:01.888" v="2634" actId="20577"/>
        <pc:sldMkLst>
          <pc:docMk/>
          <pc:sldMk cId="3663195277" sldId="2147479564"/>
        </pc:sldMkLst>
        <pc:spChg chg="del">
          <ac:chgData name="Yousuf, Arsalan" userId="1f742cd1-60f2-4cc5-8102-e09412e517e3" providerId="ADAL" clId="{15464559-230C-484E-9C98-D7B9D3FDBA96}" dt="2024-01-11T13:53:03.986" v="2198" actId="478"/>
          <ac:spMkLst>
            <pc:docMk/>
            <pc:sldMk cId="3663195277" sldId="2147479564"/>
            <ac:spMk id="3" creationId="{BB4C9129-5A3E-6121-EA80-6A061C3C7FDE}"/>
          </ac:spMkLst>
        </pc:spChg>
        <pc:spChg chg="mod">
          <ac:chgData name="Yousuf, Arsalan" userId="1f742cd1-60f2-4cc5-8102-e09412e517e3" providerId="ADAL" clId="{15464559-230C-484E-9C98-D7B9D3FDBA96}" dt="2024-01-11T14:12:50.854" v="2423"/>
          <ac:spMkLst>
            <pc:docMk/>
            <pc:sldMk cId="3663195277" sldId="2147479564"/>
            <ac:spMk id="4" creationId="{C4ED0885-CD66-777A-B69A-7B47DBCD398F}"/>
          </ac:spMkLst>
        </pc:spChg>
        <pc:spChg chg="del">
          <ac:chgData name="Yousuf, Arsalan" userId="1f742cd1-60f2-4cc5-8102-e09412e517e3" providerId="ADAL" clId="{15464559-230C-484E-9C98-D7B9D3FDBA96}" dt="2024-01-11T14:11:53.481" v="2386" actId="478"/>
          <ac:spMkLst>
            <pc:docMk/>
            <pc:sldMk cId="3663195277" sldId="2147479564"/>
            <ac:spMk id="5" creationId="{25CA3B3D-3FFD-6F65-4576-3A1F6AB62827}"/>
          </ac:spMkLst>
        </pc:spChg>
        <pc:spChg chg="add mod">
          <ac:chgData name="Yousuf, Arsalan" userId="1f742cd1-60f2-4cc5-8102-e09412e517e3" providerId="ADAL" clId="{15464559-230C-484E-9C98-D7B9D3FDBA96}" dt="2024-01-11T13:53:04.405" v="2199"/>
          <ac:spMkLst>
            <pc:docMk/>
            <pc:sldMk cId="3663195277" sldId="2147479564"/>
            <ac:spMk id="6" creationId="{2226C9D7-7482-C6DA-ED04-3B76105DCB9A}"/>
          </ac:spMkLst>
        </pc:spChg>
        <pc:spChg chg="mod">
          <ac:chgData name="Yousuf, Arsalan" userId="1f742cd1-60f2-4cc5-8102-e09412e517e3" providerId="ADAL" clId="{15464559-230C-484E-9C98-D7B9D3FDBA96}" dt="2024-01-11T14:13:49.432" v="2553" actId="255"/>
          <ac:spMkLst>
            <pc:docMk/>
            <pc:sldMk cId="3663195277" sldId="2147479564"/>
            <ac:spMk id="8" creationId="{1820D49A-44A7-3E39-AF6E-ACB5A10BDEF9}"/>
          </ac:spMkLst>
        </pc:spChg>
        <pc:spChg chg="add mod">
          <ac:chgData name="Yousuf, Arsalan" userId="1f742cd1-60f2-4cc5-8102-e09412e517e3" providerId="ADAL" clId="{15464559-230C-484E-9C98-D7B9D3FDBA96}" dt="2024-01-11T14:07:18.671" v="2333"/>
          <ac:spMkLst>
            <pc:docMk/>
            <pc:sldMk cId="3663195277" sldId="2147479564"/>
            <ac:spMk id="9" creationId="{EE8F6B94-5A32-8210-B23C-2EC85270EC79}"/>
          </ac:spMkLst>
        </pc:spChg>
        <pc:spChg chg="del">
          <ac:chgData name="Yousuf, Arsalan" userId="1f742cd1-60f2-4cc5-8102-e09412e517e3" providerId="ADAL" clId="{15464559-230C-484E-9C98-D7B9D3FDBA96}" dt="2024-01-11T14:07:18.385" v="2332" actId="478"/>
          <ac:spMkLst>
            <pc:docMk/>
            <pc:sldMk cId="3663195277" sldId="2147479564"/>
            <ac:spMk id="10" creationId="{751AC597-BB38-BC25-9EF9-F8F4807FCE7D}"/>
          </ac:spMkLst>
        </pc:spChg>
        <pc:spChg chg="del">
          <ac:chgData name="Yousuf, Arsalan" userId="1f742cd1-60f2-4cc5-8102-e09412e517e3" providerId="ADAL" clId="{15464559-230C-484E-9C98-D7B9D3FDBA96}" dt="2024-01-11T14:07:18.385" v="2332" actId="478"/>
          <ac:spMkLst>
            <pc:docMk/>
            <pc:sldMk cId="3663195277" sldId="2147479564"/>
            <ac:spMk id="11" creationId="{6A4C7360-545B-6F1A-5DB0-1975FA14A3A3}"/>
          </ac:spMkLst>
        </pc:spChg>
        <pc:spChg chg="mod">
          <ac:chgData name="Yousuf, Arsalan" userId="1f742cd1-60f2-4cc5-8102-e09412e517e3" providerId="ADAL" clId="{15464559-230C-484E-9C98-D7B9D3FDBA96}" dt="2024-01-11T14:27:43.441" v="2625" actId="1035"/>
          <ac:spMkLst>
            <pc:docMk/>
            <pc:sldMk cId="3663195277" sldId="2147479564"/>
            <ac:spMk id="13" creationId="{7D4695DD-C05C-C3D7-6564-0E7F2EA9DAEA}"/>
          </ac:spMkLst>
        </pc:spChg>
        <pc:spChg chg="mod">
          <ac:chgData name="Yousuf, Arsalan" userId="1f742cd1-60f2-4cc5-8102-e09412e517e3" providerId="ADAL" clId="{15464559-230C-484E-9C98-D7B9D3FDBA96}" dt="2024-01-11T14:28:01.888" v="2634" actId="20577"/>
          <ac:spMkLst>
            <pc:docMk/>
            <pc:sldMk cId="3663195277" sldId="2147479564"/>
            <ac:spMk id="14" creationId="{922B792C-16FA-517B-DB65-2F5DBA64C44C}"/>
          </ac:spMkLst>
        </pc:spChg>
        <pc:spChg chg="add mod">
          <ac:chgData name="Yousuf, Arsalan" userId="1f742cd1-60f2-4cc5-8102-e09412e517e3" providerId="ADAL" clId="{15464559-230C-484E-9C98-D7B9D3FDBA96}" dt="2024-01-11T14:07:18.671" v="2333"/>
          <ac:spMkLst>
            <pc:docMk/>
            <pc:sldMk cId="3663195277" sldId="2147479564"/>
            <ac:spMk id="17" creationId="{8E9D418E-CFBC-332E-390A-1269DA584F74}"/>
          </ac:spMkLst>
        </pc:spChg>
        <pc:spChg chg="add mod">
          <ac:chgData name="Yousuf, Arsalan" userId="1f742cd1-60f2-4cc5-8102-e09412e517e3" providerId="ADAL" clId="{15464559-230C-484E-9C98-D7B9D3FDBA96}" dt="2024-01-11T14:12:19.803" v="2418" actId="20577"/>
          <ac:spMkLst>
            <pc:docMk/>
            <pc:sldMk cId="3663195277" sldId="2147479564"/>
            <ac:spMk id="18" creationId="{E7B90F13-A0A4-0B48-36C3-466869EEF537}"/>
          </ac:spMkLst>
        </pc:spChg>
        <pc:picChg chg="mod">
          <ac:chgData name="Yousuf, Arsalan" userId="1f742cd1-60f2-4cc5-8102-e09412e517e3" providerId="ADAL" clId="{15464559-230C-484E-9C98-D7B9D3FDBA96}" dt="2024-01-11T14:27:43.441" v="2625" actId="1035"/>
          <ac:picMkLst>
            <pc:docMk/>
            <pc:sldMk cId="3663195277" sldId="2147479564"/>
            <ac:picMk id="15" creationId="{A7EB42FC-C780-33B0-08BA-E502D9D24E5F}"/>
          </ac:picMkLst>
        </pc:picChg>
        <pc:picChg chg="mod">
          <ac:chgData name="Yousuf, Arsalan" userId="1f742cd1-60f2-4cc5-8102-e09412e517e3" providerId="ADAL" clId="{15464559-230C-484E-9C98-D7B9D3FDBA96}" dt="2024-01-11T14:27:43.441" v="2625" actId="1035"/>
          <ac:picMkLst>
            <pc:docMk/>
            <pc:sldMk cId="3663195277" sldId="2147479564"/>
            <ac:picMk id="16" creationId="{9B589E1C-E065-6E50-9453-8A8D032916D9}"/>
          </ac:picMkLst>
        </pc:picChg>
      </pc:sldChg>
      <pc:sldChg chg="addSp delSp modSp mod">
        <pc:chgData name="Yousuf, Arsalan" userId="1f742cd1-60f2-4cc5-8102-e09412e517e3" providerId="ADAL" clId="{15464559-230C-484E-9C98-D7B9D3FDBA96}" dt="2024-01-11T15:35:30.749" v="5080" actId="20577"/>
        <pc:sldMkLst>
          <pc:docMk/>
          <pc:sldMk cId="4197928976" sldId="2147479566"/>
        </pc:sldMkLst>
        <pc:spChg chg="del">
          <ac:chgData name="Yousuf, Arsalan" userId="1f742cd1-60f2-4cc5-8102-e09412e517e3" providerId="ADAL" clId="{15464559-230C-484E-9C98-D7B9D3FDBA96}" dt="2024-01-11T15:34:07.767" v="4960" actId="478"/>
          <ac:spMkLst>
            <pc:docMk/>
            <pc:sldMk cId="4197928976" sldId="2147479566"/>
            <ac:spMk id="2" creationId="{CC93B7E7-8D0A-1A99-7EF2-95F71E057368}"/>
          </ac:spMkLst>
        </pc:spChg>
        <pc:spChg chg="del">
          <ac:chgData name="Yousuf, Arsalan" userId="1f742cd1-60f2-4cc5-8102-e09412e517e3" providerId="ADAL" clId="{15464559-230C-484E-9C98-D7B9D3FDBA96}" dt="2024-01-11T15:33:52.399" v="4955" actId="478"/>
          <ac:spMkLst>
            <pc:docMk/>
            <pc:sldMk cId="4197928976" sldId="2147479566"/>
            <ac:spMk id="3" creationId="{349E825D-7E80-8FCA-A82E-1A57A034F362}"/>
          </ac:spMkLst>
        </pc:spChg>
        <pc:spChg chg="mod">
          <ac:chgData name="Yousuf, Arsalan" userId="1f742cd1-60f2-4cc5-8102-e09412e517e3" providerId="ADAL" clId="{15464559-230C-484E-9C98-D7B9D3FDBA96}" dt="2024-01-11T15:35:30.749" v="5080" actId="20577"/>
          <ac:spMkLst>
            <pc:docMk/>
            <pc:sldMk cId="4197928976" sldId="2147479566"/>
            <ac:spMk id="4" creationId="{CD537564-9393-DCB0-508C-A78BE497E15E}"/>
          </ac:spMkLst>
        </pc:spChg>
        <pc:spChg chg="mod">
          <ac:chgData name="Yousuf, Arsalan" userId="1f742cd1-60f2-4cc5-8102-e09412e517e3" providerId="ADAL" clId="{15464559-230C-484E-9C98-D7B9D3FDBA96}" dt="2024-01-11T15:35:19.396" v="5067" actId="403"/>
          <ac:spMkLst>
            <pc:docMk/>
            <pc:sldMk cId="4197928976" sldId="2147479566"/>
            <ac:spMk id="5" creationId="{73BAA790-FE7B-E03B-2C71-7FAEFECCC5A0}"/>
          </ac:spMkLst>
        </pc:spChg>
        <pc:spChg chg="add del mod">
          <ac:chgData name="Yousuf, Arsalan" userId="1f742cd1-60f2-4cc5-8102-e09412e517e3" providerId="ADAL" clId="{15464559-230C-484E-9C98-D7B9D3FDBA96}" dt="2024-01-11T15:33:50.118" v="4954" actId="478"/>
          <ac:spMkLst>
            <pc:docMk/>
            <pc:sldMk cId="4197928976" sldId="2147479566"/>
            <ac:spMk id="6" creationId="{BE6B31AC-5B0D-416A-4ABF-C1FD5E2947A1}"/>
          </ac:spMkLst>
        </pc:spChg>
        <pc:spChg chg="add mod">
          <ac:chgData name="Yousuf, Arsalan" userId="1f742cd1-60f2-4cc5-8102-e09412e517e3" providerId="ADAL" clId="{15464559-230C-484E-9C98-D7B9D3FDBA96}" dt="2024-01-11T15:34:18.453" v="4987" actId="20577"/>
          <ac:spMkLst>
            <pc:docMk/>
            <pc:sldMk cId="4197928976" sldId="2147479566"/>
            <ac:spMk id="7" creationId="{755FCA41-5A7C-153F-18B2-B6AE69B84DE5}"/>
          </ac:spMkLst>
        </pc:spChg>
        <pc:spChg chg="add del mod">
          <ac:chgData name="Yousuf, Arsalan" userId="1f742cd1-60f2-4cc5-8102-e09412e517e3" providerId="ADAL" clId="{15464559-230C-484E-9C98-D7B9D3FDBA96}" dt="2024-01-11T15:33:54.052" v="4956" actId="478"/>
          <ac:spMkLst>
            <pc:docMk/>
            <pc:sldMk cId="4197928976" sldId="2147479566"/>
            <ac:spMk id="9" creationId="{48E7CEBF-2E2B-ADFA-D0F1-7C98567CC3F3}"/>
          </ac:spMkLst>
        </pc:spChg>
        <pc:spChg chg="add mod">
          <ac:chgData name="Yousuf, Arsalan" userId="1f742cd1-60f2-4cc5-8102-e09412e517e3" providerId="ADAL" clId="{15464559-230C-484E-9C98-D7B9D3FDBA96}" dt="2024-01-11T15:34:02.842" v="4959"/>
          <ac:spMkLst>
            <pc:docMk/>
            <pc:sldMk cId="4197928976" sldId="2147479566"/>
            <ac:spMk id="10" creationId="{E4790B8A-6C5F-D7D1-E5FC-02FBBDD5BDA3}"/>
          </ac:spMkLst>
        </pc:spChg>
        <pc:spChg chg="mod">
          <ac:chgData name="Yousuf, Arsalan" userId="1f742cd1-60f2-4cc5-8102-e09412e517e3" providerId="ADAL" clId="{15464559-230C-484E-9C98-D7B9D3FDBA96}" dt="2024-01-11T15:34:49.472" v="5056" actId="1036"/>
          <ac:spMkLst>
            <pc:docMk/>
            <pc:sldMk cId="4197928976" sldId="2147479566"/>
            <ac:spMk id="14" creationId="{5BD96137-8E4A-3E77-5AC1-028BD6FB8E79}"/>
          </ac:spMkLst>
        </pc:spChg>
        <pc:spChg chg="mod">
          <ac:chgData name="Yousuf, Arsalan" userId="1f742cd1-60f2-4cc5-8102-e09412e517e3" providerId="ADAL" clId="{15464559-230C-484E-9C98-D7B9D3FDBA96}" dt="2024-01-11T15:34:49.472" v="5056" actId="1036"/>
          <ac:spMkLst>
            <pc:docMk/>
            <pc:sldMk cId="4197928976" sldId="2147479566"/>
            <ac:spMk id="15" creationId="{5033307B-9D9B-5EDA-02D3-1DB2514666C8}"/>
          </ac:spMkLst>
        </pc:spChg>
        <pc:spChg chg="mod">
          <ac:chgData name="Yousuf, Arsalan" userId="1f742cd1-60f2-4cc5-8102-e09412e517e3" providerId="ADAL" clId="{15464559-230C-484E-9C98-D7B9D3FDBA96}" dt="2024-01-11T15:34:49.472" v="5056" actId="1036"/>
          <ac:spMkLst>
            <pc:docMk/>
            <pc:sldMk cId="4197928976" sldId="2147479566"/>
            <ac:spMk id="16" creationId="{22066664-4ED0-6D5B-43DF-D6E56BE84521}"/>
          </ac:spMkLst>
        </pc:spChg>
        <pc:spChg chg="mod">
          <ac:chgData name="Yousuf, Arsalan" userId="1f742cd1-60f2-4cc5-8102-e09412e517e3" providerId="ADAL" clId="{15464559-230C-484E-9C98-D7B9D3FDBA96}" dt="2024-01-11T15:34:49.472" v="5056" actId="1036"/>
          <ac:spMkLst>
            <pc:docMk/>
            <pc:sldMk cId="4197928976" sldId="2147479566"/>
            <ac:spMk id="17" creationId="{96887EC2-FA84-5ADD-B491-AD22214A9FB8}"/>
          </ac:spMkLst>
        </pc:spChg>
        <pc:spChg chg="mod">
          <ac:chgData name="Yousuf, Arsalan" userId="1f742cd1-60f2-4cc5-8102-e09412e517e3" providerId="ADAL" clId="{15464559-230C-484E-9C98-D7B9D3FDBA96}" dt="2024-01-11T15:34:49.472" v="5056" actId="1036"/>
          <ac:spMkLst>
            <pc:docMk/>
            <pc:sldMk cId="4197928976" sldId="2147479566"/>
            <ac:spMk id="18" creationId="{F3408A6F-BAB4-3348-2101-D103A797A6DD}"/>
          </ac:spMkLst>
        </pc:spChg>
        <pc:spChg chg="mod">
          <ac:chgData name="Yousuf, Arsalan" userId="1f742cd1-60f2-4cc5-8102-e09412e517e3" providerId="ADAL" clId="{15464559-230C-484E-9C98-D7B9D3FDBA96}" dt="2024-01-11T15:34:49.472" v="5056" actId="1036"/>
          <ac:spMkLst>
            <pc:docMk/>
            <pc:sldMk cId="4197928976" sldId="2147479566"/>
            <ac:spMk id="19" creationId="{02F0D5CD-28EF-9623-8D1C-A4B990CB50B2}"/>
          </ac:spMkLst>
        </pc:spChg>
        <pc:spChg chg="mod">
          <ac:chgData name="Yousuf, Arsalan" userId="1f742cd1-60f2-4cc5-8102-e09412e517e3" providerId="ADAL" clId="{15464559-230C-484E-9C98-D7B9D3FDBA96}" dt="2024-01-11T15:34:49.472" v="5056" actId="1036"/>
          <ac:spMkLst>
            <pc:docMk/>
            <pc:sldMk cId="4197928976" sldId="2147479566"/>
            <ac:spMk id="20" creationId="{5F533C60-5A09-511D-335A-36E575E02C92}"/>
          </ac:spMkLst>
        </pc:spChg>
        <pc:spChg chg="mod">
          <ac:chgData name="Yousuf, Arsalan" userId="1f742cd1-60f2-4cc5-8102-e09412e517e3" providerId="ADAL" clId="{15464559-230C-484E-9C98-D7B9D3FDBA96}" dt="2024-01-11T15:34:49.472" v="5056" actId="1036"/>
          <ac:spMkLst>
            <pc:docMk/>
            <pc:sldMk cId="4197928976" sldId="2147479566"/>
            <ac:spMk id="21" creationId="{C93A96FB-0AC9-F0F2-6BB0-6F3FAA6EABF5}"/>
          </ac:spMkLst>
        </pc:spChg>
        <pc:spChg chg="del mod">
          <ac:chgData name="Yousuf, Arsalan" userId="1f742cd1-60f2-4cc5-8102-e09412e517e3" providerId="ADAL" clId="{15464559-230C-484E-9C98-D7B9D3FDBA96}" dt="2024-01-11T15:28:31.649" v="4547" actId="478"/>
          <ac:spMkLst>
            <pc:docMk/>
            <pc:sldMk cId="4197928976" sldId="2147479566"/>
            <ac:spMk id="23" creationId="{7B1A5AAA-FD30-4745-7522-C6C83B461FDA}"/>
          </ac:spMkLst>
        </pc:spChg>
        <pc:spChg chg="mod">
          <ac:chgData name="Yousuf, Arsalan" userId="1f742cd1-60f2-4cc5-8102-e09412e517e3" providerId="ADAL" clId="{15464559-230C-484E-9C98-D7B9D3FDBA96}" dt="2024-01-11T15:34:49.472" v="5056" actId="1036"/>
          <ac:spMkLst>
            <pc:docMk/>
            <pc:sldMk cId="4197928976" sldId="2147479566"/>
            <ac:spMk id="24" creationId="{70650D72-37C0-06AD-6952-6C578B371E18}"/>
          </ac:spMkLst>
        </pc:spChg>
        <pc:graphicFrameChg chg="mod modGraphic">
          <ac:chgData name="Yousuf, Arsalan" userId="1f742cd1-60f2-4cc5-8102-e09412e517e3" providerId="ADAL" clId="{15464559-230C-484E-9C98-D7B9D3FDBA96}" dt="2024-01-11T15:35:10.582" v="5065" actId="14734"/>
          <ac:graphicFrameMkLst>
            <pc:docMk/>
            <pc:sldMk cId="4197928976" sldId="2147479566"/>
            <ac:graphicFrameMk id="12" creationId="{D1C24D4A-34E8-8CE6-1234-DCFE6B606C4C}"/>
          </ac:graphicFrameMkLst>
        </pc:graphicFrameChg>
      </pc:sldChg>
      <pc:sldChg chg="addSp delSp modSp mod">
        <pc:chgData name="Yousuf, Arsalan" userId="1f742cd1-60f2-4cc5-8102-e09412e517e3" providerId="ADAL" clId="{15464559-230C-484E-9C98-D7B9D3FDBA96}" dt="2024-01-11T14:31:46.586" v="2702" actId="14100"/>
        <pc:sldMkLst>
          <pc:docMk/>
          <pc:sldMk cId="3367745848" sldId="2147479570"/>
        </pc:sldMkLst>
        <pc:spChg chg="add mod">
          <ac:chgData name="Yousuf, Arsalan" userId="1f742cd1-60f2-4cc5-8102-e09412e517e3" providerId="ADAL" clId="{15464559-230C-484E-9C98-D7B9D3FDBA96}" dt="2024-01-11T13:53:08.334" v="2205"/>
          <ac:spMkLst>
            <pc:docMk/>
            <pc:sldMk cId="3367745848" sldId="2147479570"/>
            <ac:spMk id="2" creationId="{20E168B3-F0FB-C0CF-E2B9-D2DD083BF250}"/>
          </ac:spMkLst>
        </pc:spChg>
        <pc:spChg chg="del">
          <ac:chgData name="Yousuf, Arsalan" userId="1f742cd1-60f2-4cc5-8102-e09412e517e3" providerId="ADAL" clId="{15464559-230C-484E-9C98-D7B9D3FDBA96}" dt="2024-01-11T13:53:07.896" v="2204" actId="478"/>
          <ac:spMkLst>
            <pc:docMk/>
            <pc:sldMk cId="3367745848" sldId="2147479570"/>
            <ac:spMk id="3" creationId="{8ECA648E-A4B2-89B3-8E11-2F3F25DE8C14}"/>
          </ac:spMkLst>
        </pc:spChg>
        <pc:spChg chg="add del mod">
          <ac:chgData name="Yousuf, Arsalan" userId="1f742cd1-60f2-4cc5-8102-e09412e517e3" providerId="ADAL" clId="{15464559-230C-484E-9C98-D7B9D3FDBA96}" dt="2024-01-11T14:15:07.507" v="2575" actId="478"/>
          <ac:spMkLst>
            <pc:docMk/>
            <pc:sldMk cId="3367745848" sldId="2147479570"/>
            <ac:spMk id="4" creationId="{003A1D67-C254-35E2-61D2-BEA140E6C9D6}"/>
          </ac:spMkLst>
        </pc:spChg>
        <pc:spChg chg="del">
          <ac:chgData name="Yousuf, Arsalan" userId="1f742cd1-60f2-4cc5-8102-e09412e517e3" providerId="ADAL" clId="{15464559-230C-484E-9C98-D7B9D3FDBA96}" dt="2024-01-11T14:15:09.092" v="2576" actId="478"/>
          <ac:spMkLst>
            <pc:docMk/>
            <pc:sldMk cId="3367745848" sldId="2147479570"/>
            <ac:spMk id="5" creationId="{7780C9A4-1B58-C7B4-8260-D1451030869D}"/>
          </ac:spMkLst>
        </pc:spChg>
        <pc:spChg chg="mod">
          <ac:chgData name="Yousuf, Arsalan" userId="1f742cd1-60f2-4cc5-8102-e09412e517e3" providerId="ADAL" clId="{15464559-230C-484E-9C98-D7B9D3FDBA96}" dt="2024-01-11T14:31:24.450" v="2699" actId="404"/>
          <ac:spMkLst>
            <pc:docMk/>
            <pc:sldMk cId="3367745848" sldId="2147479570"/>
            <ac:spMk id="6" creationId="{78AA14C8-C2E2-7EA7-474B-E4D8B5F6DC35}"/>
          </ac:spMkLst>
        </pc:spChg>
        <pc:spChg chg="add mod">
          <ac:chgData name="Yousuf, Arsalan" userId="1f742cd1-60f2-4cc5-8102-e09412e517e3" providerId="ADAL" clId="{15464559-230C-484E-9C98-D7B9D3FDBA96}" dt="2024-01-11T14:15:11.809" v="2579" actId="20577"/>
          <ac:spMkLst>
            <pc:docMk/>
            <pc:sldMk cId="3367745848" sldId="2147479570"/>
            <ac:spMk id="7" creationId="{0704DC29-B884-43A3-79AE-673242987BFE}"/>
          </ac:spMkLst>
        </pc:spChg>
        <pc:spChg chg="mod">
          <ac:chgData name="Yousuf, Arsalan" userId="1f742cd1-60f2-4cc5-8102-e09412e517e3" providerId="ADAL" clId="{15464559-230C-484E-9C98-D7B9D3FDBA96}" dt="2024-01-11T14:31:34.855" v="2701" actId="404"/>
          <ac:spMkLst>
            <pc:docMk/>
            <pc:sldMk cId="3367745848" sldId="2147479570"/>
            <ac:spMk id="37" creationId="{4524C829-1E8B-1B42-EE82-708FC54CE5DF}"/>
          </ac:spMkLst>
        </pc:spChg>
        <pc:spChg chg="mod">
          <ac:chgData name="Yousuf, Arsalan" userId="1f742cd1-60f2-4cc5-8102-e09412e517e3" providerId="ADAL" clId="{15464559-230C-484E-9C98-D7B9D3FDBA96}" dt="2024-01-11T14:31:34.855" v="2701" actId="404"/>
          <ac:spMkLst>
            <pc:docMk/>
            <pc:sldMk cId="3367745848" sldId="2147479570"/>
            <ac:spMk id="39" creationId="{BD9D5484-FAA7-1EAA-AA93-40D46C55BB17}"/>
          </ac:spMkLst>
        </pc:spChg>
        <pc:spChg chg="mod">
          <ac:chgData name="Yousuf, Arsalan" userId="1f742cd1-60f2-4cc5-8102-e09412e517e3" providerId="ADAL" clId="{15464559-230C-484E-9C98-D7B9D3FDBA96}" dt="2024-01-11T14:31:34.855" v="2701" actId="404"/>
          <ac:spMkLst>
            <pc:docMk/>
            <pc:sldMk cId="3367745848" sldId="2147479570"/>
            <ac:spMk id="41" creationId="{86569FDC-11E2-EC61-8C91-9818DCFAB5D6}"/>
          </ac:spMkLst>
        </pc:spChg>
        <pc:spChg chg="mod">
          <ac:chgData name="Yousuf, Arsalan" userId="1f742cd1-60f2-4cc5-8102-e09412e517e3" providerId="ADAL" clId="{15464559-230C-484E-9C98-D7B9D3FDBA96}" dt="2024-01-11T14:31:34.855" v="2701" actId="404"/>
          <ac:spMkLst>
            <pc:docMk/>
            <pc:sldMk cId="3367745848" sldId="2147479570"/>
            <ac:spMk id="42" creationId="{DB7E60B6-51E1-D2A0-CFBE-AFC268588B87}"/>
          </ac:spMkLst>
        </pc:spChg>
        <pc:spChg chg="mod">
          <ac:chgData name="Yousuf, Arsalan" userId="1f742cd1-60f2-4cc5-8102-e09412e517e3" providerId="ADAL" clId="{15464559-230C-484E-9C98-D7B9D3FDBA96}" dt="2024-01-11T14:31:34.855" v="2701" actId="404"/>
          <ac:spMkLst>
            <pc:docMk/>
            <pc:sldMk cId="3367745848" sldId="2147479570"/>
            <ac:spMk id="43" creationId="{5073629A-FE05-3D5C-E004-1602A07DB8F7}"/>
          </ac:spMkLst>
        </pc:spChg>
        <pc:spChg chg="mod">
          <ac:chgData name="Yousuf, Arsalan" userId="1f742cd1-60f2-4cc5-8102-e09412e517e3" providerId="ADAL" clId="{15464559-230C-484E-9C98-D7B9D3FDBA96}" dt="2024-01-11T14:31:34.855" v="2701" actId="404"/>
          <ac:spMkLst>
            <pc:docMk/>
            <pc:sldMk cId="3367745848" sldId="2147479570"/>
            <ac:spMk id="45" creationId="{FB1C151C-D23E-94A5-BC81-2787D9598B13}"/>
          </ac:spMkLst>
        </pc:spChg>
        <pc:spChg chg="mod">
          <ac:chgData name="Yousuf, Arsalan" userId="1f742cd1-60f2-4cc5-8102-e09412e517e3" providerId="ADAL" clId="{15464559-230C-484E-9C98-D7B9D3FDBA96}" dt="2024-01-11T14:31:34.855" v="2701" actId="404"/>
          <ac:spMkLst>
            <pc:docMk/>
            <pc:sldMk cId="3367745848" sldId="2147479570"/>
            <ac:spMk id="47" creationId="{C5CF8244-92B5-0AC1-D3A7-64551D419920}"/>
          </ac:spMkLst>
        </pc:spChg>
        <pc:spChg chg="mod">
          <ac:chgData name="Yousuf, Arsalan" userId="1f742cd1-60f2-4cc5-8102-e09412e517e3" providerId="ADAL" clId="{15464559-230C-484E-9C98-D7B9D3FDBA96}" dt="2024-01-11T14:31:34.855" v="2701" actId="404"/>
          <ac:spMkLst>
            <pc:docMk/>
            <pc:sldMk cId="3367745848" sldId="2147479570"/>
            <ac:spMk id="50" creationId="{1988083D-C6AE-FBDE-2FF6-7F0EF12C7609}"/>
          </ac:spMkLst>
        </pc:spChg>
        <pc:spChg chg="mod">
          <ac:chgData name="Yousuf, Arsalan" userId="1f742cd1-60f2-4cc5-8102-e09412e517e3" providerId="ADAL" clId="{15464559-230C-484E-9C98-D7B9D3FDBA96}" dt="2024-01-11T14:31:34.855" v="2701" actId="404"/>
          <ac:spMkLst>
            <pc:docMk/>
            <pc:sldMk cId="3367745848" sldId="2147479570"/>
            <ac:spMk id="52" creationId="{3683FC80-4A63-321B-2E1F-EDE47D3611DE}"/>
          </ac:spMkLst>
        </pc:spChg>
        <pc:spChg chg="mod">
          <ac:chgData name="Yousuf, Arsalan" userId="1f742cd1-60f2-4cc5-8102-e09412e517e3" providerId="ADAL" clId="{15464559-230C-484E-9C98-D7B9D3FDBA96}" dt="2024-01-11T14:31:46.586" v="2702" actId="14100"/>
          <ac:spMkLst>
            <pc:docMk/>
            <pc:sldMk cId="3367745848" sldId="2147479570"/>
            <ac:spMk id="83" creationId="{8A309DDE-8252-F29F-249F-C2E2377C4FD5}"/>
          </ac:spMkLst>
        </pc:spChg>
        <pc:spChg chg="mod">
          <ac:chgData name="Yousuf, Arsalan" userId="1f742cd1-60f2-4cc5-8102-e09412e517e3" providerId="ADAL" clId="{15464559-230C-484E-9C98-D7B9D3FDBA96}" dt="2024-01-11T14:31:46.586" v="2702" actId="14100"/>
          <ac:spMkLst>
            <pc:docMk/>
            <pc:sldMk cId="3367745848" sldId="2147479570"/>
            <ac:spMk id="84" creationId="{D3AC6DCC-AE19-168B-1161-4E35088129E0}"/>
          </ac:spMkLst>
        </pc:spChg>
        <pc:spChg chg="mod">
          <ac:chgData name="Yousuf, Arsalan" userId="1f742cd1-60f2-4cc5-8102-e09412e517e3" providerId="ADAL" clId="{15464559-230C-484E-9C98-D7B9D3FDBA96}" dt="2024-01-11T14:31:46.586" v="2702" actId="14100"/>
          <ac:spMkLst>
            <pc:docMk/>
            <pc:sldMk cId="3367745848" sldId="2147479570"/>
            <ac:spMk id="85" creationId="{472E607B-891C-586F-C7AE-9D9C79F2E208}"/>
          </ac:spMkLst>
        </pc:spChg>
        <pc:spChg chg="mod">
          <ac:chgData name="Yousuf, Arsalan" userId="1f742cd1-60f2-4cc5-8102-e09412e517e3" providerId="ADAL" clId="{15464559-230C-484E-9C98-D7B9D3FDBA96}" dt="2024-01-11T14:31:46.586" v="2702" actId="14100"/>
          <ac:spMkLst>
            <pc:docMk/>
            <pc:sldMk cId="3367745848" sldId="2147479570"/>
            <ac:spMk id="86" creationId="{4EFF67A7-EFE4-9981-3744-BE5190B7E997}"/>
          </ac:spMkLst>
        </pc:spChg>
        <pc:spChg chg="mod">
          <ac:chgData name="Yousuf, Arsalan" userId="1f742cd1-60f2-4cc5-8102-e09412e517e3" providerId="ADAL" clId="{15464559-230C-484E-9C98-D7B9D3FDBA96}" dt="2024-01-11T14:31:46.586" v="2702" actId="14100"/>
          <ac:spMkLst>
            <pc:docMk/>
            <pc:sldMk cId="3367745848" sldId="2147479570"/>
            <ac:spMk id="87" creationId="{6952C289-12BD-AEF5-F80B-BCEAAF8CB673}"/>
          </ac:spMkLst>
        </pc:spChg>
        <pc:spChg chg="mod">
          <ac:chgData name="Yousuf, Arsalan" userId="1f742cd1-60f2-4cc5-8102-e09412e517e3" providerId="ADAL" clId="{15464559-230C-484E-9C98-D7B9D3FDBA96}" dt="2024-01-11T14:31:46.586" v="2702" actId="14100"/>
          <ac:spMkLst>
            <pc:docMk/>
            <pc:sldMk cId="3367745848" sldId="2147479570"/>
            <ac:spMk id="88" creationId="{53D35C6E-43C2-CDAC-21B7-16E52DA7F846}"/>
          </ac:spMkLst>
        </pc:spChg>
        <pc:spChg chg="mod">
          <ac:chgData name="Yousuf, Arsalan" userId="1f742cd1-60f2-4cc5-8102-e09412e517e3" providerId="ADAL" clId="{15464559-230C-484E-9C98-D7B9D3FDBA96}" dt="2024-01-11T14:31:46.586" v="2702" actId="14100"/>
          <ac:spMkLst>
            <pc:docMk/>
            <pc:sldMk cId="3367745848" sldId="2147479570"/>
            <ac:spMk id="89" creationId="{ED905F9D-D656-5D16-B19D-1777CD243F7C}"/>
          </ac:spMkLst>
        </pc:spChg>
        <pc:spChg chg="mod">
          <ac:chgData name="Yousuf, Arsalan" userId="1f742cd1-60f2-4cc5-8102-e09412e517e3" providerId="ADAL" clId="{15464559-230C-484E-9C98-D7B9D3FDBA96}" dt="2024-01-11T14:31:46.586" v="2702" actId="14100"/>
          <ac:spMkLst>
            <pc:docMk/>
            <pc:sldMk cId="3367745848" sldId="2147479570"/>
            <ac:spMk id="90" creationId="{2B8939EF-AD71-C225-8832-77CF53C1769C}"/>
          </ac:spMkLst>
        </pc:spChg>
        <pc:grpChg chg="mod">
          <ac:chgData name="Yousuf, Arsalan" userId="1f742cd1-60f2-4cc5-8102-e09412e517e3" providerId="ADAL" clId="{15464559-230C-484E-9C98-D7B9D3FDBA96}" dt="2024-01-11T14:31:46.586" v="2702" actId="14100"/>
          <ac:grpSpMkLst>
            <pc:docMk/>
            <pc:sldMk cId="3367745848" sldId="2147479570"/>
            <ac:grpSpMk id="75" creationId="{161F0D60-CC05-E6F3-713C-7A0B8725BA8B}"/>
          </ac:grpSpMkLst>
        </pc:grpChg>
        <pc:grpChg chg="mod">
          <ac:chgData name="Yousuf, Arsalan" userId="1f742cd1-60f2-4cc5-8102-e09412e517e3" providerId="ADAL" clId="{15464559-230C-484E-9C98-D7B9D3FDBA96}" dt="2024-01-11T14:31:46.586" v="2702" actId="14100"/>
          <ac:grpSpMkLst>
            <pc:docMk/>
            <pc:sldMk cId="3367745848" sldId="2147479570"/>
            <ac:grpSpMk id="76" creationId="{FE102D4F-D39F-1319-E78E-84AAC2378937}"/>
          </ac:grpSpMkLst>
        </pc:grpChg>
        <pc:picChg chg="mod">
          <ac:chgData name="Yousuf, Arsalan" userId="1f742cd1-60f2-4cc5-8102-e09412e517e3" providerId="ADAL" clId="{15464559-230C-484E-9C98-D7B9D3FDBA96}" dt="2024-01-11T14:31:46.586" v="2702" actId="14100"/>
          <ac:picMkLst>
            <pc:docMk/>
            <pc:sldMk cId="3367745848" sldId="2147479570"/>
            <ac:picMk id="77" creationId="{760F00DA-5262-3AD1-1AB8-DF3085D32C3B}"/>
          </ac:picMkLst>
        </pc:picChg>
        <pc:picChg chg="mod">
          <ac:chgData name="Yousuf, Arsalan" userId="1f742cd1-60f2-4cc5-8102-e09412e517e3" providerId="ADAL" clId="{15464559-230C-484E-9C98-D7B9D3FDBA96}" dt="2024-01-11T14:31:46.586" v="2702" actId="14100"/>
          <ac:picMkLst>
            <pc:docMk/>
            <pc:sldMk cId="3367745848" sldId="2147479570"/>
            <ac:picMk id="78" creationId="{76C47480-FE34-6EC7-2559-D8045C7E43BC}"/>
          </ac:picMkLst>
        </pc:picChg>
        <pc:picChg chg="mod">
          <ac:chgData name="Yousuf, Arsalan" userId="1f742cd1-60f2-4cc5-8102-e09412e517e3" providerId="ADAL" clId="{15464559-230C-484E-9C98-D7B9D3FDBA96}" dt="2024-01-11T14:31:46.586" v="2702" actId="14100"/>
          <ac:picMkLst>
            <pc:docMk/>
            <pc:sldMk cId="3367745848" sldId="2147479570"/>
            <ac:picMk id="79" creationId="{23B1B74E-84AC-1CC9-0E0D-954BE3ED2AF2}"/>
          </ac:picMkLst>
        </pc:picChg>
        <pc:picChg chg="mod">
          <ac:chgData name="Yousuf, Arsalan" userId="1f742cd1-60f2-4cc5-8102-e09412e517e3" providerId="ADAL" clId="{15464559-230C-484E-9C98-D7B9D3FDBA96}" dt="2024-01-11T14:31:46.586" v="2702" actId="14100"/>
          <ac:picMkLst>
            <pc:docMk/>
            <pc:sldMk cId="3367745848" sldId="2147479570"/>
            <ac:picMk id="80" creationId="{8640B62D-06AD-3184-2BAB-3277A3EB1877}"/>
          </ac:picMkLst>
        </pc:picChg>
        <pc:picChg chg="mod">
          <ac:chgData name="Yousuf, Arsalan" userId="1f742cd1-60f2-4cc5-8102-e09412e517e3" providerId="ADAL" clId="{15464559-230C-484E-9C98-D7B9D3FDBA96}" dt="2024-01-11T14:31:46.586" v="2702" actId="14100"/>
          <ac:picMkLst>
            <pc:docMk/>
            <pc:sldMk cId="3367745848" sldId="2147479570"/>
            <ac:picMk id="81" creationId="{0974A6EA-44B6-A6D9-B99D-97CD4FDCA3B9}"/>
          </ac:picMkLst>
        </pc:picChg>
        <pc:picChg chg="mod">
          <ac:chgData name="Yousuf, Arsalan" userId="1f742cd1-60f2-4cc5-8102-e09412e517e3" providerId="ADAL" clId="{15464559-230C-484E-9C98-D7B9D3FDBA96}" dt="2024-01-11T14:31:46.586" v="2702" actId="14100"/>
          <ac:picMkLst>
            <pc:docMk/>
            <pc:sldMk cId="3367745848" sldId="2147479570"/>
            <ac:picMk id="82" creationId="{47DCC8ED-44FB-F78E-7E15-9F628384AEE8}"/>
          </ac:picMkLst>
        </pc:picChg>
      </pc:sldChg>
      <pc:sldChg chg="addSp delSp modSp mod ord">
        <pc:chgData name="Yousuf, Arsalan" userId="1f742cd1-60f2-4cc5-8102-e09412e517e3" providerId="ADAL" clId="{15464559-230C-484E-9C98-D7B9D3FDBA96}" dt="2024-01-11T16:50:50.988" v="7987"/>
        <pc:sldMkLst>
          <pc:docMk/>
          <pc:sldMk cId="1441388680" sldId="2147479571"/>
        </pc:sldMkLst>
        <pc:spChg chg="add mod">
          <ac:chgData name="Yousuf, Arsalan" userId="1f742cd1-60f2-4cc5-8102-e09412e517e3" providerId="ADAL" clId="{15464559-230C-484E-9C98-D7B9D3FDBA96}" dt="2024-01-11T13:53:56.302" v="2213"/>
          <ac:spMkLst>
            <pc:docMk/>
            <pc:sldMk cId="1441388680" sldId="2147479571"/>
            <ac:spMk id="5" creationId="{D507830B-FED1-860D-0234-FCB0316F225D}"/>
          </ac:spMkLst>
        </pc:spChg>
        <pc:spChg chg="del">
          <ac:chgData name="Yousuf, Arsalan" userId="1f742cd1-60f2-4cc5-8102-e09412e517e3" providerId="ADAL" clId="{15464559-230C-484E-9C98-D7B9D3FDBA96}" dt="2024-01-11T13:53:55.961" v="2212" actId="478"/>
          <ac:spMkLst>
            <pc:docMk/>
            <pc:sldMk cId="1441388680" sldId="2147479571"/>
            <ac:spMk id="9" creationId="{D2157997-84C9-5A75-8AEC-52CC216993CA}"/>
          </ac:spMkLst>
        </pc:spChg>
        <pc:spChg chg="add mod">
          <ac:chgData name="Yousuf, Arsalan" userId="1f742cd1-60f2-4cc5-8102-e09412e517e3" providerId="ADAL" clId="{15464559-230C-484E-9C98-D7B9D3FDBA96}" dt="2024-01-11T14:07:41.160" v="2344"/>
          <ac:spMkLst>
            <pc:docMk/>
            <pc:sldMk cId="1441388680" sldId="2147479571"/>
            <ac:spMk id="10" creationId="{377EAC00-B269-F173-53ED-87467DB4C1DE}"/>
          </ac:spMkLst>
        </pc:spChg>
        <pc:spChg chg="add mod">
          <ac:chgData name="Yousuf, Arsalan" userId="1f742cd1-60f2-4cc5-8102-e09412e517e3" providerId="ADAL" clId="{15464559-230C-484E-9C98-D7B9D3FDBA96}" dt="2024-01-11T14:07:41.160" v="2344"/>
          <ac:spMkLst>
            <pc:docMk/>
            <pc:sldMk cId="1441388680" sldId="2147479571"/>
            <ac:spMk id="11" creationId="{D9B933B1-B8AF-7A61-1DD8-6DDDCEC9B123}"/>
          </ac:spMkLst>
        </pc:spChg>
        <pc:spChg chg="add del mod">
          <ac:chgData name="Yousuf, Arsalan" userId="1f742cd1-60f2-4cc5-8102-e09412e517e3" providerId="ADAL" clId="{15464559-230C-484E-9C98-D7B9D3FDBA96}" dt="2024-01-11T14:17:13.931" v="2584" actId="478"/>
          <ac:spMkLst>
            <pc:docMk/>
            <pc:sldMk cId="1441388680" sldId="2147479571"/>
            <ac:spMk id="12" creationId="{13A853D3-F181-11BB-A31A-4F61DD9F456C}"/>
          </ac:spMkLst>
        </pc:spChg>
        <pc:spChg chg="add mod">
          <ac:chgData name="Yousuf, Arsalan" userId="1f742cd1-60f2-4cc5-8102-e09412e517e3" providerId="ADAL" clId="{15464559-230C-484E-9C98-D7B9D3FDBA96}" dt="2024-01-11T14:39:48.347" v="2851" actId="20577"/>
          <ac:spMkLst>
            <pc:docMk/>
            <pc:sldMk cId="1441388680" sldId="2147479571"/>
            <ac:spMk id="13" creationId="{5948C19C-76CF-8CD7-6A35-E8EAD2B9BC2D}"/>
          </ac:spMkLst>
        </pc:spChg>
        <pc:spChg chg="del">
          <ac:chgData name="Yousuf, Arsalan" userId="1f742cd1-60f2-4cc5-8102-e09412e517e3" providerId="ADAL" clId="{15464559-230C-484E-9C98-D7B9D3FDBA96}" dt="2024-01-11T14:17:13.931" v="2584" actId="478"/>
          <ac:spMkLst>
            <pc:docMk/>
            <pc:sldMk cId="1441388680" sldId="2147479571"/>
            <ac:spMk id="16" creationId="{1F7028E4-7114-13C3-863A-35B6D9F1000C}"/>
          </ac:spMkLst>
        </pc:spChg>
        <pc:spChg chg="mod">
          <ac:chgData name="Yousuf, Arsalan" userId="1f742cd1-60f2-4cc5-8102-e09412e517e3" providerId="ADAL" clId="{15464559-230C-484E-9C98-D7B9D3FDBA96}" dt="2024-01-11T16:50:50.988" v="7987"/>
          <ac:spMkLst>
            <pc:docMk/>
            <pc:sldMk cId="1441388680" sldId="2147479571"/>
            <ac:spMk id="18" creationId="{14C86E9B-D1A5-AFA2-682D-D010A63C7A75}"/>
          </ac:spMkLst>
        </pc:spChg>
        <pc:spChg chg="del">
          <ac:chgData name="Yousuf, Arsalan" userId="1f742cd1-60f2-4cc5-8102-e09412e517e3" providerId="ADAL" clId="{15464559-230C-484E-9C98-D7B9D3FDBA96}" dt="2024-01-11T14:07:40.833" v="2343" actId="478"/>
          <ac:spMkLst>
            <pc:docMk/>
            <pc:sldMk cId="1441388680" sldId="2147479571"/>
            <ac:spMk id="19" creationId="{5413C702-C86E-1C6A-0FC5-22704A50C07C}"/>
          </ac:spMkLst>
        </pc:spChg>
        <pc:spChg chg="del">
          <ac:chgData name="Yousuf, Arsalan" userId="1f742cd1-60f2-4cc5-8102-e09412e517e3" providerId="ADAL" clId="{15464559-230C-484E-9C98-D7B9D3FDBA96}" dt="2024-01-11T14:07:40.833" v="2343" actId="478"/>
          <ac:spMkLst>
            <pc:docMk/>
            <pc:sldMk cId="1441388680" sldId="2147479571"/>
            <ac:spMk id="20" creationId="{2C480418-DB43-B957-D08D-00B683F366E1}"/>
          </ac:spMkLst>
        </pc:spChg>
        <pc:spChg chg="mod">
          <ac:chgData name="Yousuf, Arsalan" userId="1f742cd1-60f2-4cc5-8102-e09412e517e3" providerId="ADAL" clId="{15464559-230C-484E-9C98-D7B9D3FDBA96}" dt="2024-01-11T14:36:55.645" v="2777" actId="404"/>
          <ac:spMkLst>
            <pc:docMk/>
            <pc:sldMk cId="1441388680" sldId="2147479571"/>
            <ac:spMk id="21" creationId="{C99EE3AD-0681-40D2-7FD6-3E5954772208}"/>
          </ac:spMkLst>
        </pc:spChg>
        <pc:spChg chg="mod">
          <ac:chgData name="Yousuf, Arsalan" userId="1f742cd1-60f2-4cc5-8102-e09412e517e3" providerId="ADAL" clId="{15464559-230C-484E-9C98-D7B9D3FDBA96}" dt="2024-01-11T14:36:51.706" v="2775" actId="2711"/>
          <ac:spMkLst>
            <pc:docMk/>
            <pc:sldMk cId="1441388680" sldId="2147479571"/>
            <ac:spMk id="22" creationId="{E81AAF8B-CA6D-BA71-680D-9E0E2F0B4484}"/>
          </ac:spMkLst>
        </pc:spChg>
      </pc:sldChg>
      <pc:sldChg chg="addSp delSp modSp mod">
        <pc:chgData name="Yousuf, Arsalan" userId="1f742cd1-60f2-4cc5-8102-e09412e517e3" providerId="ADAL" clId="{15464559-230C-484E-9C98-D7B9D3FDBA96}" dt="2024-01-11T16:50:46.058" v="7983"/>
        <pc:sldMkLst>
          <pc:docMk/>
          <pc:sldMk cId="3468693418" sldId="2147479572"/>
        </pc:sldMkLst>
        <pc:spChg chg="add mod">
          <ac:chgData name="Yousuf, Arsalan" userId="1f742cd1-60f2-4cc5-8102-e09412e517e3" providerId="ADAL" clId="{15464559-230C-484E-9C98-D7B9D3FDBA96}" dt="2024-01-11T13:53:57.577" v="2215"/>
          <ac:spMkLst>
            <pc:docMk/>
            <pc:sldMk cId="3468693418" sldId="2147479572"/>
            <ac:spMk id="2" creationId="{6B900698-6BD3-B2E1-227F-742002AC47D7}"/>
          </ac:spMkLst>
        </pc:spChg>
        <pc:spChg chg="add mod">
          <ac:chgData name="Yousuf, Arsalan" userId="1f742cd1-60f2-4cc5-8102-e09412e517e3" providerId="ADAL" clId="{15464559-230C-484E-9C98-D7B9D3FDBA96}" dt="2024-01-11T14:07:46.426" v="2346"/>
          <ac:spMkLst>
            <pc:docMk/>
            <pc:sldMk cId="3468693418" sldId="2147479572"/>
            <ac:spMk id="3" creationId="{CA1E81FE-7EEB-B16B-1699-5642085FBE30}"/>
          </ac:spMkLst>
        </pc:spChg>
        <pc:spChg chg="add mod">
          <ac:chgData name="Yousuf, Arsalan" userId="1f742cd1-60f2-4cc5-8102-e09412e517e3" providerId="ADAL" clId="{15464559-230C-484E-9C98-D7B9D3FDBA96}" dt="2024-01-11T14:07:46.426" v="2346"/>
          <ac:spMkLst>
            <pc:docMk/>
            <pc:sldMk cId="3468693418" sldId="2147479572"/>
            <ac:spMk id="5" creationId="{202448A3-9C54-1F8F-81E0-183A0D0352D6}"/>
          </ac:spMkLst>
        </pc:spChg>
        <pc:spChg chg="mod">
          <ac:chgData name="Yousuf, Arsalan" userId="1f742cd1-60f2-4cc5-8102-e09412e517e3" providerId="ADAL" clId="{15464559-230C-484E-9C98-D7B9D3FDBA96}" dt="2024-01-11T14:37:54.573" v="2810" actId="1076"/>
          <ac:spMkLst>
            <pc:docMk/>
            <pc:sldMk cId="3468693418" sldId="2147479572"/>
            <ac:spMk id="6" creationId="{D9D278D7-ADAE-82D0-A1FB-A746FA41E3C5}"/>
          </ac:spMkLst>
        </pc:spChg>
        <pc:spChg chg="add del mod">
          <ac:chgData name="Yousuf, Arsalan" userId="1f742cd1-60f2-4cc5-8102-e09412e517e3" providerId="ADAL" clId="{15464559-230C-484E-9C98-D7B9D3FDBA96}" dt="2024-01-11T14:17:20.054" v="2586" actId="478"/>
          <ac:spMkLst>
            <pc:docMk/>
            <pc:sldMk cId="3468693418" sldId="2147479572"/>
            <ac:spMk id="7" creationId="{0585585B-B68B-61EB-36B8-50B78D9AFDA4}"/>
          </ac:spMkLst>
        </pc:spChg>
        <pc:spChg chg="del">
          <ac:chgData name="Yousuf, Arsalan" userId="1f742cd1-60f2-4cc5-8102-e09412e517e3" providerId="ADAL" clId="{15464559-230C-484E-9C98-D7B9D3FDBA96}" dt="2024-01-11T13:53:57.173" v="2214" actId="478"/>
          <ac:spMkLst>
            <pc:docMk/>
            <pc:sldMk cId="3468693418" sldId="2147479572"/>
            <ac:spMk id="9" creationId="{D2157997-84C9-5A75-8AEC-52CC216993CA}"/>
          </ac:spMkLst>
        </pc:spChg>
        <pc:spChg chg="add mod">
          <ac:chgData name="Yousuf, Arsalan" userId="1f742cd1-60f2-4cc5-8102-e09412e517e3" providerId="ADAL" clId="{15464559-230C-484E-9C98-D7B9D3FDBA96}" dt="2024-01-11T14:39:44.808" v="2847" actId="20577"/>
          <ac:spMkLst>
            <pc:docMk/>
            <pc:sldMk cId="3468693418" sldId="2147479572"/>
            <ac:spMk id="10" creationId="{DD55C087-A6A4-8D79-DDAE-0A63AF1B3B18}"/>
          </ac:spMkLst>
        </pc:spChg>
        <pc:spChg chg="del">
          <ac:chgData name="Yousuf, Arsalan" userId="1f742cd1-60f2-4cc5-8102-e09412e517e3" providerId="ADAL" clId="{15464559-230C-484E-9C98-D7B9D3FDBA96}" dt="2024-01-11T14:17:20.054" v="2586" actId="478"/>
          <ac:spMkLst>
            <pc:docMk/>
            <pc:sldMk cId="3468693418" sldId="2147479572"/>
            <ac:spMk id="16" creationId="{1F7028E4-7114-13C3-863A-35B6D9F1000C}"/>
          </ac:spMkLst>
        </pc:spChg>
        <pc:spChg chg="mod">
          <ac:chgData name="Yousuf, Arsalan" userId="1f742cd1-60f2-4cc5-8102-e09412e517e3" providerId="ADAL" clId="{15464559-230C-484E-9C98-D7B9D3FDBA96}" dt="2024-01-11T16:50:46.058" v="7983"/>
          <ac:spMkLst>
            <pc:docMk/>
            <pc:sldMk cId="3468693418" sldId="2147479572"/>
            <ac:spMk id="18" creationId="{14C86E9B-D1A5-AFA2-682D-D010A63C7A75}"/>
          </ac:spMkLst>
        </pc:spChg>
        <pc:spChg chg="del">
          <ac:chgData name="Yousuf, Arsalan" userId="1f742cd1-60f2-4cc5-8102-e09412e517e3" providerId="ADAL" clId="{15464559-230C-484E-9C98-D7B9D3FDBA96}" dt="2024-01-11T14:07:46.105" v="2345" actId="478"/>
          <ac:spMkLst>
            <pc:docMk/>
            <pc:sldMk cId="3468693418" sldId="2147479572"/>
            <ac:spMk id="19" creationId="{5413C702-C86E-1C6A-0FC5-22704A50C07C}"/>
          </ac:spMkLst>
        </pc:spChg>
        <pc:spChg chg="del">
          <ac:chgData name="Yousuf, Arsalan" userId="1f742cd1-60f2-4cc5-8102-e09412e517e3" providerId="ADAL" clId="{15464559-230C-484E-9C98-D7B9D3FDBA96}" dt="2024-01-11T14:07:46.105" v="2345" actId="478"/>
          <ac:spMkLst>
            <pc:docMk/>
            <pc:sldMk cId="3468693418" sldId="2147479572"/>
            <ac:spMk id="20" creationId="{2C480418-DB43-B957-D08D-00B683F366E1}"/>
          </ac:spMkLst>
        </pc:spChg>
        <pc:spChg chg="mod">
          <ac:chgData name="Yousuf, Arsalan" userId="1f742cd1-60f2-4cc5-8102-e09412e517e3" providerId="ADAL" clId="{15464559-230C-484E-9C98-D7B9D3FDBA96}" dt="2024-01-11T14:37:28.587" v="2805" actId="404"/>
          <ac:spMkLst>
            <pc:docMk/>
            <pc:sldMk cId="3468693418" sldId="2147479572"/>
            <ac:spMk id="21" creationId="{C99EE3AD-0681-40D2-7FD6-3E5954772208}"/>
          </ac:spMkLst>
        </pc:spChg>
        <pc:spChg chg="mod">
          <ac:chgData name="Yousuf, Arsalan" userId="1f742cd1-60f2-4cc5-8102-e09412e517e3" providerId="ADAL" clId="{15464559-230C-484E-9C98-D7B9D3FDBA96}" dt="2024-01-11T14:39:08.268" v="2841" actId="20577"/>
          <ac:spMkLst>
            <pc:docMk/>
            <pc:sldMk cId="3468693418" sldId="2147479572"/>
            <ac:spMk id="22" creationId="{E81AAF8B-CA6D-BA71-680D-9E0E2F0B4484}"/>
          </ac:spMkLst>
        </pc:spChg>
        <pc:grpChg chg="add mod ord">
          <ac:chgData name="Yousuf, Arsalan" userId="1f742cd1-60f2-4cc5-8102-e09412e517e3" providerId="ADAL" clId="{15464559-230C-484E-9C98-D7B9D3FDBA96}" dt="2024-01-11T14:37:49.343" v="2809" actId="167"/>
          <ac:grpSpMkLst>
            <pc:docMk/>
            <pc:sldMk cId="3468693418" sldId="2147479572"/>
            <ac:grpSpMk id="11" creationId="{5269238A-786E-ACE8-7B80-CD9151A68517}"/>
          </ac:grpSpMkLst>
        </pc:grpChg>
        <pc:grpChg chg="del">
          <ac:chgData name="Yousuf, Arsalan" userId="1f742cd1-60f2-4cc5-8102-e09412e517e3" providerId="ADAL" clId="{15464559-230C-484E-9C98-D7B9D3FDBA96}" dt="2024-01-11T14:37:45.336" v="2806" actId="478"/>
          <ac:grpSpMkLst>
            <pc:docMk/>
            <pc:sldMk cId="3468693418" sldId="2147479572"/>
            <ac:grpSpMk id="12" creationId="{492CAE36-7FB3-8359-3FAB-A0A72E98871A}"/>
          </ac:grpSpMkLst>
        </pc:grpChg>
        <pc:picChg chg="mod">
          <ac:chgData name="Yousuf, Arsalan" userId="1f742cd1-60f2-4cc5-8102-e09412e517e3" providerId="ADAL" clId="{15464559-230C-484E-9C98-D7B9D3FDBA96}" dt="2024-01-11T14:37:45.903" v="2807"/>
          <ac:picMkLst>
            <pc:docMk/>
            <pc:sldMk cId="3468693418" sldId="2147479572"/>
            <ac:picMk id="15" creationId="{9EA1692C-4F6C-7DC4-9130-FABF8C8EF79E}"/>
          </ac:picMkLst>
        </pc:picChg>
        <pc:picChg chg="mod">
          <ac:chgData name="Yousuf, Arsalan" userId="1f742cd1-60f2-4cc5-8102-e09412e517e3" providerId="ADAL" clId="{15464559-230C-484E-9C98-D7B9D3FDBA96}" dt="2024-01-11T14:37:45.903" v="2807"/>
          <ac:picMkLst>
            <pc:docMk/>
            <pc:sldMk cId="3468693418" sldId="2147479572"/>
            <ac:picMk id="23" creationId="{83F036C4-EA1A-005B-26AC-3EDBA64D133A}"/>
          </ac:picMkLst>
        </pc:picChg>
        <pc:picChg chg="mod">
          <ac:chgData name="Yousuf, Arsalan" userId="1f742cd1-60f2-4cc5-8102-e09412e517e3" providerId="ADAL" clId="{15464559-230C-484E-9C98-D7B9D3FDBA96}" dt="2024-01-11T14:37:45.903" v="2807"/>
          <ac:picMkLst>
            <pc:docMk/>
            <pc:sldMk cId="3468693418" sldId="2147479572"/>
            <ac:picMk id="24" creationId="{ED31068D-3CC0-863F-1E87-92DAA0747C1C}"/>
          </ac:picMkLst>
        </pc:picChg>
      </pc:sldChg>
      <pc:sldChg chg="addSp delSp modSp mod">
        <pc:chgData name="Yousuf, Arsalan" userId="1f742cd1-60f2-4cc5-8102-e09412e517e3" providerId="ADAL" clId="{15464559-230C-484E-9C98-D7B9D3FDBA96}" dt="2024-01-11T16:50:53.190" v="7989"/>
        <pc:sldMkLst>
          <pc:docMk/>
          <pc:sldMk cId="209046808" sldId="2147479573"/>
        </pc:sldMkLst>
        <pc:spChg chg="add mod">
          <ac:chgData name="Yousuf, Arsalan" userId="1f742cd1-60f2-4cc5-8102-e09412e517e3" providerId="ADAL" clId="{15464559-230C-484E-9C98-D7B9D3FDBA96}" dt="2024-01-11T13:53:59.055" v="2217"/>
          <ac:spMkLst>
            <pc:docMk/>
            <pc:sldMk cId="209046808" sldId="2147479573"/>
            <ac:spMk id="5" creationId="{1ADE4B74-9D36-2D4E-30A0-4A011CEAB9F3}"/>
          </ac:spMkLst>
        </pc:spChg>
        <pc:spChg chg="mod ord">
          <ac:chgData name="Yousuf, Arsalan" userId="1f742cd1-60f2-4cc5-8102-e09412e517e3" providerId="ADAL" clId="{15464559-230C-484E-9C98-D7B9D3FDBA96}" dt="2024-01-11T14:42:53.975" v="2969" actId="1076"/>
          <ac:spMkLst>
            <pc:docMk/>
            <pc:sldMk cId="209046808" sldId="2147479573"/>
            <ac:spMk id="6" creationId="{D9D278D7-ADAE-82D0-A1FB-A746FA41E3C5}"/>
          </ac:spMkLst>
        </pc:spChg>
        <pc:spChg chg="add mod">
          <ac:chgData name="Yousuf, Arsalan" userId="1f742cd1-60f2-4cc5-8102-e09412e517e3" providerId="ADAL" clId="{15464559-230C-484E-9C98-D7B9D3FDBA96}" dt="2024-01-11T14:07:49.496" v="2348"/>
          <ac:spMkLst>
            <pc:docMk/>
            <pc:sldMk cId="209046808" sldId="2147479573"/>
            <ac:spMk id="7" creationId="{74784C4D-19D1-0345-183A-BB8A01E2E264}"/>
          </ac:spMkLst>
        </pc:spChg>
        <pc:spChg chg="del">
          <ac:chgData name="Yousuf, Arsalan" userId="1f742cd1-60f2-4cc5-8102-e09412e517e3" providerId="ADAL" clId="{15464559-230C-484E-9C98-D7B9D3FDBA96}" dt="2024-01-11T13:53:58.663" v="2216" actId="478"/>
          <ac:spMkLst>
            <pc:docMk/>
            <pc:sldMk cId="209046808" sldId="2147479573"/>
            <ac:spMk id="9" creationId="{D2157997-84C9-5A75-8AEC-52CC216993CA}"/>
          </ac:spMkLst>
        </pc:spChg>
        <pc:spChg chg="add mod">
          <ac:chgData name="Yousuf, Arsalan" userId="1f742cd1-60f2-4cc5-8102-e09412e517e3" providerId="ADAL" clId="{15464559-230C-484E-9C98-D7B9D3FDBA96}" dt="2024-01-11T14:07:49.496" v="2348"/>
          <ac:spMkLst>
            <pc:docMk/>
            <pc:sldMk cId="209046808" sldId="2147479573"/>
            <ac:spMk id="10" creationId="{7C4726EB-1244-E4D3-7C0E-58111DE8D08C}"/>
          </ac:spMkLst>
        </pc:spChg>
        <pc:spChg chg="add del mod">
          <ac:chgData name="Yousuf, Arsalan" userId="1f742cd1-60f2-4cc5-8102-e09412e517e3" providerId="ADAL" clId="{15464559-230C-484E-9C98-D7B9D3FDBA96}" dt="2024-01-11T14:17:22.880" v="2588" actId="478"/>
          <ac:spMkLst>
            <pc:docMk/>
            <pc:sldMk cId="209046808" sldId="2147479573"/>
            <ac:spMk id="11" creationId="{DB8128FB-C582-D021-BF4D-B412929253B5}"/>
          </ac:spMkLst>
        </pc:spChg>
        <pc:spChg chg="add mod">
          <ac:chgData name="Yousuf, Arsalan" userId="1f742cd1-60f2-4cc5-8102-e09412e517e3" providerId="ADAL" clId="{15464559-230C-484E-9C98-D7B9D3FDBA96}" dt="2024-01-11T14:39:50.015" v="2853" actId="20577"/>
          <ac:spMkLst>
            <pc:docMk/>
            <pc:sldMk cId="209046808" sldId="2147479573"/>
            <ac:spMk id="12" creationId="{D1697084-4D79-B5BD-C210-B0B1DB923EAB}"/>
          </ac:spMkLst>
        </pc:spChg>
        <pc:spChg chg="del">
          <ac:chgData name="Yousuf, Arsalan" userId="1f742cd1-60f2-4cc5-8102-e09412e517e3" providerId="ADAL" clId="{15464559-230C-484E-9C98-D7B9D3FDBA96}" dt="2024-01-11T14:17:22.880" v="2588" actId="478"/>
          <ac:spMkLst>
            <pc:docMk/>
            <pc:sldMk cId="209046808" sldId="2147479573"/>
            <ac:spMk id="16" creationId="{1F7028E4-7114-13C3-863A-35B6D9F1000C}"/>
          </ac:spMkLst>
        </pc:spChg>
        <pc:spChg chg="mod">
          <ac:chgData name="Yousuf, Arsalan" userId="1f742cd1-60f2-4cc5-8102-e09412e517e3" providerId="ADAL" clId="{15464559-230C-484E-9C98-D7B9D3FDBA96}" dt="2024-01-11T16:50:53.190" v="7989"/>
          <ac:spMkLst>
            <pc:docMk/>
            <pc:sldMk cId="209046808" sldId="2147479573"/>
            <ac:spMk id="18" creationId="{14C86E9B-D1A5-AFA2-682D-D010A63C7A75}"/>
          </ac:spMkLst>
        </pc:spChg>
        <pc:spChg chg="del">
          <ac:chgData name="Yousuf, Arsalan" userId="1f742cd1-60f2-4cc5-8102-e09412e517e3" providerId="ADAL" clId="{15464559-230C-484E-9C98-D7B9D3FDBA96}" dt="2024-01-11T14:07:49.140" v="2347" actId="478"/>
          <ac:spMkLst>
            <pc:docMk/>
            <pc:sldMk cId="209046808" sldId="2147479573"/>
            <ac:spMk id="19" creationId="{5413C702-C86E-1C6A-0FC5-22704A50C07C}"/>
          </ac:spMkLst>
        </pc:spChg>
        <pc:spChg chg="del">
          <ac:chgData name="Yousuf, Arsalan" userId="1f742cd1-60f2-4cc5-8102-e09412e517e3" providerId="ADAL" clId="{15464559-230C-484E-9C98-D7B9D3FDBA96}" dt="2024-01-11T14:07:49.140" v="2347" actId="478"/>
          <ac:spMkLst>
            <pc:docMk/>
            <pc:sldMk cId="209046808" sldId="2147479573"/>
            <ac:spMk id="20" creationId="{2C480418-DB43-B957-D08D-00B683F366E1}"/>
          </ac:spMkLst>
        </pc:spChg>
        <pc:spChg chg="mod">
          <ac:chgData name="Yousuf, Arsalan" userId="1f742cd1-60f2-4cc5-8102-e09412e517e3" providerId="ADAL" clId="{15464559-230C-484E-9C98-D7B9D3FDBA96}" dt="2024-01-11T14:41:26.473" v="2863" actId="404"/>
          <ac:spMkLst>
            <pc:docMk/>
            <pc:sldMk cId="209046808" sldId="2147479573"/>
            <ac:spMk id="21" creationId="{C99EE3AD-0681-40D2-7FD6-3E5954772208}"/>
          </ac:spMkLst>
        </pc:spChg>
        <pc:spChg chg="mod">
          <ac:chgData name="Yousuf, Arsalan" userId="1f742cd1-60f2-4cc5-8102-e09412e517e3" providerId="ADAL" clId="{15464559-230C-484E-9C98-D7B9D3FDBA96}" dt="2024-01-11T14:41:57.149" v="2961" actId="20577"/>
          <ac:spMkLst>
            <pc:docMk/>
            <pc:sldMk cId="209046808" sldId="2147479573"/>
            <ac:spMk id="22" creationId="{E81AAF8B-CA6D-BA71-680D-9E0E2F0B4484}"/>
          </ac:spMkLst>
        </pc:spChg>
        <pc:grpChg chg="add mod">
          <ac:chgData name="Yousuf, Arsalan" userId="1f742cd1-60f2-4cc5-8102-e09412e517e3" providerId="ADAL" clId="{15464559-230C-484E-9C98-D7B9D3FDBA96}" dt="2024-01-11T14:42:39.772" v="2966"/>
          <ac:grpSpMkLst>
            <pc:docMk/>
            <pc:sldMk cId="209046808" sldId="2147479573"/>
            <ac:grpSpMk id="13" creationId="{0A771A0B-2B33-D25C-E3D1-4A239593C301}"/>
          </ac:grpSpMkLst>
        </pc:grpChg>
        <pc:picChg chg="del">
          <ac:chgData name="Yousuf, Arsalan" userId="1f742cd1-60f2-4cc5-8102-e09412e517e3" providerId="ADAL" clId="{15464559-230C-484E-9C98-D7B9D3FDBA96}" dt="2024-01-11T14:42:27.619" v="2962" actId="478"/>
          <ac:picMkLst>
            <pc:docMk/>
            <pc:sldMk cId="209046808" sldId="2147479573"/>
            <ac:picMk id="2" creationId="{F1B2986B-6150-9F44-7FD9-FF5DBD120E70}"/>
          </ac:picMkLst>
        </pc:picChg>
        <pc:picChg chg="mod">
          <ac:chgData name="Yousuf, Arsalan" userId="1f742cd1-60f2-4cc5-8102-e09412e517e3" providerId="ADAL" clId="{15464559-230C-484E-9C98-D7B9D3FDBA96}" dt="2024-01-11T14:42:41.985" v="2967" actId="1076"/>
          <ac:picMkLst>
            <pc:docMk/>
            <pc:sldMk cId="209046808" sldId="2147479573"/>
            <ac:picMk id="3" creationId="{CDD3E1C2-B435-34AC-3314-6191A8505683}"/>
          </ac:picMkLst>
        </pc:picChg>
        <pc:picChg chg="mod">
          <ac:chgData name="Yousuf, Arsalan" userId="1f742cd1-60f2-4cc5-8102-e09412e517e3" providerId="ADAL" clId="{15464559-230C-484E-9C98-D7B9D3FDBA96}" dt="2024-01-11T14:42:39.772" v="2966"/>
          <ac:picMkLst>
            <pc:docMk/>
            <pc:sldMk cId="209046808" sldId="2147479573"/>
            <ac:picMk id="14" creationId="{EAEEB9C4-A93B-8EEA-3B9F-8C45AD23ADB3}"/>
          </ac:picMkLst>
        </pc:picChg>
        <pc:picChg chg="mod">
          <ac:chgData name="Yousuf, Arsalan" userId="1f742cd1-60f2-4cc5-8102-e09412e517e3" providerId="ADAL" clId="{15464559-230C-484E-9C98-D7B9D3FDBA96}" dt="2024-01-11T14:42:39.772" v="2966"/>
          <ac:picMkLst>
            <pc:docMk/>
            <pc:sldMk cId="209046808" sldId="2147479573"/>
            <ac:picMk id="15" creationId="{94CE1BCF-D446-4B75-3519-3D0DF36EC30F}"/>
          </ac:picMkLst>
        </pc:picChg>
      </pc:sldChg>
      <pc:sldChg chg="addSp delSp modSp mod ord">
        <pc:chgData name="Yousuf, Arsalan" userId="1f742cd1-60f2-4cc5-8102-e09412e517e3" providerId="ADAL" clId="{15464559-230C-484E-9C98-D7B9D3FDBA96}" dt="2024-01-11T16:50:49.047" v="7985"/>
        <pc:sldMkLst>
          <pc:docMk/>
          <pc:sldMk cId="1843332973" sldId="2147479574"/>
        </pc:sldMkLst>
        <pc:spChg chg="add mod">
          <ac:chgData name="Yousuf, Arsalan" userId="1f742cd1-60f2-4cc5-8102-e09412e517e3" providerId="ADAL" clId="{15464559-230C-484E-9C98-D7B9D3FDBA96}" dt="2024-01-11T13:54:00.343" v="2219"/>
          <ac:spMkLst>
            <pc:docMk/>
            <pc:sldMk cId="1843332973" sldId="2147479574"/>
            <ac:spMk id="2" creationId="{02CB1298-E088-0260-1193-1C86FD4D2473}"/>
          </ac:spMkLst>
        </pc:spChg>
        <pc:spChg chg="add mod">
          <ac:chgData name="Yousuf, Arsalan" userId="1f742cd1-60f2-4cc5-8102-e09412e517e3" providerId="ADAL" clId="{15464559-230C-484E-9C98-D7B9D3FDBA96}" dt="2024-01-11T14:07:52.514" v="2350"/>
          <ac:spMkLst>
            <pc:docMk/>
            <pc:sldMk cId="1843332973" sldId="2147479574"/>
            <ac:spMk id="3" creationId="{8BE2B6AB-F166-0B85-ABE7-2BB27DDB5B8D}"/>
          </ac:spMkLst>
        </pc:spChg>
        <pc:spChg chg="add mod">
          <ac:chgData name="Yousuf, Arsalan" userId="1f742cd1-60f2-4cc5-8102-e09412e517e3" providerId="ADAL" clId="{15464559-230C-484E-9C98-D7B9D3FDBA96}" dt="2024-01-11T14:07:52.514" v="2350"/>
          <ac:spMkLst>
            <pc:docMk/>
            <pc:sldMk cId="1843332973" sldId="2147479574"/>
            <ac:spMk id="5" creationId="{5F2F4FBA-3DC8-9D17-0813-52D2CAEC0349}"/>
          </ac:spMkLst>
        </pc:spChg>
        <pc:spChg chg="del">
          <ac:chgData name="Yousuf, Arsalan" userId="1f742cd1-60f2-4cc5-8102-e09412e517e3" providerId="ADAL" clId="{15464559-230C-484E-9C98-D7B9D3FDBA96}" dt="2024-01-11T13:53:59.939" v="2218" actId="478"/>
          <ac:spMkLst>
            <pc:docMk/>
            <pc:sldMk cId="1843332973" sldId="2147479574"/>
            <ac:spMk id="9" creationId="{D2157997-84C9-5A75-8AEC-52CC216993CA}"/>
          </ac:spMkLst>
        </pc:spChg>
        <pc:spChg chg="del">
          <ac:chgData name="Yousuf, Arsalan" userId="1f742cd1-60f2-4cc5-8102-e09412e517e3" providerId="ADAL" clId="{15464559-230C-484E-9C98-D7B9D3FDBA96}" dt="2024-01-11T14:17:25.748" v="2590" actId="478"/>
          <ac:spMkLst>
            <pc:docMk/>
            <pc:sldMk cId="1843332973" sldId="2147479574"/>
            <ac:spMk id="16" creationId="{1F7028E4-7114-13C3-863A-35B6D9F1000C}"/>
          </ac:spMkLst>
        </pc:spChg>
        <pc:spChg chg="mod">
          <ac:chgData name="Yousuf, Arsalan" userId="1f742cd1-60f2-4cc5-8102-e09412e517e3" providerId="ADAL" clId="{15464559-230C-484E-9C98-D7B9D3FDBA96}" dt="2024-01-11T16:50:49.047" v="7985"/>
          <ac:spMkLst>
            <pc:docMk/>
            <pc:sldMk cId="1843332973" sldId="2147479574"/>
            <ac:spMk id="18" creationId="{14C86E9B-D1A5-AFA2-682D-D010A63C7A75}"/>
          </ac:spMkLst>
        </pc:spChg>
        <pc:spChg chg="del">
          <ac:chgData name="Yousuf, Arsalan" userId="1f742cd1-60f2-4cc5-8102-e09412e517e3" providerId="ADAL" clId="{15464559-230C-484E-9C98-D7B9D3FDBA96}" dt="2024-01-11T14:07:52.232" v="2349" actId="478"/>
          <ac:spMkLst>
            <pc:docMk/>
            <pc:sldMk cId="1843332973" sldId="2147479574"/>
            <ac:spMk id="19" creationId="{5413C702-C86E-1C6A-0FC5-22704A50C07C}"/>
          </ac:spMkLst>
        </pc:spChg>
        <pc:spChg chg="del">
          <ac:chgData name="Yousuf, Arsalan" userId="1f742cd1-60f2-4cc5-8102-e09412e517e3" providerId="ADAL" clId="{15464559-230C-484E-9C98-D7B9D3FDBA96}" dt="2024-01-11T14:07:52.232" v="2349" actId="478"/>
          <ac:spMkLst>
            <pc:docMk/>
            <pc:sldMk cId="1843332973" sldId="2147479574"/>
            <ac:spMk id="20" creationId="{2C480418-DB43-B957-D08D-00B683F366E1}"/>
          </ac:spMkLst>
        </pc:spChg>
        <pc:spChg chg="mod">
          <ac:chgData name="Yousuf, Arsalan" userId="1f742cd1-60f2-4cc5-8102-e09412e517e3" providerId="ADAL" clId="{15464559-230C-484E-9C98-D7B9D3FDBA96}" dt="2024-01-11T14:40:04.825" v="2856" actId="404"/>
          <ac:spMkLst>
            <pc:docMk/>
            <pc:sldMk cId="1843332973" sldId="2147479574"/>
            <ac:spMk id="21" creationId="{C99EE3AD-0681-40D2-7FD6-3E5954772208}"/>
          </ac:spMkLst>
        </pc:spChg>
        <pc:spChg chg="mod">
          <ac:chgData name="Yousuf, Arsalan" userId="1f742cd1-60f2-4cc5-8102-e09412e517e3" providerId="ADAL" clId="{15464559-230C-484E-9C98-D7B9D3FDBA96}" dt="2024-01-11T14:40:56.230" v="2860"/>
          <ac:spMkLst>
            <pc:docMk/>
            <pc:sldMk cId="1843332973" sldId="2147479574"/>
            <ac:spMk id="22" creationId="{E81AAF8B-CA6D-BA71-680D-9E0E2F0B4484}"/>
          </ac:spMkLst>
        </pc:spChg>
        <pc:spChg chg="add del mod">
          <ac:chgData name="Yousuf, Arsalan" userId="1f742cd1-60f2-4cc5-8102-e09412e517e3" providerId="ADAL" clId="{15464559-230C-484E-9C98-D7B9D3FDBA96}" dt="2024-01-11T14:17:25.748" v="2590" actId="478"/>
          <ac:spMkLst>
            <pc:docMk/>
            <pc:sldMk cId="1843332973" sldId="2147479574"/>
            <ac:spMk id="26" creationId="{8916B45F-E8F5-1B1B-39DD-DD0E6864257D}"/>
          </ac:spMkLst>
        </pc:spChg>
        <pc:spChg chg="add mod">
          <ac:chgData name="Yousuf, Arsalan" userId="1f742cd1-60f2-4cc5-8102-e09412e517e3" providerId="ADAL" clId="{15464559-230C-484E-9C98-D7B9D3FDBA96}" dt="2024-01-11T14:39:46.522" v="2849" actId="20577"/>
          <ac:spMkLst>
            <pc:docMk/>
            <pc:sldMk cId="1843332973" sldId="2147479574"/>
            <ac:spMk id="27" creationId="{036705BD-0872-ABC5-10FB-FB0B88E188F9}"/>
          </ac:spMkLst>
        </pc:spChg>
        <pc:grpChg chg="del">
          <ac:chgData name="Yousuf, Arsalan" userId="1f742cd1-60f2-4cc5-8102-e09412e517e3" providerId="ADAL" clId="{15464559-230C-484E-9C98-D7B9D3FDBA96}" dt="2024-01-11T14:40:12.810" v="2857" actId="478"/>
          <ac:grpSpMkLst>
            <pc:docMk/>
            <pc:sldMk cId="1843332973" sldId="2147479574"/>
            <ac:grpSpMk id="7" creationId="{DB87F5D1-BF4B-217C-DCC5-C91275AFD17C}"/>
          </ac:grpSpMkLst>
        </pc:grpChg>
        <pc:picChg chg="add mod">
          <ac:chgData name="Yousuf, Arsalan" userId="1f742cd1-60f2-4cc5-8102-e09412e517e3" providerId="ADAL" clId="{15464559-230C-484E-9C98-D7B9D3FDBA96}" dt="2024-01-11T14:40:15.639" v="2859" actId="1076"/>
          <ac:picMkLst>
            <pc:docMk/>
            <pc:sldMk cId="1843332973" sldId="2147479574"/>
            <ac:picMk id="28" creationId="{3248C5B3-25A5-2E51-EC0A-B7DD7E9AAB8C}"/>
          </ac:picMkLst>
        </pc:picChg>
        <pc:picChg chg="add mod">
          <ac:chgData name="Yousuf, Arsalan" userId="1f742cd1-60f2-4cc5-8102-e09412e517e3" providerId="ADAL" clId="{15464559-230C-484E-9C98-D7B9D3FDBA96}" dt="2024-01-11T14:40:15.639" v="2859" actId="1076"/>
          <ac:picMkLst>
            <pc:docMk/>
            <pc:sldMk cId="1843332973" sldId="2147479574"/>
            <ac:picMk id="29" creationId="{2C1D7BB1-2E49-DD9E-80CF-33DA716472CF}"/>
          </ac:picMkLst>
        </pc:picChg>
      </pc:sldChg>
      <pc:sldChg chg="addSp delSp modSp mod">
        <pc:chgData name="Yousuf, Arsalan" userId="1f742cd1-60f2-4cc5-8102-e09412e517e3" providerId="ADAL" clId="{15464559-230C-484E-9C98-D7B9D3FDBA96}" dt="2024-01-11T15:19:38.579" v="4127"/>
        <pc:sldMkLst>
          <pc:docMk/>
          <pc:sldMk cId="1818102993" sldId="2147479575"/>
        </pc:sldMkLst>
        <pc:spChg chg="del">
          <ac:chgData name="Yousuf, Arsalan" userId="1f742cd1-60f2-4cc5-8102-e09412e517e3" providerId="ADAL" clId="{15464559-230C-484E-9C98-D7B9D3FDBA96}" dt="2024-01-11T13:54:03.685" v="2224" actId="478"/>
          <ac:spMkLst>
            <pc:docMk/>
            <pc:sldMk cId="1818102993" sldId="2147479575"/>
            <ac:spMk id="3" creationId="{E370BA31-7D6B-448E-E8E2-444EBB45F42F}"/>
          </ac:spMkLst>
        </pc:spChg>
        <pc:spChg chg="del">
          <ac:chgData name="Yousuf, Arsalan" userId="1f742cd1-60f2-4cc5-8102-e09412e517e3" providerId="ADAL" clId="{15464559-230C-484E-9C98-D7B9D3FDBA96}" dt="2024-01-11T14:18:01.301" v="2604" actId="478"/>
          <ac:spMkLst>
            <pc:docMk/>
            <pc:sldMk cId="1818102993" sldId="2147479575"/>
            <ac:spMk id="5" creationId="{0564BCBE-C27C-921F-3AA9-34CD82D3BD67}"/>
          </ac:spMkLst>
        </pc:spChg>
        <pc:spChg chg="mod">
          <ac:chgData name="Yousuf, Arsalan" userId="1f742cd1-60f2-4cc5-8102-e09412e517e3" providerId="ADAL" clId="{15464559-230C-484E-9C98-D7B9D3FDBA96}" dt="2024-01-11T15:19:38.579" v="4127"/>
          <ac:spMkLst>
            <pc:docMk/>
            <pc:sldMk cId="1818102993" sldId="2147479575"/>
            <ac:spMk id="6" creationId="{6C6E46D1-9928-6F5D-9E42-D7E1F30C0432}"/>
          </ac:spMkLst>
        </pc:spChg>
        <pc:spChg chg="del">
          <ac:chgData name="Yousuf, Arsalan" userId="1f742cd1-60f2-4cc5-8102-e09412e517e3" providerId="ADAL" clId="{15464559-230C-484E-9C98-D7B9D3FDBA96}" dt="2024-01-11T14:08:01.511" v="2355" actId="478"/>
          <ac:spMkLst>
            <pc:docMk/>
            <pc:sldMk cId="1818102993" sldId="2147479575"/>
            <ac:spMk id="10" creationId="{F042EFDD-EDA4-5362-D87C-C595F26609E3}"/>
          </ac:spMkLst>
        </pc:spChg>
        <pc:spChg chg="del">
          <ac:chgData name="Yousuf, Arsalan" userId="1f742cd1-60f2-4cc5-8102-e09412e517e3" providerId="ADAL" clId="{15464559-230C-484E-9C98-D7B9D3FDBA96}" dt="2024-01-11T14:08:01.511" v="2355" actId="478"/>
          <ac:spMkLst>
            <pc:docMk/>
            <pc:sldMk cId="1818102993" sldId="2147479575"/>
            <ac:spMk id="11" creationId="{F82FD344-7B33-8AE4-8EEF-50719F503FC9}"/>
          </ac:spMkLst>
        </pc:spChg>
        <pc:spChg chg="mod">
          <ac:chgData name="Yousuf, Arsalan" userId="1f742cd1-60f2-4cc5-8102-e09412e517e3" providerId="ADAL" clId="{15464559-230C-484E-9C98-D7B9D3FDBA96}" dt="2024-01-11T15:19:15.437" v="4125" actId="255"/>
          <ac:spMkLst>
            <pc:docMk/>
            <pc:sldMk cId="1818102993" sldId="2147479575"/>
            <ac:spMk id="13" creationId="{33DDE945-E8CA-2113-0778-A7C5E1D6F168}"/>
          </ac:spMkLst>
        </pc:spChg>
        <pc:spChg chg="mod">
          <ac:chgData name="Yousuf, Arsalan" userId="1f742cd1-60f2-4cc5-8102-e09412e517e3" providerId="ADAL" clId="{15464559-230C-484E-9C98-D7B9D3FDBA96}" dt="2024-01-11T15:19:08.283" v="4122" actId="2711"/>
          <ac:spMkLst>
            <pc:docMk/>
            <pc:sldMk cId="1818102993" sldId="2147479575"/>
            <ac:spMk id="14" creationId="{74E8D412-29B6-7CB8-793B-7E0D9E36ADE2}"/>
          </ac:spMkLst>
        </pc:spChg>
        <pc:spChg chg="add mod">
          <ac:chgData name="Yousuf, Arsalan" userId="1f742cd1-60f2-4cc5-8102-e09412e517e3" providerId="ADAL" clId="{15464559-230C-484E-9C98-D7B9D3FDBA96}" dt="2024-01-11T13:54:04.078" v="2225"/>
          <ac:spMkLst>
            <pc:docMk/>
            <pc:sldMk cId="1818102993" sldId="2147479575"/>
            <ac:spMk id="15" creationId="{9FF90582-304C-8AED-2E50-AB8ABD86D626}"/>
          </ac:spMkLst>
        </pc:spChg>
        <pc:spChg chg="add mod">
          <ac:chgData name="Yousuf, Arsalan" userId="1f742cd1-60f2-4cc5-8102-e09412e517e3" providerId="ADAL" clId="{15464559-230C-484E-9C98-D7B9D3FDBA96}" dt="2024-01-11T14:08:01.821" v="2356"/>
          <ac:spMkLst>
            <pc:docMk/>
            <pc:sldMk cId="1818102993" sldId="2147479575"/>
            <ac:spMk id="17" creationId="{E72D22CF-30FA-46E6-A427-1CFF51A57365}"/>
          </ac:spMkLst>
        </pc:spChg>
        <pc:spChg chg="add mod">
          <ac:chgData name="Yousuf, Arsalan" userId="1f742cd1-60f2-4cc5-8102-e09412e517e3" providerId="ADAL" clId="{15464559-230C-484E-9C98-D7B9D3FDBA96}" dt="2024-01-11T14:08:01.821" v="2356"/>
          <ac:spMkLst>
            <pc:docMk/>
            <pc:sldMk cId="1818102993" sldId="2147479575"/>
            <ac:spMk id="19" creationId="{0C81CA47-6BA4-904B-674B-771636761756}"/>
          </ac:spMkLst>
        </pc:spChg>
        <pc:spChg chg="add mod">
          <ac:chgData name="Yousuf, Arsalan" userId="1f742cd1-60f2-4cc5-8102-e09412e517e3" providerId="ADAL" clId="{15464559-230C-484E-9C98-D7B9D3FDBA96}" dt="2024-01-11T14:18:04.559" v="2605"/>
          <ac:spMkLst>
            <pc:docMk/>
            <pc:sldMk cId="1818102993" sldId="2147479575"/>
            <ac:spMk id="20" creationId="{1C283DC2-85F3-5E8C-988C-1D87F0FF6E48}"/>
          </ac:spMkLst>
        </pc:spChg>
      </pc:sldChg>
      <pc:sldChg chg="addSp delSp modSp mod ord">
        <pc:chgData name="Yousuf, Arsalan" userId="1f742cd1-60f2-4cc5-8102-e09412e517e3" providerId="ADAL" clId="{15464559-230C-484E-9C98-D7B9D3FDBA96}" dt="2024-01-11T14:10:08.955" v="2379"/>
        <pc:sldMkLst>
          <pc:docMk/>
          <pc:sldMk cId="4038553599" sldId="2147479576"/>
        </pc:sldMkLst>
        <pc:spChg chg="mod topLvl">
          <ac:chgData name="Yousuf, Arsalan" userId="1f742cd1-60f2-4cc5-8102-e09412e517e3" providerId="ADAL" clId="{15464559-230C-484E-9C98-D7B9D3FDBA96}" dt="2024-01-11T13:16:29.104" v="1526" actId="1038"/>
          <ac:spMkLst>
            <pc:docMk/>
            <pc:sldMk cId="4038553599" sldId="2147479576"/>
            <ac:spMk id="7" creationId="{76F920E3-61CA-F80A-07C4-2E08BB021161}"/>
          </ac:spMkLst>
        </pc:spChg>
        <pc:spChg chg="mod topLvl">
          <ac:chgData name="Yousuf, Arsalan" userId="1f742cd1-60f2-4cc5-8102-e09412e517e3" providerId="ADAL" clId="{15464559-230C-484E-9C98-D7B9D3FDBA96}" dt="2024-01-11T13:16:29.104" v="1526" actId="1038"/>
          <ac:spMkLst>
            <pc:docMk/>
            <pc:sldMk cId="4038553599" sldId="2147479576"/>
            <ac:spMk id="8" creationId="{496A53AC-4D74-3A3C-6A5E-983837F73265}"/>
          </ac:spMkLst>
        </pc:spChg>
        <pc:spChg chg="mod topLvl">
          <ac:chgData name="Yousuf, Arsalan" userId="1f742cd1-60f2-4cc5-8102-e09412e517e3" providerId="ADAL" clId="{15464559-230C-484E-9C98-D7B9D3FDBA96}" dt="2024-01-11T13:16:29.104" v="1526" actId="1038"/>
          <ac:spMkLst>
            <pc:docMk/>
            <pc:sldMk cId="4038553599" sldId="2147479576"/>
            <ac:spMk id="9" creationId="{94084F0E-46E4-0517-8410-F7219DDDE1E1}"/>
          </ac:spMkLst>
        </pc:spChg>
        <pc:spChg chg="mod topLvl">
          <ac:chgData name="Yousuf, Arsalan" userId="1f742cd1-60f2-4cc5-8102-e09412e517e3" providerId="ADAL" clId="{15464559-230C-484E-9C98-D7B9D3FDBA96}" dt="2024-01-11T13:16:29.104" v="1526" actId="1038"/>
          <ac:spMkLst>
            <pc:docMk/>
            <pc:sldMk cId="4038553599" sldId="2147479576"/>
            <ac:spMk id="11" creationId="{C7463FD6-3AD8-0A83-88B6-DA9388DBF232}"/>
          </ac:spMkLst>
        </pc:spChg>
        <pc:spChg chg="mod topLvl">
          <ac:chgData name="Yousuf, Arsalan" userId="1f742cd1-60f2-4cc5-8102-e09412e517e3" providerId="ADAL" clId="{15464559-230C-484E-9C98-D7B9D3FDBA96}" dt="2024-01-11T13:16:29.104" v="1526" actId="1038"/>
          <ac:spMkLst>
            <pc:docMk/>
            <pc:sldMk cId="4038553599" sldId="2147479576"/>
            <ac:spMk id="12" creationId="{0BF11788-36C6-A404-40C5-C091F638BAEF}"/>
          </ac:spMkLst>
        </pc:spChg>
        <pc:spChg chg="mod topLvl">
          <ac:chgData name="Yousuf, Arsalan" userId="1f742cd1-60f2-4cc5-8102-e09412e517e3" providerId="ADAL" clId="{15464559-230C-484E-9C98-D7B9D3FDBA96}" dt="2024-01-11T13:16:29.104" v="1526" actId="1038"/>
          <ac:spMkLst>
            <pc:docMk/>
            <pc:sldMk cId="4038553599" sldId="2147479576"/>
            <ac:spMk id="13" creationId="{25FC8395-4FE2-0705-7D89-439EEF01B713}"/>
          </ac:spMkLst>
        </pc:spChg>
        <pc:spChg chg="mod topLvl">
          <ac:chgData name="Yousuf, Arsalan" userId="1f742cd1-60f2-4cc5-8102-e09412e517e3" providerId="ADAL" clId="{15464559-230C-484E-9C98-D7B9D3FDBA96}" dt="2024-01-11T13:16:29.104" v="1526" actId="1038"/>
          <ac:spMkLst>
            <pc:docMk/>
            <pc:sldMk cId="4038553599" sldId="2147479576"/>
            <ac:spMk id="15" creationId="{5532C967-3722-2840-A4D3-EC0F017C1FE4}"/>
          </ac:spMkLst>
        </pc:spChg>
        <pc:spChg chg="mod topLvl">
          <ac:chgData name="Yousuf, Arsalan" userId="1f742cd1-60f2-4cc5-8102-e09412e517e3" providerId="ADAL" clId="{15464559-230C-484E-9C98-D7B9D3FDBA96}" dt="2024-01-11T13:16:29.104" v="1526" actId="1038"/>
          <ac:spMkLst>
            <pc:docMk/>
            <pc:sldMk cId="4038553599" sldId="2147479576"/>
            <ac:spMk id="16" creationId="{A5E3C95A-2744-40BF-DD34-DB42AC37E993}"/>
          </ac:spMkLst>
        </pc:spChg>
        <pc:spChg chg="mod topLvl">
          <ac:chgData name="Yousuf, Arsalan" userId="1f742cd1-60f2-4cc5-8102-e09412e517e3" providerId="ADAL" clId="{15464559-230C-484E-9C98-D7B9D3FDBA96}" dt="2024-01-11T13:16:29.104" v="1526" actId="1038"/>
          <ac:spMkLst>
            <pc:docMk/>
            <pc:sldMk cId="4038553599" sldId="2147479576"/>
            <ac:spMk id="17" creationId="{F94E2B68-A894-07AD-F2A0-58C4A003F189}"/>
          </ac:spMkLst>
        </pc:spChg>
        <pc:spChg chg="mod topLvl">
          <ac:chgData name="Yousuf, Arsalan" userId="1f742cd1-60f2-4cc5-8102-e09412e517e3" providerId="ADAL" clId="{15464559-230C-484E-9C98-D7B9D3FDBA96}" dt="2024-01-11T13:16:29.104" v="1526" actId="1038"/>
          <ac:spMkLst>
            <pc:docMk/>
            <pc:sldMk cId="4038553599" sldId="2147479576"/>
            <ac:spMk id="19" creationId="{89426A46-FB9D-58F7-9383-8A6E62750AA5}"/>
          </ac:spMkLst>
        </pc:spChg>
        <pc:spChg chg="mod topLvl">
          <ac:chgData name="Yousuf, Arsalan" userId="1f742cd1-60f2-4cc5-8102-e09412e517e3" providerId="ADAL" clId="{15464559-230C-484E-9C98-D7B9D3FDBA96}" dt="2024-01-11T13:16:29.104" v="1526" actId="1038"/>
          <ac:spMkLst>
            <pc:docMk/>
            <pc:sldMk cId="4038553599" sldId="2147479576"/>
            <ac:spMk id="20" creationId="{EE755FDC-B06C-3159-E44B-49C7C7A146AB}"/>
          </ac:spMkLst>
        </pc:spChg>
        <pc:spChg chg="mod topLvl">
          <ac:chgData name="Yousuf, Arsalan" userId="1f742cd1-60f2-4cc5-8102-e09412e517e3" providerId="ADAL" clId="{15464559-230C-484E-9C98-D7B9D3FDBA96}" dt="2024-01-11T13:16:29.104" v="1526" actId="1038"/>
          <ac:spMkLst>
            <pc:docMk/>
            <pc:sldMk cId="4038553599" sldId="2147479576"/>
            <ac:spMk id="21" creationId="{9D628B71-2168-5832-7D13-C3D4E3C4B39B}"/>
          </ac:spMkLst>
        </pc:spChg>
        <pc:spChg chg="mod topLvl">
          <ac:chgData name="Yousuf, Arsalan" userId="1f742cd1-60f2-4cc5-8102-e09412e517e3" providerId="ADAL" clId="{15464559-230C-484E-9C98-D7B9D3FDBA96}" dt="2024-01-11T13:16:29.104" v="1526" actId="1038"/>
          <ac:spMkLst>
            <pc:docMk/>
            <pc:sldMk cId="4038553599" sldId="2147479576"/>
            <ac:spMk id="23" creationId="{681E6191-2D21-56A3-D0AB-86B94575742D}"/>
          </ac:spMkLst>
        </pc:spChg>
        <pc:spChg chg="mod topLvl">
          <ac:chgData name="Yousuf, Arsalan" userId="1f742cd1-60f2-4cc5-8102-e09412e517e3" providerId="ADAL" clId="{15464559-230C-484E-9C98-D7B9D3FDBA96}" dt="2024-01-11T13:16:29.104" v="1526" actId="1038"/>
          <ac:spMkLst>
            <pc:docMk/>
            <pc:sldMk cId="4038553599" sldId="2147479576"/>
            <ac:spMk id="24" creationId="{640F9DC1-A0A6-FFD7-482A-BC6E93F8B8A8}"/>
          </ac:spMkLst>
        </pc:spChg>
        <pc:spChg chg="mod topLvl">
          <ac:chgData name="Yousuf, Arsalan" userId="1f742cd1-60f2-4cc5-8102-e09412e517e3" providerId="ADAL" clId="{15464559-230C-484E-9C98-D7B9D3FDBA96}" dt="2024-01-11T13:16:29.104" v="1526" actId="1038"/>
          <ac:spMkLst>
            <pc:docMk/>
            <pc:sldMk cId="4038553599" sldId="2147479576"/>
            <ac:spMk id="25" creationId="{7B878477-2C29-AB70-27EE-1A39413546FB}"/>
          </ac:spMkLst>
        </pc:spChg>
        <pc:spChg chg="mod topLvl">
          <ac:chgData name="Yousuf, Arsalan" userId="1f742cd1-60f2-4cc5-8102-e09412e517e3" providerId="ADAL" clId="{15464559-230C-484E-9C98-D7B9D3FDBA96}" dt="2024-01-11T13:16:29.104" v="1526" actId="1038"/>
          <ac:spMkLst>
            <pc:docMk/>
            <pc:sldMk cId="4038553599" sldId="2147479576"/>
            <ac:spMk id="27" creationId="{81CF0B3C-8B59-24C3-E0A8-78AD2B39504F}"/>
          </ac:spMkLst>
        </pc:spChg>
        <pc:spChg chg="mod topLvl">
          <ac:chgData name="Yousuf, Arsalan" userId="1f742cd1-60f2-4cc5-8102-e09412e517e3" providerId="ADAL" clId="{15464559-230C-484E-9C98-D7B9D3FDBA96}" dt="2024-01-11T13:16:29.104" v="1526" actId="1038"/>
          <ac:spMkLst>
            <pc:docMk/>
            <pc:sldMk cId="4038553599" sldId="2147479576"/>
            <ac:spMk id="28" creationId="{7061563A-5835-E3E4-301A-0F6D4EC8176A}"/>
          </ac:spMkLst>
        </pc:spChg>
        <pc:spChg chg="mod topLvl">
          <ac:chgData name="Yousuf, Arsalan" userId="1f742cd1-60f2-4cc5-8102-e09412e517e3" providerId="ADAL" clId="{15464559-230C-484E-9C98-D7B9D3FDBA96}" dt="2024-01-11T13:16:29.104" v="1526" actId="1038"/>
          <ac:spMkLst>
            <pc:docMk/>
            <pc:sldMk cId="4038553599" sldId="2147479576"/>
            <ac:spMk id="29" creationId="{40EDCCF7-9705-6043-4A6E-743208D5DFE4}"/>
          </ac:spMkLst>
        </pc:spChg>
        <pc:spChg chg="mod topLvl">
          <ac:chgData name="Yousuf, Arsalan" userId="1f742cd1-60f2-4cc5-8102-e09412e517e3" providerId="ADAL" clId="{15464559-230C-484E-9C98-D7B9D3FDBA96}" dt="2024-01-11T13:16:29.104" v="1526" actId="1038"/>
          <ac:spMkLst>
            <pc:docMk/>
            <pc:sldMk cId="4038553599" sldId="2147479576"/>
            <ac:spMk id="31" creationId="{F5790D99-66A4-1054-8F3D-FA8B2CC7EF81}"/>
          </ac:spMkLst>
        </pc:spChg>
        <pc:spChg chg="mod topLvl">
          <ac:chgData name="Yousuf, Arsalan" userId="1f742cd1-60f2-4cc5-8102-e09412e517e3" providerId="ADAL" clId="{15464559-230C-484E-9C98-D7B9D3FDBA96}" dt="2024-01-11T13:16:29.104" v="1526" actId="1038"/>
          <ac:spMkLst>
            <pc:docMk/>
            <pc:sldMk cId="4038553599" sldId="2147479576"/>
            <ac:spMk id="32" creationId="{59A0E1FC-8026-37C5-9BB2-7C241DB9609E}"/>
          </ac:spMkLst>
        </pc:spChg>
        <pc:spChg chg="mod topLvl">
          <ac:chgData name="Yousuf, Arsalan" userId="1f742cd1-60f2-4cc5-8102-e09412e517e3" providerId="ADAL" clId="{15464559-230C-484E-9C98-D7B9D3FDBA96}" dt="2024-01-11T13:16:29.104" v="1526" actId="1038"/>
          <ac:spMkLst>
            <pc:docMk/>
            <pc:sldMk cId="4038553599" sldId="2147479576"/>
            <ac:spMk id="33" creationId="{6E977723-7450-371F-1D6C-221013885829}"/>
          </ac:spMkLst>
        </pc:spChg>
        <pc:spChg chg="mod topLvl">
          <ac:chgData name="Yousuf, Arsalan" userId="1f742cd1-60f2-4cc5-8102-e09412e517e3" providerId="ADAL" clId="{15464559-230C-484E-9C98-D7B9D3FDBA96}" dt="2024-01-11T13:16:29.104" v="1526" actId="1038"/>
          <ac:spMkLst>
            <pc:docMk/>
            <pc:sldMk cId="4038553599" sldId="2147479576"/>
            <ac:spMk id="34" creationId="{AF6ABAB9-9337-CCDD-E352-312A4750009B}"/>
          </ac:spMkLst>
        </pc:spChg>
        <pc:spChg chg="mod topLvl">
          <ac:chgData name="Yousuf, Arsalan" userId="1f742cd1-60f2-4cc5-8102-e09412e517e3" providerId="ADAL" clId="{15464559-230C-484E-9C98-D7B9D3FDBA96}" dt="2024-01-11T13:16:29.104" v="1526" actId="1038"/>
          <ac:spMkLst>
            <pc:docMk/>
            <pc:sldMk cId="4038553599" sldId="2147479576"/>
            <ac:spMk id="35" creationId="{D22B6012-76CB-306D-F212-FF4A7394557A}"/>
          </ac:spMkLst>
        </pc:spChg>
        <pc:spChg chg="mod topLvl">
          <ac:chgData name="Yousuf, Arsalan" userId="1f742cd1-60f2-4cc5-8102-e09412e517e3" providerId="ADAL" clId="{15464559-230C-484E-9C98-D7B9D3FDBA96}" dt="2024-01-11T13:16:29.104" v="1526" actId="1038"/>
          <ac:spMkLst>
            <pc:docMk/>
            <pc:sldMk cId="4038553599" sldId="2147479576"/>
            <ac:spMk id="36" creationId="{3B54EF7B-1AE2-98F7-7991-9FFC40F7CC78}"/>
          </ac:spMkLst>
        </pc:spChg>
        <pc:spChg chg="mod topLvl">
          <ac:chgData name="Yousuf, Arsalan" userId="1f742cd1-60f2-4cc5-8102-e09412e517e3" providerId="ADAL" clId="{15464559-230C-484E-9C98-D7B9D3FDBA96}" dt="2024-01-11T13:16:29.104" v="1526" actId="1038"/>
          <ac:spMkLst>
            <pc:docMk/>
            <pc:sldMk cId="4038553599" sldId="2147479576"/>
            <ac:spMk id="42" creationId="{0749982B-4A23-69A9-D03B-13DCF0805835}"/>
          </ac:spMkLst>
        </pc:spChg>
        <pc:spChg chg="mod topLvl">
          <ac:chgData name="Yousuf, Arsalan" userId="1f742cd1-60f2-4cc5-8102-e09412e517e3" providerId="ADAL" clId="{15464559-230C-484E-9C98-D7B9D3FDBA96}" dt="2024-01-11T13:16:29.104" v="1526" actId="1038"/>
          <ac:spMkLst>
            <pc:docMk/>
            <pc:sldMk cId="4038553599" sldId="2147479576"/>
            <ac:spMk id="43" creationId="{D8EC73CA-1EA8-1FE7-EE56-C9460761A33C}"/>
          </ac:spMkLst>
        </pc:spChg>
        <pc:spChg chg="mod topLvl">
          <ac:chgData name="Yousuf, Arsalan" userId="1f742cd1-60f2-4cc5-8102-e09412e517e3" providerId="ADAL" clId="{15464559-230C-484E-9C98-D7B9D3FDBA96}" dt="2024-01-11T13:16:29.104" v="1526" actId="1038"/>
          <ac:spMkLst>
            <pc:docMk/>
            <pc:sldMk cId="4038553599" sldId="2147479576"/>
            <ac:spMk id="45" creationId="{5F4BC4C1-8699-11AD-8E4C-C8420EBA9DA3}"/>
          </ac:spMkLst>
        </pc:spChg>
        <pc:spChg chg="mod topLvl">
          <ac:chgData name="Yousuf, Arsalan" userId="1f742cd1-60f2-4cc5-8102-e09412e517e3" providerId="ADAL" clId="{15464559-230C-484E-9C98-D7B9D3FDBA96}" dt="2024-01-11T13:16:29.104" v="1526" actId="1038"/>
          <ac:spMkLst>
            <pc:docMk/>
            <pc:sldMk cId="4038553599" sldId="2147479576"/>
            <ac:spMk id="46" creationId="{62F8618B-3933-FC03-2C46-BB42D18BD701}"/>
          </ac:spMkLst>
        </pc:spChg>
        <pc:spChg chg="mod topLvl">
          <ac:chgData name="Yousuf, Arsalan" userId="1f742cd1-60f2-4cc5-8102-e09412e517e3" providerId="ADAL" clId="{15464559-230C-484E-9C98-D7B9D3FDBA96}" dt="2024-01-11T13:16:29.104" v="1526" actId="1038"/>
          <ac:spMkLst>
            <pc:docMk/>
            <pc:sldMk cId="4038553599" sldId="2147479576"/>
            <ac:spMk id="47" creationId="{87AF2891-3341-5318-85E7-AD34F0FB1181}"/>
          </ac:spMkLst>
        </pc:spChg>
        <pc:spChg chg="mod topLvl">
          <ac:chgData name="Yousuf, Arsalan" userId="1f742cd1-60f2-4cc5-8102-e09412e517e3" providerId="ADAL" clId="{15464559-230C-484E-9C98-D7B9D3FDBA96}" dt="2024-01-11T13:16:29.104" v="1526" actId="1038"/>
          <ac:spMkLst>
            <pc:docMk/>
            <pc:sldMk cId="4038553599" sldId="2147479576"/>
            <ac:spMk id="49" creationId="{FDA517E5-A203-1E70-A0D5-301908053769}"/>
          </ac:spMkLst>
        </pc:spChg>
        <pc:spChg chg="mod topLvl">
          <ac:chgData name="Yousuf, Arsalan" userId="1f742cd1-60f2-4cc5-8102-e09412e517e3" providerId="ADAL" clId="{15464559-230C-484E-9C98-D7B9D3FDBA96}" dt="2024-01-11T13:16:29.104" v="1526" actId="1038"/>
          <ac:spMkLst>
            <pc:docMk/>
            <pc:sldMk cId="4038553599" sldId="2147479576"/>
            <ac:spMk id="50" creationId="{1655F09E-979C-3E37-4DAB-3EFB5B292BE6}"/>
          </ac:spMkLst>
        </pc:spChg>
        <pc:spChg chg="mod topLvl">
          <ac:chgData name="Yousuf, Arsalan" userId="1f742cd1-60f2-4cc5-8102-e09412e517e3" providerId="ADAL" clId="{15464559-230C-484E-9C98-D7B9D3FDBA96}" dt="2024-01-11T13:16:29.104" v="1526" actId="1038"/>
          <ac:spMkLst>
            <pc:docMk/>
            <pc:sldMk cId="4038553599" sldId="2147479576"/>
            <ac:spMk id="51" creationId="{FDE3C3F1-D502-3441-AB25-EA6DF927BE6C}"/>
          </ac:spMkLst>
        </pc:spChg>
        <pc:spChg chg="mod topLvl">
          <ac:chgData name="Yousuf, Arsalan" userId="1f742cd1-60f2-4cc5-8102-e09412e517e3" providerId="ADAL" clId="{15464559-230C-484E-9C98-D7B9D3FDBA96}" dt="2024-01-11T13:16:29.104" v="1526" actId="1038"/>
          <ac:spMkLst>
            <pc:docMk/>
            <pc:sldMk cId="4038553599" sldId="2147479576"/>
            <ac:spMk id="53" creationId="{C2A75141-19EA-EE24-38B1-BB29F1441986}"/>
          </ac:spMkLst>
        </pc:spChg>
        <pc:spChg chg="mod topLvl">
          <ac:chgData name="Yousuf, Arsalan" userId="1f742cd1-60f2-4cc5-8102-e09412e517e3" providerId="ADAL" clId="{15464559-230C-484E-9C98-D7B9D3FDBA96}" dt="2024-01-11T13:16:29.104" v="1526" actId="1038"/>
          <ac:spMkLst>
            <pc:docMk/>
            <pc:sldMk cId="4038553599" sldId="2147479576"/>
            <ac:spMk id="55" creationId="{263520EC-3EC4-B1C4-2AED-B92C9F628B8E}"/>
          </ac:spMkLst>
        </pc:spChg>
        <pc:spChg chg="mod topLvl">
          <ac:chgData name="Yousuf, Arsalan" userId="1f742cd1-60f2-4cc5-8102-e09412e517e3" providerId="ADAL" clId="{15464559-230C-484E-9C98-D7B9D3FDBA96}" dt="2024-01-11T13:16:29.104" v="1526" actId="1038"/>
          <ac:spMkLst>
            <pc:docMk/>
            <pc:sldMk cId="4038553599" sldId="2147479576"/>
            <ac:spMk id="56" creationId="{A2B2325A-930F-C517-EBE7-20F8D6E08475}"/>
          </ac:spMkLst>
        </pc:spChg>
        <pc:spChg chg="mod topLvl">
          <ac:chgData name="Yousuf, Arsalan" userId="1f742cd1-60f2-4cc5-8102-e09412e517e3" providerId="ADAL" clId="{15464559-230C-484E-9C98-D7B9D3FDBA96}" dt="2024-01-11T13:16:29.104" v="1526" actId="1038"/>
          <ac:spMkLst>
            <pc:docMk/>
            <pc:sldMk cId="4038553599" sldId="2147479576"/>
            <ac:spMk id="57" creationId="{4160D8EC-0A29-4161-97B9-65474DB8D932}"/>
          </ac:spMkLst>
        </pc:spChg>
        <pc:spChg chg="mod topLvl">
          <ac:chgData name="Yousuf, Arsalan" userId="1f742cd1-60f2-4cc5-8102-e09412e517e3" providerId="ADAL" clId="{15464559-230C-484E-9C98-D7B9D3FDBA96}" dt="2024-01-11T13:16:29.104" v="1526" actId="1038"/>
          <ac:spMkLst>
            <pc:docMk/>
            <pc:sldMk cId="4038553599" sldId="2147479576"/>
            <ac:spMk id="58" creationId="{7B9CC7CF-7812-3BD4-84B4-96876EC93703}"/>
          </ac:spMkLst>
        </pc:spChg>
        <pc:spChg chg="mod topLvl">
          <ac:chgData name="Yousuf, Arsalan" userId="1f742cd1-60f2-4cc5-8102-e09412e517e3" providerId="ADAL" clId="{15464559-230C-484E-9C98-D7B9D3FDBA96}" dt="2024-01-11T13:16:29.104" v="1526" actId="1038"/>
          <ac:spMkLst>
            <pc:docMk/>
            <pc:sldMk cId="4038553599" sldId="2147479576"/>
            <ac:spMk id="59" creationId="{46922C2F-B709-8CDE-9A8E-F231CDC78F37}"/>
          </ac:spMkLst>
        </pc:spChg>
        <pc:spChg chg="mod topLvl">
          <ac:chgData name="Yousuf, Arsalan" userId="1f742cd1-60f2-4cc5-8102-e09412e517e3" providerId="ADAL" clId="{15464559-230C-484E-9C98-D7B9D3FDBA96}" dt="2024-01-11T13:16:29.104" v="1526" actId="1038"/>
          <ac:spMkLst>
            <pc:docMk/>
            <pc:sldMk cId="4038553599" sldId="2147479576"/>
            <ac:spMk id="61" creationId="{FECA7463-0B2A-5E47-2B7F-20DA732CF53F}"/>
          </ac:spMkLst>
        </pc:spChg>
        <pc:spChg chg="mod topLvl">
          <ac:chgData name="Yousuf, Arsalan" userId="1f742cd1-60f2-4cc5-8102-e09412e517e3" providerId="ADAL" clId="{15464559-230C-484E-9C98-D7B9D3FDBA96}" dt="2024-01-11T13:16:29.104" v="1526" actId="1038"/>
          <ac:spMkLst>
            <pc:docMk/>
            <pc:sldMk cId="4038553599" sldId="2147479576"/>
            <ac:spMk id="62" creationId="{4054C4A7-4CB8-9816-9527-A5482B145CBD}"/>
          </ac:spMkLst>
        </pc:spChg>
        <pc:spChg chg="add mod">
          <ac:chgData name="Yousuf, Arsalan" userId="1f742cd1-60f2-4cc5-8102-e09412e517e3" providerId="ADAL" clId="{15464559-230C-484E-9C98-D7B9D3FDBA96}" dt="2024-01-11T13:16:29.104" v="1526" actId="1038"/>
          <ac:spMkLst>
            <pc:docMk/>
            <pc:sldMk cId="4038553599" sldId="2147479576"/>
            <ac:spMk id="66" creationId="{9B74FED8-9A62-D4E3-5389-6F98047A2DB8}"/>
          </ac:spMkLst>
        </pc:spChg>
        <pc:spChg chg="add mod">
          <ac:chgData name="Yousuf, Arsalan" userId="1f742cd1-60f2-4cc5-8102-e09412e517e3" providerId="ADAL" clId="{15464559-230C-484E-9C98-D7B9D3FDBA96}" dt="2024-01-11T13:16:29.104" v="1526" actId="1038"/>
          <ac:spMkLst>
            <pc:docMk/>
            <pc:sldMk cId="4038553599" sldId="2147479576"/>
            <ac:spMk id="67" creationId="{8427FDF7-10D4-D784-B7DE-566F4D60D330}"/>
          </ac:spMkLst>
        </pc:spChg>
        <pc:spChg chg="mod">
          <ac:chgData name="Yousuf, Arsalan" userId="1f742cd1-60f2-4cc5-8102-e09412e517e3" providerId="ADAL" clId="{15464559-230C-484E-9C98-D7B9D3FDBA96}" dt="2024-01-11T13:39:16.183" v="1691" actId="113"/>
          <ac:spMkLst>
            <pc:docMk/>
            <pc:sldMk cId="4038553599" sldId="2147479576"/>
            <ac:spMk id="75" creationId="{0B00487E-9A8E-46E0-B60F-BB884C23310C}"/>
          </ac:spMkLst>
        </pc:spChg>
        <pc:spChg chg="mod">
          <ac:chgData name="Yousuf, Arsalan" userId="1f742cd1-60f2-4cc5-8102-e09412e517e3" providerId="ADAL" clId="{15464559-230C-484E-9C98-D7B9D3FDBA96}" dt="2024-01-11T13:39:10.863" v="1688" actId="2711"/>
          <ac:spMkLst>
            <pc:docMk/>
            <pc:sldMk cId="4038553599" sldId="2147479576"/>
            <ac:spMk id="76" creationId="{11F95CE4-70DC-4FF6-9740-A5C6EC6923E7}"/>
          </ac:spMkLst>
        </pc:spChg>
        <pc:spChg chg="add del">
          <ac:chgData name="Yousuf, Arsalan" userId="1f742cd1-60f2-4cc5-8102-e09412e517e3" providerId="ADAL" clId="{15464559-230C-484E-9C98-D7B9D3FDBA96}" dt="2024-01-11T13:12:47.365" v="1426" actId="478"/>
          <ac:spMkLst>
            <pc:docMk/>
            <pc:sldMk cId="4038553599" sldId="2147479576"/>
            <ac:spMk id="82" creationId="{C24CD248-18D4-C4B3-ED68-639521563FF9}"/>
          </ac:spMkLst>
        </pc:spChg>
        <pc:spChg chg="add del">
          <ac:chgData name="Yousuf, Arsalan" userId="1f742cd1-60f2-4cc5-8102-e09412e517e3" providerId="ADAL" clId="{15464559-230C-484E-9C98-D7B9D3FDBA96}" dt="2024-01-11T13:12:47.365" v="1426" actId="478"/>
          <ac:spMkLst>
            <pc:docMk/>
            <pc:sldMk cId="4038553599" sldId="2147479576"/>
            <ac:spMk id="83" creationId="{9D970363-03D1-119E-7A9D-7DF94D3B7C8F}"/>
          </ac:spMkLst>
        </pc:spChg>
        <pc:spChg chg="add del">
          <ac:chgData name="Yousuf, Arsalan" userId="1f742cd1-60f2-4cc5-8102-e09412e517e3" providerId="ADAL" clId="{15464559-230C-484E-9C98-D7B9D3FDBA96}" dt="2024-01-11T13:12:47.365" v="1426" actId="478"/>
          <ac:spMkLst>
            <pc:docMk/>
            <pc:sldMk cId="4038553599" sldId="2147479576"/>
            <ac:spMk id="84" creationId="{54ACB6B5-1ADC-ADC5-ECFE-B0886D8B0D82}"/>
          </ac:spMkLst>
        </pc:spChg>
        <pc:spChg chg="add del">
          <ac:chgData name="Yousuf, Arsalan" userId="1f742cd1-60f2-4cc5-8102-e09412e517e3" providerId="ADAL" clId="{15464559-230C-484E-9C98-D7B9D3FDBA96}" dt="2024-01-11T13:12:47.365" v="1426" actId="478"/>
          <ac:spMkLst>
            <pc:docMk/>
            <pc:sldMk cId="4038553599" sldId="2147479576"/>
            <ac:spMk id="86" creationId="{B815F141-CF4E-96A4-B0EB-CDCBF42950BB}"/>
          </ac:spMkLst>
        </pc:spChg>
        <pc:spChg chg="add del">
          <ac:chgData name="Yousuf, Arsalan" userId="1f742cd1-60f2-4cc5-8102-e09412e517e3" providerId="ADAL" clId="{15464559-230C-484E-9C98-D7B9D3FDBA96}" dt="2024-01-11T13:12:47.365" v="1426" actId="478"/>
          <ac:spMkLst>
            <pc:docMk/>
            <pc:sldMk cId="4038553599" sldId="2147479576"/>
            <ac:spMk id="87" creationId="{0D6DFC3A-5809-0E98-08E3-E4683452E6DC}"/>
          </ac:spMkLst>
        </pc:spChg>
        <pc:spChg chg="add del">
          <ac:chgData name="Yousuf, Arsalan" userId="1f742cd1-60f2-4cc5-8102-e09412e517e3" providerId="ADAL" clId="{15464559-230C-484E-9C98-D7B9D3FDBA96}" dt="2024-01-11T13:12:47.365" v="1426" actId="478"/>
          <ac:spMkLst>
            <pc:docMk/>
            <pc:sldMk cId="4038553599" sldId="2147479576"/>
            <ac:spMk id="88" creationId="{454A2217-01C4-B98F-B5B5-7B1889BFC116}"/>
          </ac:spMkLst>
        </pc:spChg>
        <pc:spChg chg="add del">
          <ac:chgData name="Yousuf, Arsalan" userId="1f742cd1-60f2-4cc5-8102-e09412e517e3" providerId="ADAL" clId="{15464559-230C-484E-9C98-D7B9D3FDBA96}" dt="2024-01-11T13:12:47.365" v="1426" actId="478"/>
          <ac:spMkLst>
            <pc:docMk/>
            <pc:sldMk cId="4038553599" sldId="2147479576"/>
            <ac:spMk id="90" creationId="{708F2C38-4C9A-C8AB-302F-A840C03BD27F}"/>
          </ac:spMkLst>
        </pc:spChg>
        <pc:spChg chg="add del">
          <ac:chgData name="Yousuf, Arsalan" userId="1f742cd1-60f2-4cc5-8102-e09412e517e3" providerId="ADAL" clId="{15464559-230C-484E-9C98-D7B9D3FDBA96}" dt="2024-01-11T13:12:47.365" v="1426" actId="478"/>
          <ac:spMkLst>
            <pc:docMk/>
            <pc:sldMk cId="4038553599" sldId="2147479576"/>
            <ac:spMk id="91" creationId="{F440EDD0-8711-C058-A704-07B65454709B}"/>
          </ac:spMkLst>
        </pc:spChg>
        <pc:spChg chg="add del">
          <ac:chgData name="Yousuf, Arsalan" userId="1f742cd1-60f2-4cc5-8102-e09412e517e3" providerId="ADAL" clId="{15464559-230C-484E-9C98-D7B9D3FDBA96}" dt="2024-01-11T13:12:47.365" v="1426" actId="478"/>
          <ac:spMkLst>
            <pc:docMk/>
            <pc:sldMk cId="4038553599" sldId="2147479576"/>
            <ac:spMk id="92" creationId="{C9F637ED-4B10-3BF8-9FD8-43E8A2B7CB8A}"/>
          </ac:spMkLst>
        </pc:spChg>
        <pc:spChg chg="add del">
          <ac:chgData name="Yousuf, Arsalan" userId="1f742cd1-60f2-4cc5-8102-e09412e517e3" providerId="ADAL" clId="{15464559-230C-484E-9C98-D7B9D3FDBA96}" dt="2024-01-11T13:12:47.365" v="1426" actId="478"/>
          <ac:spMkLst>
            <pc:docMk/>
            <pc:sldMk cId="4038553599" sldId="2147479576"/>
            <ac:spMk id="94" creationId="{E14AE8BE-D268-AC79-69A5-B88EB5500BEB}"/>
          </ac:spMkLst>
        </pc:spChg>
        <pc:spChg chg="add del">
          <ac:chgData name="Yousuf, Arsalan" userId="1f742cd1-60f2-4cc5-8102-e09412e517e3" providerId="ADAL" clId="{15464559-230C-484E-9C98-D7B9D3FDBA96}" dt="2024-01-11T13:12:47.365" v="1426" actId="478"/>
          <ac:spMkLst>
            <pc:docMk/>
            <pc:sldMk cId="4038553599" sldId="2147479576"/>
            <ac:spMk id="95" creationId="{FDABBA99-5B9B-92A0-27C0-F537112C685F}"/>
          </ac:spMkLst>
        </pc:spChg>
        <pc:spChg chg="add del">
          <ac:chgData name="Yousuf, Arsalan" userId="1f742cd1-60f2-4cc5-8102-e09412e517e3" providerId="ADAL" clId="{15464559-230C-484E-9C98-D7B9D3FDBA96}" dt="2024-01-11T13:12:47.365" v="1426" actId="478"/>
          <ac:spMkLst>
            <pc:docMk/>
            <pc:sldMk cId="4038553599" sldId="2147479576"/>
            <ac:spMk id="96" creationId="{528DA222-56C3-2CA1-11E0-66559B1F1815}"/>
          </ac:spMkLst>
        </pc:spChg>
        <pc:spChg chg="add del">
          <ac:chgData name="Yousuf, Arsalan" userId="1f742cd1-60f2-4cc5-8102-e09412e517e3" providerId="ADAL" clId="{15464559-230C-484E-9C98-D7B9D3FDBA96}" dt="2024-01-11T13:12:47.365" v="1426" actId="478"/>
          <ac:spMkLst>
            <pc:docMk/>
            <pc:sldMk cId="4038553599" sldId="2147479576"/>
            <ac:spMk id="98" creationId="{6F9CC662-B6F4-621C-99E6-98EAC7B7D046}"/>
          </ac:spMkLst>
        </pc:spChg>
        <pc:spChg chg="add del">
          <ac:chgData name="Yousuf, Arsalan" userId="1f742cd1-60f2-4cc5-8102-e09412e517e3" providerId="ADAL" clId="{15464559-230C-484E-9C98-D7B9D3FDBA96}" dt="2024-01-11T13:12:47.365" v="1426" actId="478"/>
          <ac:spMkLst>
            <pc:docMk/>
            <pc:sldMk cId="4038553599" sldId="2147479576"/>
            <ac:spMk id="99" creationId="{8D4F094F-C521-8C98-1BB2-7987A834CA5C}"/>
          </ac:spMkLst>
        </pc:spChg>
        <pc:spChg chg="add del">
          <ac:chgData name="Yousuf, Arsalan" userId="1f742cd1-60f2-4cc5-8102-e09412e517e3" providerId="ADAL" clId="{15464559-230C-484E-9C98-D7B9D3FDBA96}" dt="2024-01-11T13:12:47.365" v="1426" actId="478"/>
          <ac:spMkLst>
            <pc:docMk/>
            <pc:sldMk cId="4038553599" sldId="2147479576"/>
            <ac:spMk id="100" creationId="{C74DD552-D347-3235-9170-C40480FE35C6}"/>
          </ac:spMkLst>
        </pc:spChg>
        <pc:spChg chg="add del">
          <ac:chgData name="Yousuf, Arsalan" userId="1f742cd1-60f2-4cc5-8102-e09412e517e3" providerId="ADAL" clId="{15464559-230C-484E-9C98-D7B9D3FDBA96}" dt="2024-01-11T13:12:47.365" v="1426" actId="478"/>
          <ac:spMkLst>
            <pc:docMk/>
            <pc:sldMk cId="4038553599" sldId="2147479576"/>
            <ac:spMk id="102" creationId="{366D7B52-9B74-200B-249F-43878BD1C2A0}"/>
          </ac:spMkLst>
        </pc:spChg>
        <pc:spChg chg="add del">
          <ac:chgData name="Yousuf, Arsalan" userId="1f742cd1-60f2-4cc5-8102-e09412e517e3" providerId="ADAL" clId="{15464559-230C-484E-9C98-D7B9D3FDBA96}" dt="2024-01-11T13:12:47.365" v="1426" actId="478"/>
          <ac:spMkLst>
            <pc:docMk/>
            <pc:sldMk cId="4038553599" sldId="2147479576"/>
            <ac:spMk id="103" creationId="{C1AD78D8-C90C-4352-D846-026BF867844C}"/>
          </ac:spMkLst>
        </pc:spChg>
        <pc:spChg chg="add del">
          <ac:chgData name="Yousuf, Arsalan" userId="1f742cd1-60f2-4cc5-8102-e09412e517e3" providerId="ADAL" clId="{15464559-230C-484E-9C98-D7B9D3FDBA96}" dt="2024-01-11T13:12:47.365" v="1426" actId="478"/>
          <ac:spMkLst>
            <pc:docMk/>
            <pc:sldMk cId="4038553599" sldId="2147479576"/>
            <ac:spMk id="104" creationId="{03F2965C-2AB0-22DD-DAA6-789621F97839}"/>
          </ac:spMkLst>
        </pc:spChg>
        <pc:spChg chg="add del">
          <ac:chgData name="Yousuf, Arsalan" userId="1f742cd1-60f2-4cc5-8102-e09412e517e3" providerId="ADAL" clId="{15464559-230C-484E-9C98-D7B9D3FDBA96}" dt="2024-01-11T13:12:47.365" v="1426" actId="478"/>
          <ac:spMkLst>
            <pc:docMk/>
            <pc:sldMk cId="4038553599" sldId="2147479576"/>
            <ac:spMk id="106" creationId="{4A449C69-53C8-1092-AA22-60E1905E4E94}"/>
          </ac:spMkLst>
        </pc:spChg>
        <pc:spChg chg="add del">
          <ac:chgData name="Yousuf, Arsalan" userId="1f742cd1-60f2-4cc5-8102-e09412e517e3" providerId="ADAL" clId="{15464559-230C-484E-9C98-D7B9D3FDBA96}" dt="2024-01-11T13:12:47.365" v="1426" actId="478"/>
          <ac:spMkLst>
            <pc:docMk/>
            <pc:sldMk cId="4038553599" sldId="2147479576"/>
            <ac:spMk id="107" creationId="{13C986C8-026D-2FCB-8F8A-452AD9ABE371}"/>
          </ac:spMkLst>
        </pc:spChg>
        <pc:spChg chg="add del">
          <ac:chgData name="Yousuf, Arsalan" userId="1f742cd1-60f2-4cc5-8102-e09412e517e3" providerId="ADAL" clId="{15464559-230C-484E-9C98-D7B9D3FDBA96}" dt="2024-01-11T13:12:47.365" v="1426" actId="478"/>
          <ac:spMkLst>
            <pc:docMk/>
            <pc:sldMk cId="4038553599" sldId="2147479576"/>
            <ac:spMk id="108" creationId="{6DA2F627-62FD-5B2B-74C8-22C8F7453428}"/>
          </ac:spMkLst>
        </pc:spChg>
        <pc:spChg chg="add del">
          <ac:chgData name="Yousuf, Arsalan" userId="1f742cd1-60f2-4cc5-8102-e09412e517e3" providerId="ADAL" clId="{15464559-230C-484E-9C98-D7B9D3FDBA96}" dt="2024-01-11T13:12:47.365" v="1426" actId="478"/>
          <ac:spMkLst>
            <pc:docMk/>
            <pc:sldMk cId="4038553599" sldId="2147479576"/>
            <ac:spMk id="109" creationId="{D4D7652C-143C-AA7E-A853-DB603A43CE67}"/>
          </ac:spMkLst>
        </pc:spChg>
        <pc:spChg chg="add del">
          <ac:chgData name="Yousuf, Arsalan" userId="1f742cd1-60f2-4cc5-8102-e09412e517e3" providerId="ADAL" clId="{15464559-230C-484E-9C98-D7B9D3FDBA96}" dt="2024-01-11T13:12:47.365" v="1426" actId="478"/>
          <ac:spMkLst>
            <pc:docMk/>
            <pc:sldMk cId="4038553599" sldId="2147479576"/>
            <ac:spMk id="110" creationId="{A4562555-284E-E783-1718-2A6C4E04C5FB}"/>
          </ac:spMkLst>
        </pc:spChg>
        <pc:spChg chg="add del">
          <ac:chgData name="Yousuf, Arsalan" userId="1f742cd1-60f2-4cc5-8102-e09412e517e3" providerId="ADAL" clId="{15464559-230C-484E-9C98-D7B9D3FDBA96}" dt="2024-01-11T13:12:47.365" v="1426" actId="478"/>
          <ac:spMkLst>
            <pc:docMk/>
            <pc:sldMk cId="4038553599" sldId="2147479576"/>
            <ac:spMk id="111" creationId="{F68F1616-29F5-F439-9696-848F6080F84F}"/>
          </ac:spMkLst>
        </pc:spChg>
        <pc:spChg chg="add del">
          <ac:chgData name="Yousuf, Arsalan" userId="1f742cd1-60f2-4cc5-8102-e09412e517e3" providerId="ADAL" clId="{15464559-230C-484E-9C98-D7B9D3FDBA96}" dt="2024-01-11T13:12:47.365" v="1426" actId="478"/>
          <ac:spMkLst>
            <pc:docMk/>
            <pc:sldMk cId="4038553599" sldId="2147479576"/>
            <ac:spMk id="117" creationId="{E362B4A2-4312-7A71-FF51-0A9AC393B312}"/>
          </ac:spMkLst>
        </pc:spChg>
        <pc:spChg chg="add del">
          <ac:chgData name="Yousuf, Arsalan" userId="1f742cd1-60f2-4cc5-8102-e09412e517e3" providerId="ADAL" clId="{15464559-230C-484E-9C98-D7B9D3FDBA96}" dt="2024-01-11T13:12:47.365" v="1426" actId="478"/>
          <ac:spMkLst>
            <pc:docMk/>
            <pc:sldMk cId="4038553599" sldId="2147479576"/>
            <ac:spMk id="118" creationId="{BE1CD6BF-442C-FC4C-BFCB-CE6DFCFF4D15}"/>
          </ac:spMkLst>
        </pc:spChg>
        <pc:spChg chg="add del">
          <ac:chgData name="Yousuf, Arsalan" userId="1f742cd1-60f2-4cc5-8102-e09412e517e3" providerId="ADAL" clId="{15464559-230C-484E-9C98-D7B9D3FDBA96}" dt="2024-01-11T13:12:47.365" v="1426" actId="478"/>
          <ac:spMkLst>
            <pc:docMk/>
            <pc:sldMk cId="4038553599" sldId="2147479576"/>
            <ac:spMk id="120" creationId="{A254209A-9FE9-39D5-AA03-B7E6B8D42403}"/>
          </ac:spMkLst>
        </pc:spChg>
        <pc:spChg chg="add del">
          <ac:chgData name="Yousuf, Arsalan" userId="1f742cd1-60f2-4cc5-8102-e09412e517e3" providerId="ADAL" clId="{15464559-230C-484E-9C98-D7B9D3FDBA96}" dt="2024-01-11T13:15:41.610" v="1498" actId="478"/>
          <ac:spMkLst>
            <pc:docMk/>
            <pc:sldMk cId="4038553599" sldId="2147479576"/>
            <ac:spMk id="121" creationId="{E49476F8-AEA2-86EE-E844-7083B76ECBCA}"/>
          </ac:spMkLst>
        </pc:spChg>
        <pc:spChg chg="add del">
          <ac:chgData name="Yousuf, Arsalan" userId="1f742cd1-60f2-4cc5-8102-e09412e517e3" providerId="ADAL" clId="{15464559-230C-484E-9C98-D7B9D3FDBA96}" dt="2024-01-11T13:15:41.610" v="1498" actId="478"/>
          <ac:spMkLst>
            <pc:docMk/>
            <pc:sldMk cId="4038553599" sldId="2147479576"/>
            <ac:spMk id="122" creationId="{903CC563-9A35-00E3-16D1-EB9A00840305}"/>
          </ac:spMkLst>
        </pc:spChg>
        <pc:spChg chg="add del mod">
          <ac:chgData name="Yousuf, Arsalan" userId="1f742cd1-60f2-4cc5-8102-e09412e517e3" providerId="ADAL" clId="{15464559-230C-484E-9C98-D7B9D3FDBA96}" dt="2024-01-11T13:16:29.104" v="1526" actId="1038"/>
          <ac:spMkLst>
            <pc:docMk/>
            <pc:sldMk cId="4038553599" sldId="2147479576"/>
            <ac:spMk id="124" creationId="{B9EC104E-5589-3E1B-0AD1-FD85179E4307}"/>
          </ac:spMkLst>
        </pc:spChg>
        <pc:spChg chg="add del">
          <ac:chgData name="Yousuf, Arsalan" userId="1f742cd1-60f2-4cc5-8102-e09412e517e3" providerId="ADAL" clId="{15464559-230C-484E-9C98-D7B9D3FDBA96}" dt="2024-01-11T13:12:47.365" v="1426" actId="478"/>
          <ac:spMkLst>
            <pc:docMk/>
            <pc:sldMk cId="4038553599" sldId="2147479576"/>
            <ac:spMk id="125" creationId="{27B5EF05-1AB8-9975-A8D3-586696165200}"/>
          </ac:spMkLst>
        </pc:spChg>
        <pc:spChg chg="add del">
          <ac:chgData name="Yousuf, Arsalan" userId="1f742cd1-60f2-4cc5-8102-e09412e517e3" providerId="ADAL" clId="{15464559-230C-484E-9C98-D7B9D3FDBA96}" dt="2024-01-11T13:12:47.365" v="1426" actId="478"/>
          <ac:spMkLst>
            <pc:docMk/>
            <pc:sldMk cId="4038553599" sldId="2147479576"/>
            <ac:spMk id="126" creationId="{19530143-1C36-D52F-2A74-02E5C3B04392}"/>
          </ac:spMkLst>
        </pc:spChg>
        <pc:spChg chg="add del">
          <ac:chgData name="Yousuf, Arsalan" userId="1f742cd1-60f2-4cc5-8102-e09412e517e3" providerId="ADAL" clId="{15464559-230C-484E-9C98-D7B9D3FDBA96}" dt="2024-01-11T13:12:47.365" v="1426" actId="478"/>
          <ac:spMkLst>
            <pc:docMk/>
            <pc:sldMk cId="4038553599" sldId="2147479576"/>
            <ac:spMk id="128" creationId="{D5033DC6-AC2E-7A10-877E-388814294A1D}"/>
          </ac:spMkLst>
        </pc:spChg>
        <pc:spChg chg="add del">
          <ac:chgData name="Yousuf, Arsalan" userId="1f742cd1-60f2-4cc5-8102-e09412e517e3" providerId="ADAL" clId="{15464559-230C-484E-9C98-D7B9D3FDBA96}" dt="2024-01-11T13:12:47.365" v="1426" actId="478"/>
          <ac:spMkLst>
            <pc:docMk/>
            <pc:sldMk cId="4038553599" sldId="2147479576"/>
            <ac:spMk id="130" creationId="{C510976E-2600-00D1-E2B9-ADD19A36DBB5}"/>
          </ac:spMkLst>
        </pc:spChg>
        <pc:spChg chg="add del mod">
          <ac:chgData name="Yousuf, Arsalan" userId="1f742cd1-60f2-4cc5-8102-e09412e517e3" providerId="ADAL" clId="{15464559-230C-484E-9C98-D7B9D3FDBA96}" dt="2024-01-11T13:16:29.104" v="1526" actId="1038"/>
          <ac:spMkLst>
            <pc:docMk/>
            <pc:sldMk cId="4038553599" sldId="2147479576"/>
            <ac:spMk id="131" creationId="{32198286-D35D-84EE-B9EE-F81008A655B9}"/>
          </ac:spMkLst>
        </pc:spChg>
        <pc:spChg chg="add del">
          <ac:chgData name="Yousuf, Arsalan" userId="1f742cd1-60f2-4cc5-8102-e09412e517e3" providerId="ADAL" clId="{15464559-230C-484E-9C98-D7B9D3FDBA96}" dt="2024-01-11T13:12:47.365" v="1426" actId="478"/>
          <ac:spMkLst>
            <pc:docMk/>
            <pc:sldMk cId="4038553599" sldId="2147479576"/>
            <ac:spMk id="132" creationId="{29694EC9-4BE8-94AB-169D-C64B4A1F4411}"/>
          </ac:spMkLst>
        </pc:spChg>
        <pc:spChg chg="add del">
          <ac:chgData name="Yousuf, Arsalan" userId="1f742cd1-60f2-4cc5-8102-e09412e517e3" providerId="ADAL" clId="{15464559-230C-484E-9C98-D7B9D3FDBA96}" dt="2024-01-11T13:12:47.365" v="1426" actId="478"/>
          <ac:spMkLst>
            <pc:docMk/>
            <pc:sldMk cId="4038553599" sldId="2147479576"/>
            <ac:spMk id="133" creationId="{E671A711-475B-B164-E429-6E30F61984B3}"/>
          </ac:spMkLst>
        </pc:spChg>
        <pc:spChg chg="add del">
          <ac:chgData name="Yousuf, Arsalan" userId="1f742cd1-60f2-4cc5-8102-e09412e517e3" providerId="ADAL" clId="{15464559-230C-484E-9C98-D7B9D3FDBA96}" dt="2024-01-11T13:12:47.365" v="1426" actId="478"/>
          <ac:spMkLst>
            <pc:docMk/>
            <pc:sldMk cId="4038553599" sldId="2147479576"/>
            <ac:spMk id="134" creationId="{F7B0E4C1-76A4-8571-C10E-70208E1DA34C}"/>
          </ac:spMkLst>
        </pc:spChg>
        <pc:spChg chg="add del">
          <ac:chgData name="Yousuf, Arsalan" userId="1f742cd1-60f2-4cc5-8102-e09412e517e3" providerId="ADAL" clId="{15464559-230C-484E-9C98-D7B9D3FDBA96}" dt="2024-01-11T13:12:47.365" v="1426" actId="478"/>
          <ac:spMkLst>
            <pc:docMk/>
            <pc:sldMk cId="4038553599" sldId="2147479576"/>
            <ac:spMk id="136" creationId="{A15EE88C-7C3B-82C6-A3D8-35796E26C542}"/>
          </ac:spMkLst>
        </pc:spChg>
        <pc:spChg chg="add del">
          <ac:chgData name="Yousuf, Arsalan" userId="1f742cd1-60f2-4cc5-8102-e09412e517e3" providerId="ADAL" clId="{15464559-230C-484E-9C98-D7B9D3FDBA96}" dt="2024-01-11T13:12:47.365" v="1426" actId="478"/>
          <ac:spMkLst>
            <pc:docMk/>
            <pc:sldMk cId="4038553599" sldId="2147479576"/>
            <ac:spMk id="137" creationId="{1FD0385A-F077-8056-E208-DC80FF13070C}"/>
          </ac:spMkLst>
        </pc:spChg>
        <pc:grpChg chg="add del mod">
          <ac:chgData name="Yousuf, Arsalan" userId="1f742cd1-60f2-4cc5-8102-e09412e517e3" providerId="ADAL" clId="{15464559-230C-484E-9C98-D7B9D3FDBA96}" dt="2024-01-11T13:15:26.508" v="1496" actId="165"/>
          <ac:grpSpMkLst>
            <pc:docMk/>
            <pc:sldMk cId="4038553599" sldId="2147479576"/>
            <ac:grpSpMk id="2" creationId="{42DF92FD-4677-EEE9-6F5E-E8AA4BD46996}"/>
          </ac:grpSpMkLst>
        </pc:grpChg>
        <pc:grpChg chg="add mod">
          <ac:chgData name="Yousuf, Arsalan" userId="1f742cd1-60f2-4cc5-8102-e09412e517e3" providerId="ADAL" clId="{15464559-230C-484E-9C98-D7B9D3FDBA96}" dt="2024-01-11T13:16:29.104" v="1526" actId="1038"/>
          <ac:grpSpMkLst>
            <pc:docMk/>
            <pc:sldMk cId="4038553599" sldId="2147479576"/>
            <ac:grpSpMk id="69" creationId="{C1C76A89-79E1-1831-04CF-7B844E95DAEC}"/>
          </ac:grpSpMkLst>
        </pc:grpChg>
        <pc:grpChg chg="add mod">
          <ac:chgData name="Yousuf, Arsalan" userId="1f742cd1-60f2-4cc5-8102-e09412e517e3" providerId="ADAL" clId="{15464559-230C-484E-9C98-D7B9D3FDBA96}" dt="2024-01-11T13:16:29.104" v="1526" actId="1038"/>
          <ac:grpSpMkLst>
            <pc:docMk/>
            <pc:sldMk cId="4038553599" sldId="2147479576"/>
            <ac:grpSpMk id="70" creationId="{DF4F13B0-33F8-EDD4-21D1-2C3C822F17F7}"/>
          </ac:grpSpMkLst>
        </pc:grpChg>
        <pc:picChg chg="mod topLvl">
          <ac:chgData name="Yousuf, Arsalan" userId="1f742cd1-60f2-4cc5-8102-e09412e517e3" providerId="ADAL" clId="{15464559-230C-484E-9C98-D7B9D3FDBA96}" dt="2024-01-11T13:16:29.104" v="1526" actId="1038"/>
          <ac:picMkLst>
            <pc:docMk/>
            <pc:sldMk cId="4038553599" sldId="2147479576"/>
            <ac:picMk id="3" creationId="{B960C389-C844-6B55-FFA8-2E2A8EEBFA40}"/>
          </ac:picMkLst>
        </pc:picChg>
        <pc:picChg chg="mod topLvl">
          <ac:chgData name="Yousuf, Arsalan" userId="1f742cd1-60f2-4cc5-8102-e09412e517e3" providerId="ADAL" clId="{15464559-230C-484E-9C98-D7B9D3FDBA96}" dt="2024-01-11T13:16:29.104" v="1526" actId="1038"/>
          <ac:picMkLst>
            <pc:docMk/>
            <pc:sldMk cId="4038553599" sldId="2147479576"/>
            <ac:picMk id="4" creationId="{09A54084-85DB-F6F1-DC09-E4BE185ECA43}"/>
          </ac:picMkLst>
        </pc:picChg>
        <pc:picChg chg="mod topLvl">
          <ac:chgData name="Yousuf, Arsalan" userId="1f742cd1-60f2-4cc5-8102-e09412e517e3" providerId="ADAL" clId="{15464559-230C-484E-9C98-D7B9D3FDBA96}" dt="2024-01-11T13:16:29.104" v="1526" actId="1038"/>
          <ac:picMkLst>
            <pc:docMk/>
            <pc:sldMk cId="4038553599" sldId="2147479576"/>
            <ac:picMk id="5" creationId="{D5844EC9-30E9-1ABC-14FB-DB819FE76162}"/>
          </ac:picMkLst>
        </pc:picChg>
        <pc:picChg chg="mod topLvl">
          <ac:chgData name="Yousuf, Arsalan" userId="1f742cd1-60f2-4cc5-8102-e09412e517e3" providerId="ADAL" clId="{15464559-230C-484E-9C98-D7B9D3FDBA96}" dt="2024-01-11T13:16:29.104" v="1526" actId="1038"/>
          <ac:picMkLst>
            <pc:docMk/>
            <pc:sldMk cId="4038553599" sldId="2147479576"/>
            <ac:picMk id="37" creationId="{8A5B8791-7AC7-B9E0-6AC4-E3293D028D3E}"/>
          </ac:picMkLst>
        </pc:picChg>
        <pc:picChg chg="mod topLvl">
          <ac:chgData name="Yousuf, Arsalan" userId="1f742cd1-60f2-4cc5-8102-e09412e517e3" providerId="ADAL" clId="{15464559-230C-484E-9C98-D7B9D3FDBA96}" dt="2024-01-11T13:16:29.104" v="1526" actId="1038"/>
          <ac:picMkLst>
            <pc:docMk/>
            <pc:sldMk cId="4038553599" sldId="2147479576"/>
            <ac:picMk id="38" creationId="{F245B156-0C81-3649-23B7-A2D9363551C8}"/>
          </ac:picMkLst>
        </pc:picChg>
        <pc:picChg chg="mod topLvl">
          <ac:chgData name="Yousuf, Arsalan" userId="1f742cd1-60f2-4cc5-8102-e09412e517e3" providerId="ADAL" clId="{15464559-230C-484E-9C98-D7B9D3FDBA96}" dt="2024-01-11T13:16:29.104" v="1526" actId="1038"/>
          <ac:picMkLst>
            <pc:docMk/>
            <pc:sldMk cId="4038553599" sldId="2147479576"/>
            <ac:picMk id="39" creationId="{C9C0B04F-FCDA-DF75-D270-B7440395802F}"/>
          </ac:picMkLst>
        </pc:picChg>
        <pc:picChg chg="mod topLvl">
          <ac:chgData name="Yousuf, Arsalan" userId="1f742cd1-60f2-4cc5-8102-e09412e517e3" providerId="ADAL" clId="{15464559-230C-484E-9C98-D7B9D3FDBA96}" dt="2024-01-11T13:16:29.104" v="1526" actId="1038"/>
          <ac:picMkLst>
            <pc:docMk/>
            <pc:sldMk cId="4038553599" sldId="2147479576"/>
            <ac:picMk id="40" creationId="{980AC678-4C24-B47D-4202-E818362D8B72}"/>
          </ac:picMkLst>
        </pc:picChg>
        <pc:picChg chg="mod topLvl">
          <ac:chgData name="Yousuf, Arsalan" userId="1f742cd1-60f2-4cc5-8102-e09412e517e3" providerId="ADAL" clId="{15464559-230C-484E-9C98-D7B9D3FDBA96}" dt="2024-01-11T13:16:29.104" v="1526" actId="1038"/>
          <ac:picMkLst>
            <pc:docMk/>
            <pc:sldMk cId="4038553599" sldId="2147479576"/>
            <ac:picMk id="41" creationId="{107393B2-C1F1-FBEB-8D39-4F4A7F56371B}"/>
          </ac:picMkLst>
        </pc:picChg>
        <pc:picChg chg="mod topLvl">
          <ac:chgData name="Yousuf, Arsalan" userId="1f742cd1-60f2-4cc5-8102-e09412e517e3" providerId="ADAL" clId="{15464559-230C-484E-9C98-D7B9D3FDBA96}" dt="2024-01-11T13:16:29.104" v="1526" actId="1038"/>
          <ac:picMkLst>
            <pc:docMk/>
            <pc:sldMk cId="4038553599" sldId="2147479576"/>
            <ac:picMk id="54" creationId="{78A4A14A-D7F8-642B-414C-63F55439C4ED}"/>
          </ac:picMkLst>
        </pc:picChg>
        <pc:picChg chg="mod topLvl">
          <ac:chgData name="Yousuf, Arsalan" userId="1f742cd1-60f2-4cc5-8102-e09412e517e3" providerId="ADAL" clId="{15464559-230C-484E-9C98-D7B9D3FDBA96}" dt="2024-01-11T13:16:29.104" v="1526" actId="1038"/>
          <ac:picMkLst>
            <pc:docMk/>
            <pc:sldMk cId="4038553599" sldId="2147479576"/>
            <ac:picMk id="63" creationId="{270724D2-87AB-4B29-253E-B6D2D836A3ED}"/>
          </ac:picMkLst>
        </pc:picChg>
        <pc:picChg chg="mod topLvl">
          <ac:chgData name="Yousuf, Arsalan" userId="1f742cd1-60f2-4cc5-8102-e09412e517e3" providerId="ADAL" clId="{15464559-230C-484E-9C98-D7B9D3FDBA96}" dt="2024-01-11T13:16:29.104" v="1526" actId="1038"/>
          <ac:picMkLst>
            <pc:docMk/>
            <pc:sldMk cId="4038553599" sldId="2147479576"/>
            <ac:picMk id="64" creationId="{41C08FBA-681D-8D30-CA8E-CEFCB5FB0CB7}"/>
          </ac:picMkLst>
        </pc:picChg>
        <pc:picChg chg="mod topLvl">
          <ac:chgData name="Yousuf, Arsalan" userId="1f742cd1-60f2-4cc5-8102-e09412e517e3" providerId="ADAL" clId="{15464559-230C-484E-9C98-D7B9D3FDBA96}" dt="2024-01-11T13:16:29.104" v="1526" actId="1038"/>
          <ac:picMkLst>
            <pc:docMk/>
            <pc:sldMk cId="4038553599" sldId="2147479576"/>
            <ac:picMk id="65" creationId="{4FFDDE81-B43A-8355-489D-E1498CE72748}"/>
          </ac:picMkLst>
        </pc:picChg>
        <pc:picChg chg="add del">
          <ac:chgData name="Yousuf, Arsalan" userId="1f742cd1-60f2-4cc5-8102-e09412e517e3" providerId="ADAL" clId="{15464559-230C-484E-9C98-D7B9D3FDBA96}" dt="2024-01-11T13:12:47.365" v="1426" actId="478"/>
          <ac:picMkLst>
            <pc:docMk/>
            <pc:sldMk cId="4038553599" sldId="2147479576"/>
            <ac:picMk id="79" creationId="{C8D80E3D-8785-2FDD-6F5B-0E5E07F24480}"/>
          </ac:picMkLst>
        </pc:picChg>
        <pc:picChg chg="add del">
          <ac:chgData name="Yousuf, Arsalan" userId="1f742cd1-60f2-4cc5-8102-e09412e517e3" providerId="ADAL" clId="{15464559-230C-484E-9C98-D7B9D3FDBA96}" dt="2024-01-11T13:12:47.365" v="1426" actId="478"/>
          <ac:picMkLst>
            <pc:docMk/>
            <pc:sldMk cId="4038553599" sldId="2147479576"/>
            <ac:picMk id="80" creationId="{4DC391BE-A7D7-9C52-6FF1-B03629A363F1}"/>
          </ac:picMkLst>
        </pc:picChg>
        <pc:picChg chg="add del">
          <ac:chgData name="Yousuf, Arsalan" userId="1f742cd1-60f2-4cc5-8102-e09412e517e3" providerId="ADAL" clId="{15464559-230C-484E-9C98-D7B9D3FDBA96}" dt="2024-01-11T13:12:47.365" v="1426" actId="478"/>
          <ac:picMkLst>
            <pc:docMk/>
            <pc:sldMk cId="4038553599" sldId="2147479576"/>
            <ac:picMk id="112" creationId="{43A383DF-0B39-9285-9CA5-C6C41433EFB2}"/>
          </ac:picMkLst>
        </pc:picChg>
        <pc:picChg chg="add del">
          <ac:chgData name="Yousuf, Arsalan" userId="1f742cd1-60f2-4cc5-8102-e09412e517e3" providerId="ADAL" clId="{15464559-230C-484E-9C98-D7B9D3FDBA96}" dt="2024-01-11T13:12:47.365" v="1426" actId="478"/>
          <ac:picMkLst>
            <pc:docMk/>
            <pc:sldMk cId="4038553599" sldId="2147479576"/>
            <ac:picMk id="113" creationId="{297DA7C2-6867-B14B-E7A6-2363B7274EC5}"/>
          </ac:picMkLst>
        </pc:picChg>
        <pc:picChg chg="add del">
          <ac:chgData name="Yousuf, Arsalan" userId="1f742cd1-60f2-4cc5-8102-e09412e517e3" providerId="ADAL" clId="{15464559-230C-484E-9C98-D7B9D3FDBA96}" dt="2024-01-11T13:12:47.365" v="1426" actId="478"/>
          <ac:picMkLst>
            <pc:docMk/>
            <pc:sldMk cId="4038553599" sldId="2147479576"/>
            <ac:picMk id="114" creationId="{53F8C633-AC16-11DA-C208-76D571F224C7}"/>
          </ac:picMkLst>
        </pc:picChg>
        <pc:picChg chg="add del">
          <ac:chgData name="Yousuf, Arsalan" userId="1f742cd1-60f2-4cc5-8102-e09412e517e3" providerId="ADAL" clId="{15464559-230C-484E-9C98-D7B9D3FDBA96}" dt="2024-01-11T13:12:47.365" v="1426" actId="478"/>
          <ac:picMkLst>
            <pc:docMk/>
            <pc:sldMk cId="4038553599" sldId="2147479576"/>
            <ac:picMk id="115" creationId="{AAF859BB-DE98-07A0-522F-6F28A894D637}"/>
          </ac:picMkLst>
        </pc:picChg>
        <pc:picChg chg="add del">
          <ac:chgData name="Yousuf, Arsalan" userId="1f742cd1-60f2-4cc5-8102-e09412e517e3" providerId="ADAL" clId="{15464559-230C-484E-9C98-D7B9D3FDBA96}" dt="2024-01-11T13:12:47.365" v="1426" actId="478"/>
          <ac:picMkLst>
            <pc:docMk/>
            <pc:sldMk cId="4038553599" sldId="2147479576"/>
            <ac:picMk id="116" creationId="{B816856E-B3AE-2F15-B003-80A169FA314F}"/>
          </ac:picMkLst>
        </pc:picChg>
        <pc:picChg chg="add del">
          <ac:chgData name="Yousuf, Arsalan" userId="1f742cd1-60f2-4cc5-8102-e09412e517e3" providerId="ADAL" clId="{15464559-230C-484E-9C98-D7B9D3FDBA96}" dt="2024-01-11T13:12:47.365" v="1426" actId="478"/>
          <ac:picMkLst>
            <pc:docMk/>
            <pc:sldMk cId="4038553599" sldId="2147479576"/>
            <ac:picMk id="129" creationId="{227CEE12-7BC8-2806-E021-440C4E74A0D2}"/>
          </ac:picMkLst>
        </pc:picChg>
        <pc:picChg chg="add del">
          <ac:chgData name="Yousuf, Arsalan" userId="1f742cd1-60f2-4cc5-8102-e09412e517e3" providerId="ADAL" clId="{15464559-230C-484E-9C98-D7B9D3FDBA96}" dt="2024-01-11T13:12:47.365" v="1426" actId="478"/>
          <ac:picMkLst>
            <pc:docMk/>
            <pc:sldMk cId="4038553599" sldId="2147479576"/>
            <ac:picMk id="138" creationId="{CBA90E56-53AF-E870-F96A-35A81597C65C}"/>
          </ac:picMkLst>
        </pc:picChg>
        <pc:picChg chg="add del mod ord">
          <ac:chgData name="Yousuf, Arsalan" userId="1f742cd1-60f2-4cc5-8102-e09412e517e3" providerId="ADAL" clId="{15464559-230C-484E-9C98-D7B9D3FDBA96}" dt="2024-01-11T13:16:29.104" v="1526" actId="1038"/>
          <ac:picMkLst>
            <pc:docMk/>
            <pc:sldMk cId="4038553599" sldId="2147479576"/>
            <ac:picMk id="139" creationId="{26881ABE-AF17-706D-A42A-6E573D0E6555}"/>
          </ac:picMkLst>
        </pc:picChg>
        <pc:cxnChg chg="mod topLvl">
          <ac:chgData name="Yousuf, Arsalan" userId="1f742cd1-60f2-4cc5-8102-e09412e517e3" providerId="ADAL" clId="{15464559-230C-484E-9C98-D7B9D3FDBA96}" dt="2024-01-11T13:16:29.104" v="1526" actId="1038"/>
          <ac:cxnSpMkLst>
            <pc:docMk/>
            <pc:sldMk cId="4038553599" sldId="2147479576"/>
            <ac:cxnSpMk id="6" creationId="{550D6895-F46D-94FB-C96A-3E8A6A27A364}"/>
          </ac:cxnSpMkLst>
        </pc:cxnChg>
        <pc:cxnChg chg="mod topLvl">
          <ac:chgData name="Yousuf, Arsalan" userId="1f742cd1-60f2-4cc5-8102-e09412e517e3" providerId="ADAL" clId="{15464559-230C-484E-9C98-D7B9D3FDBA96}" dt="2024-01-11T13:16:29.104" v="1526" actId="1038"/>
          <ac:cxnSpMkLst>
            <pc:docMk/>
            <pc:sldMk cId="4038553599" sldId="2147479576"/>
            <ac:cxnSpMk id="10" creationId="{2E7BF634-94FC-4BF0-9BFE-189F27198DCF}"/>
          </ac:cxnSpMkLst>
        </pc:cxnChg>
        <pc:cxnChg chg="mod topLvl">
          <ac:chgData name="Yousuf, Arsalan" userId="1f742cd1-60f2-4cc5-8102-e09412e517e3" providerId="ADAL" clId="{15464559-230C-484E-9C98-D7B9D3FDBA96}" dt="2024-01-11T13:16:29.104" v="1526" actId="1038"/>
          <ac:cxnSpMkLst>
            <pc:docMk/>
            <pc:sldMk cId="4038553599" sldId="2147479576"/>
            <ac:cxnSpMk id="14" creationId="{226CAB59-5C8D-A2F9-F486-FCC962F50BF2}"/>
          </ac:cxnSpMkLst>
        </pc:cxnChg>
        <pc:cxnChg chg="mod topLvl">
          <ac:chgData name="Yousuf, Arsalan" userId="1f742cd1-60f2-4cc5-8102-e09412e517e3" providerId="ADAL" clId="{15464559-230C-484E-9C98-D7B9D3FDBA96}" dt="2024-01-11T13:16:29.104" v="1526" actId="1038"/>
          <ac:cxnSpMkLst>
            <pc:docMk/>
            <pc:sldMk cId="4038553599" sldId="2147479576"/>
            <ac:cxnSpMk id="18" creationId="{AF09D315-F71A-4E8F-C442-00BA13D9B3DC}"/>
          </ac:cxnSpMkLst>
        </pc:cxnChg>
        <pc:cxnChg chg="mod topLvl">
          <ac:chgData name="Yousuf, Arsalan" userId="1f742cd1-60f2-4cc5-8102-e09412e517e3" providerId="ADAL" clId="{15464559-230C-484E-9C98-D7B9D3FDBA96}" dt="2024-01-11T13:16:29.104" v="1526" actId="1038"/>
          <ac:cxnSpMkLst>
            <pc:docMk/>
            <pc:sldMk cId="4038553599" sldId="2147479576"/>
            <ac:cxnSpMk id="22" creationId="{D71217B3-936D-DBBD-6AAC-054994F6EB54}"/>
          </ac:cxnSpMkLst>
        </pc:cxnChg>
        <pc:cxnChg chg="mod topLvl">
          <ac:chgData name="Yousuf, Arsalan" userId="1f742cd1-60f2-4cc5-8102-e09412e517e3" providerId="ADAL" clId="{15464559-230C-484E-9C98-D7B9D3FDBA96}" dt="2024-01-11T13:16:29.104" v="1526" actId="1038"/>
          <ac:cxnSpMkLst>
            <pc:docMk/>
            <pc:sldMk cId="4038553599" sldId="2147479576"/>
            <ac:cxnSpMk id="26" creationId="{FBA4B92B-65B2-773D-929D-DEE324330F3A}"/>
          </ac:cxnSpMkLst>
        </pc:cxnChg>
        <pc:cxnChg chg="mod topLvl">
          <ac:chgData name="Yousuf, Arsalan" userId="1f742cd1-60f2-4cc5-8102-e09412e517e3" providerId="ADAL" clId="{15464559-230C-484E-9C98-D7B9D3FDBA96}" dt="2024-01-11T13:16:29.104" v="1526" actId="1038"/>
          <ac:cxnSpMkLst>
            <pc:docMk/>
            <pc:sldMk cId="4038553599" sldId="2147479576"/>
            <ac:cxnSpMk id="30" creationId="{5235BC26-01A9-85AD-CBCE-38D3BF3EF245}"/>
          </ac:cxnSpMkLst>
        </pc:cxnChg>
        <pc:cxnChg chg="mod topLvl">
          <ac:chgData name="Yousuf, Arsalan" userId="1f742cd1-60f2-4cc5-8102-e09412e517e3" providerId="ADAL" clId="{15464559-230C-484E-9C98-D7B9D3FDBA96}" dt="2024-01-11T13:16:29.104" v="1526" actId="1038"/>
          <ac:cxnSpMkLst>
            <pc:docMk/>
            <pc:sldMk cId="4038553599" sldId="2147479576"/>
            <ac:cxnSpMk id="44" creationId="{FA491987-BC45-6CC4-70DF-913D08306DAA}"/>
          </ac:cxnSpMkLst>
        </pc:cxnChg>
        <pc:cxnChg chg="mod topLvl">
          <ac:chgData name="Yousuf, Arsalan" userId="1f742cd1-60f2-4cc5-8102-e09412e517e3" providerId="ADAL" clId="{15464559-230C-484E-9C98-D7B9D3FDBA96}" dt="2024-01-11T13:16:29.104" v="1526" actId="1038"/>
          <ac:cxnSpMkLst>
            <pc:docMk/>
            <pc:sldMk cId="4038553599" sldId="2147479576"/>
            <ac:cxnSpMk id="48" creationId="{5436F5B7-A2D7-EC68-F6D9-75A350A82F60}"/>
          </ac:cxnSpMkLst>
        </pc:cxnChg>
        <pc:cxnChg chg="mod topLvl">
          <ac:chgData name="Yousuf, Arsalan" userId="1f742cd1-60f2-4cc5-8102-e09412e517e3" providerId="ADAL" clId="{15464559-230C-484E-9C98-D7B9D3FDBA96}" dt="2024-01-11T13:16:29.104" v="1526" actId="1038"/>
          <ac:cxnSpMkLst>
            <pc:docMk/>
            <pc:sldMk cId="4038553599" sldId="2147479576"/>
            <ac:cxnSpMk id="52" creationId="{2653391A-D8BC-5327-68F8-C6128B520299}"/>
          </ac:cxnSpMkLst>
        </pc:cxnChg>
        <pc:cxnChg chg="mod topLvl">
          <ac:chgData name="Yousuf, Arsalan" userId="1f742cd1-60f2-4cc5-8102-e09412e517e3" providerId="ADAL" clId="{15464559-230C-484E-9C98-D7B9D3FDBA96}" dt="2024-01-11T13:16:29.104" v="1526" actId="1038"/>
          <ac:cxnSpMkLst>
            <pc:docMk/>
            <pc:sldMk cId="4038553599" sldId="2147479576"/>
            <ac:cxnSpMk id="60" creationId="{F1F97783-A759-A1F1-B8B5-9DA4BAA0B6B5}"/>
          </ac:cxnSpMkLst>
        </pc:cxnChg>
        <pc:cxnChg chg="add mod">
          <ac:chgData name="Yousuf, Arsalan" userId="1f742cd1-60f2-4cc5-8102-e09412e517e3" providerId="ADAL" clId="{15464559-230C-484E-9C98-D7B9D3FDBA96}" dt="2024-01-11T13:16:29.104" v="1526" actId="1038"/>
          <ac:cxnSpMkLst>
            <pc:docMk/>
            <pc:sldMk cId="4038553599" sldId="2147479576"/>
            <ac:cxnSpMk id="68" creationId="{87E90FAC-DD50-5765-6AF3-0BC9454E8CA3}"/>
          </ac:cxnSpMkLst>
        </pc:cxnChg>
        <pc:cxnChg chg="add del">
          <ac:chgData name="Yousuf, Arsalan" userId="1f742cd1-60f2-4cc5-8102-e09412e517e3" providerId="ADAL" clId="{15464559-230C-484E-9C98-D7B9D3FDBA96}" dt="2024-01-11T13:12:47.365" v="1426" actId="478"/>
          <ac:cxnSpMkLst>
            <pc:docMk/>
            <pc:sldMk cId="4038553599" sldId="2147479576"/>
            <ac:cxnSpMk id="81" creationId="{7E3665EF-FD1C-A0C0-A8E9-215B4222D29B}"/>
          </ac:cxnSpMkLst>
        </pc:cxnChg>
        <pc:cxnChg chg="add del">
          <ac:chgData name="Yousuf, Arsalan" userId="1f742cd1-60f2-4cc5-8102-e09412e517e3" providerId="ADAL" clId="{15464559-230C-484E-9C98-D7B9D3FDBA96}" dt="2024-01-11T13:12:47.365" v="1426" actId="478"/>
          <ac:cxnSpMkLst>
            <pc:docMk/>
            <pc:sldMk cId="4038553599" sldId="2147479576"/>
            <ac:cxnSpMk id="85" creationId="{35BBEDEB-C9B7-4505-EB39-C0C7A41098CA}"/>
          </ac:cxnSpMkLst>
        </pc:cxnChg>
        <pc:cxnChg chg="add del">
          <ac:chgData name="Yousuf, Arsalan" userId="1f742cd1-60f2-4cc5-8102-e09412e517e3" providerId="ADAL" clId="{15464559-230C-484E-9C98-D7B9D3FDBA96}" dt="2024-01-11T13:12:47.365" v="1426" actId="478"/>
          <ac:cxnSpMkLst>
            <pc:docMk/>
            <pc:sldMk cId="4038553599" sldId="2147479576"/>
            <ac:cxnSpMk id="89" creationId="{F0697953-FABF-0804-58B2-A8848C3EA1DE}"/>
          </ac:cxnSpMkLst>
        </pc:cxnChg>
        <pc:cxnChg chg="add del">
          <ac:chgData name="Yousuf, Arsalan" userId="1f742cd1-60f2-4cc5-8102-e09412e517e3" providerId="ADAL" clId="{15464559-230C-484E-9C98-D7B9D3FDBA96}" dt="2024-01-11T13:12:47.365" v="1426" actId="478"/>
          <ac:cxnSpMkLst>
            <pc:docMk/>
            <pc:sldMk cId="4038553599" sldId="2147479576"/>
            <ac:cxnSpMk id="93" creationId="{7B6A1D5A-4231-FB83-8448-7203E18EE758}"/>
          </ac:cxnSpMkLst>
        </pc:cxnChg>
        <pc:cxnChg chg="add del">
          <ac:chgData name="Yousuf, Arsalan" userId="1f742cd1-60f2-4cc5-8102-e09412e517e3" providerId="ADAL" clId="{15464559-230C-484E-9C98-D7B9D3FDBA96}" dt="2024-01-11T13:12:47.365" v="1426" actId="478"/>
          <ac:cxnSpMkLst>
            <pc:docMk/>
            <pc:sldMk cId="4038553599" sldId="2147479576"/>
            <ac:cxnSpMk id="97" creationId="{1B57D56B-C803-BA92-D662-23E2E9E81F4E}"/>
          </ac:cxnSpMkLst>
        </pc:cxnChg>
        <pc:cxnChg chg="add del">
          <ac:chgData name="Yousuf, Arsalan" userId="1f742cd1-60f2-4cc5-8102-e09412e517e3" providerId="ADAL" clId="{15464559-230C-484E-9C98-D7B9D3FDBA96}" dt="2024-01-11T13:12:47.365" v="1426" actId="478"/>
          <ac:cxnSpMkLst>
            <pc:docMk/>
            <pc:sldMk cId="4038553599" sldId="2147479576"/>
            <ac:cxnSpMk id="101" creationId="{F8964FC7-D9AD-EFB3-1805-68D71E0BEB4E}"/>
          </ac:cxnSpMkLst>
        </pc:cxnChg>
        <pc:cxnChg chg="add del">
          <ac:chgData name="Yousuf, Arsalan" userId="1f742cd1-60f2-4cc5-8102-e09412e517e3" providerId="ADAL" clId="{15464559-230C-484E-9C98-D7B9D3FDBA96}" dt="2024-01-11T13:12:47.365" v="1426" actId="478"/>
          <ac:cxnSpMkLst>
            <pc:docMk/>
            <pc:sldMk cId="4038553599" sldId="2147479576"/>
            <ac:cxnSpMk id="105" creationId="{E36E8F10-66D4-BB7F-36FC-B4A7199628CC}"/>
          </ac:cxnSpMkLst>
        </pc:cxnChg>
        <pc:cxnChg chg="add del">
          <ac:chgData name="Yousuf, Arsalan" userId="1f742cd1-60f2-4cc5-8102-e09412e517e3" providerId="ADAL" clId="{15464559-230C-484E-9C98-D7B9D3FDBA96}" dt="2024-01-11T13:12:47.365" v="1426" actId="478"/>
          <ac:cxnSpMkLst>
            <pc:docMk/>
            <pc:sldMk cId="4038553599" sldId="2147479576"/>
            <ac:cxnSpMk id="119" creationId="{4D25283A-33AC-9FDB-E63B-E92423216A2D}"/>
          </ac:cxnSpMkLst>
        </pc:cxnChg>
        <pc:cxnChg chg="add del">
          <ac:chgData name="Yousuf, Arsalan" userId="1f742cd1-60f2-4cc5-8102-e09412e517e3" providerId="ADAL" clId="{15464559-230C-484E-9C98-D7B9D3FDBA96}" dt="2024-01-11T13:15:41.610" v="1498" actId="478"/>
          <ac:cxnSpMkLst>
            <pc:docMk/>
            <pc:sldMk cId="4038553599" sldId="2147479576"/>
            <ac:cxnSpMk id="123" creationId="{D56AA5B6-5E27-BCBD-D6CB-99C6C66B3EB8}"/>
          </ac:cxnSpMkLst>
        </pc:cxnChg>
        <pc:cxnChg chg="add del">
          <ac:chgData name="Yousuf, Arsalan" userId="1f742cd1-60f2-4cc5-8102-e09412e517e3" providerId="ADAL" clId="{15464559-230C-484E-9C98-D7B9D3FDBA96}" dt="2024-01-11T13:12:47.365" v="1426" actId="478"/>
          <ac:cxnSpMkLst>
            <pc:docMk/>
            <pc:sldMk cId="4038553599" sldId="2147479576"/>
            <ac:cxnSpMk id="127" creationId="{3C48295E-B01D-37F3-F1E2-2A6C3103EDF0}"/>
          </ac:cxnSpMkLst>
        </pc:cxnChg>
        <pc:cxnChg chg="add del">
          <ac:chgData name="Yousuf, Arsalan" userId="1f742cd1-60f2-4cc5-8102-e09412e517e3" providerId="ADAL" clId="{15464559-230C-484E-9C98-D7B9D3FDBA96}" dt="2024-01-11T13:12:47.365" v="1426" actId="478"/>
          <ac:cxnSpMkLst>
            <pc:docMk/>
            <pc:sldMk cId="4038553599" sldId="2147479576"/>
            <ac:cxnSpMk id="135" creationId="{D27081F0-C49F-4129-77C5-35C3737A7328}"/>
          </ac:cxnSpMkLst>
        </pc:cxnChg>
      </pc:sldChg>
      <pc:sldChg chg="addSp delSp modSp mod">
        <pc:chgData name="Yousuf, Arsalan" userId="1f742cd1-60f2-4cc5-8102-e09412e517e3" providerId="ADAL" clId="{15464559-230C-484E-9C98-D7B9D3FDBA96}" dt="2024-01-11T15:45:33.602" v="5110" actId="1035"/>
        <pc:sldMkLst>
          <pc:docMk/>
          <pc:sldMk cId="234615984" sldId="2147479577"/>
        </pc:sldMkLst>
        <pc:spChg chg="del">
          <ac:chgData name="Yousuf, Arsalan" userId="1f742cd1-60f2-4cc5-8102-e09412e517e3" providerId="ADAL" clId="{15464559-230C-484E-9C98-D7B9D3FDBA96}" dt="2024-01-11T15:36:31.280" v="5088" actId="478"/>
          <ac:spMkLst>
            <pc:docMk/>
            <pc:sldMk cId="234615984" sldId="2147479577"/>
            <ac:spMk id="9" creationId="{4CAF0C7A-0327-89A4-9F34-083148FDEF3D}"/>
          </ac:spMkLst>
        </pc:spChg>
        <pc:spChg chg="del">
          <ac:chgData name="Yousuf, Arsalan" userId="1f742cd1-60f2-4cc5-8102-e09412e517e3" providerId="ADAL" clId="{15464559-230C-484E-9C98-D7B9D3FDBA96}" dt="2024-01-11T15:36:31.280" v="5088" actId="478"/>
          <ac:spMkLst>
            <pc:docMk/>
            <pc:sldMk cId="234615984" sldId="2147479577"/>
            <ac:spMk id="10" creationId="{9C1BEBBF-F219-734B-948E-24A064F6C53E}"/>
          </ac:spMkLst>
        </pc:spChg>
        <pc:spChg chg="del">
          <ac:chgData name="Yousuf, Arsalan" userId="1f742cd1-60f2-4cc5-8102-e09412e517e3" providerId="ADAL" clId="{15464559-230C-484E-9C98-D7B9D3FDBA96}" dt="2024-01-11T15:36:31.280" v="5088" actId="478"/>
          <ac:spMkLst>
            <pc:docMk/>
            <pc:sldMk cId="234615984" sldId="2147479577"/>
            <ac:spMk id="11" creationId="{0062BBDF-BBC3-0270-113C-9FC5448CF429}"/>
          </ac:spMkLst>
        </pc:spChg>
        <pc:spChg chg="del">
          <ac:chgData name="Yousuf, Arsalan" userId="1f742cd1-60f2-4cc5-8102-e09412e517e3" providerId="ADAL" clId="{15464559-230C-484E-9C98-D7B9D3FDBA96}" dt="2024-01-11T15:36:31.280" v="5088" actId="478"/>
          <ac:spMkLst>
            <pc:docMk/>
            <pc:sldMk cId="234615984" sldId="2147479577"/>
            <ac:spMk id="12" creationId="{70E5E09C-577D-A003-5DA6-9693A9A55BD6}"/>
          </ac:spMkLst>
        </pc:spChg>
        <pc:spChg chg="del">
          <ac:chgData name="Yousuf, Arsalan" userId="1f742cd1-60f2-4cc5-8102-e09412e517e3" providerId="ADAL" clId="{15464559-230C-484E-9C98-D7B9D3FDBA96}" dt="2024-01-11T15:36:31.280" v="5088" actId="478"/>
          <ac:spMkLst>
            <pc:docMk/>
            <pc:sldMk cId="234615984" sldId="2147479577"/>
            <ac:spMk id="13" creationId="{53881B7D-9080-6C2D-346C-5E2C0DE9EC7A}"/>
          </ac:spMkLst>
        </pc:spChg>
        <pc:spChg chg="del">
          <ac:chgData name="Yousuf, Arsalan" userId="1f742cd1-60f2-4cc5-8102-e09412e517e3" providerId="ADAL" clId="{15464559-230C-484E-9C98-D7B9D3FDBA96}" dt="2024-01-11T15:36:31.280" v="5088" actId="478"/>
          <ac:spMkLst>
            <pc:docMk/>
            <pc:sldMk cId="234615984" sldId="2147479577"/>
            <ac:spMk id="17" creationId="{7E4F4373-FC22-E6F0-8E52-F7AB326AEA80}"/>
          </ac:spMkLst>
        </pc:spChg>
        <pc:spChg chg="add mod">
          <ac:chgData name="Yousuf, Arsalan" userId="1f742cd1-60f2-4cc5-8102-e09412e517e3" providerId="ADAL" clId="{15464559-230C-484E-9C98-D7B9D3FDBA96}" dt="2024-01-11T15:36:31.647" v="5089"/>
          <ac:spMkLst>
            <pc:docMk/>
            <pc:sldMk cId="234615984" sldId="2147479577"/>
            <ac:spMk id="18" creationId="{499D7EF1-0DE3-F73B-4F95-B7096718917B}"/>
          </ac:spMkLst>
        </pc:spChg>
        <pc:spChg chg="add mod">
          <ac:chgData name="Yousuf, Arsalan" userId="1f742cd1-60f2-4cc5-8102-e09412e517e3" providerId="ADAL" clId="{15464559-230C-484E-9C98-D7B9D3FDBA96}" dt="2024-01-11T15:36:31.647" v="5089"/>
          <ac:spMkLst>
            <pc:docMk/>
            <pc:sldMk cId="234615984" sldId="2147479577"/>
            <ac:spMk id="19" creationId="{A5E17CD5-34F6-1065-7E6A-DE0D79CC0404}"/>
          </ac:spMkLst>
        </pc:spChg>
        <pc:spChg chg="add mod">
          <ac:chgData name="Yousuf, Arsalan" userId="1f742cd1-60f2-4cc5-8102-e09412e517e3" providerId="ADAL" clId="{15464559-230C-484E-9C98-D7B9D3FDBA96}" dt="2024-01-11T15:36:31.647" v="5089"/>
          <ac:spMkLst>
            <pc:docMk/>
            <pc:sldMk cId="234615984" sldId="2147479577"/>
            <ac:spMk id="20" creationId="{A93FF82D-A137-988F-7CAD-074CB39C94B5}"/>
          </ac:spMkLst>
        </pc:spChg>
        <pc:spChg chg="add mod">
          <ac:chgData name="Yousuf, Arsalan" userId="1f742cd1-60f2-4cc5-8102-e09412e517e3" providerId="ADAL" clId="{15464559-230C-484E-9C98-D7B9D3FDBA96}" dt="2024-01-11T15:36:31.647" v="5089"/>
          <ac:spMkLst>
            <pc:docMk/>
            <pc:sldMk cId="234615984" sldId="2147479577"/>
            <ac:spMk id="21" creationId="{A21F4DD0-27CF-2A07-1FAE-F283CE093CF2}"/>
          </ac:spMkLst>
        </pc:spChg>
        <pc:spChg chg="add mod">
          <ac:chgData name="Yousuf, Arsalan" userId="1f742cd1-60f2-4cc5-8102-e09412e517e3" providerId="ADAL" clId="{15464559-230C-484E-9C98-D7B9D3FDBA96}" dt="2024-01-11T15:36:31.647" v="5089"/>
          <ac:spMkLst>
            <pc:docMk/>
            <pc:sldMk cId="234615984" sldId="2147479577"/>
            <ac:spMk id="22" creationId="{5595AD26-F007-1B62-AEED-C1A05FB49AFC}"/>
          </ac:spMkLst>
        </pc:spChg>
        <pc:spChg chg="add mod">
          <ac:chgData name="Yousuf, Arsalan" userId="1f742cd1-60f2-4cc5-8102-e09412e517e3" providerId="ADAL" clId="{15464559-230C-484E-9C98-D7B9D3FDBA96}" dt="2024-01-11T15:45:33.602" v="5110" actId="1035"/>
          <ac:spMkLst>
            <pc:docMk/>
            <pc:sldMk cId="234615984" sldId="2147479577"/>
            <ac:spMk id="23" creationId="{FAF80287-2DB3-EDBB-71B0-C956B2853C91}"/>
          </ac:spMkLst>
        </pc:spChg>
        <pc:spChg chg="add mod">
          <ac:chgData name="Yousuf, Arsalan" userId="1f742cd1-60f2-4cc5-8102-e09412e517e3" providerId="ADAL" clId="{15464559-230C-484E-9C98-D7B9D3FDBA96}" dt="2024-01-11T15:36:31.647" v="5089"/>
          <ac:spMkLst>
            <pc:docMk/>
            <pc:sldMk cId="234615984" sldId="2147479577"/>
            <ac:spMk id="24" creationId="{F8A86503-7696-F300-E811-3BB3E3E3B206}"/>
          </ac:spMkLst>
        </pc:spChg>
        <pc:spChg chg="mod">
          <ac:chgData name="Yousuf, Arsalan" userId="1f742cd1-60f2-4cc5-8102-e09412e517e3" providerId="ADAL" clId="{15464559-230C-484E-9C98-D7B9D3FDBA96}" dt="2024-01-11T15:36:31.647" v="5089"/>
          <ac:spMkLst>
            <pc:docMk/>
            <pc:sldMk cId="234615984" sldId="2147479577"/>
            <ac:spMk id="26" creationId="{E512529E-369A-AD27-1F23-20EB77400124}"/>
          </ac:spMkLst>
        </pc:spChg>
        <pc:spChg chg="mod">
          <ac:chgData name="Yousuf, Arsalan" userId="1f742cd1-60f2-4cc5-8102-e09412e517e3" providerId="ADAL" clId="{15464559-230C-484E-9C98-D7B9D3FDBA96}" dt="2024-01-11T15:36:31.647" v="5089"/>
          <ac:spMkLst>
            <pc:docMk/>
            <pc:sldMk cId="234615984" sldId="2147479577"/>
            <ac:spMk id="27" creationId="{DCD1ACC5-77B5-A879-8B68-DA9F6DB62FC0}"/>
          </ac:spMkLst>
        </pc:spChg>
        <pc:spChg chg="del">
          <ac:chgData name="Yousuf, Arsalan" userId="1f742cd1-60f2-4cc5-8102-e09412e517e3" providerId="ADAL" clId="{15464559-230C-484E-9C98-D7B9D3FDBA96}" dt="2024-01-11T15:36:31.280" v="5088" actId="478"/>
          <ac:spMkLst>
            <pc:docMk/>
            <pc:sldMk cId="234615984" sldId="2147479577"/>
            <ac:spMk id="30" creationId="{5CEC9C43-6864-4837-A2EF-7BE245B08955}"/>
          </ac:spMkLst>
        </pc:spChg>
        <pc:spChg chg="mod">
          <ac:chgData name="Yousuf, Arsalan" userId="1f742cd1-60f2-4cc5-8102-e09412e517e3" providerId="ADAL" clId="{15464559-230C-484E-9C98-D7B9D3FDBA96}" dt="2024-01-11T15:36:31.647" v="5089"/>
          <ac:spMkLst>
            <pc:docMk/>
            <pc:sldMk cId="234615984" sldId="2147479577"/>
            <ac:spMk id="40" creationId="{1249E4A2-05C7-0307-084A-DAF87B2276BC}"/>
          </ac:spMkLst>
        </pc:spChg>
        <pc:spChg chg="mod">
          <ac:chgData name="Yousuf, Arsalan" userId="1f742cd1-60f2-4cc5-8102-e09412e517e3" providerId="ADAL" clId="{15464559-230C-484E-9C98-D7B9D3FDBA96}" dt="2024-01-11T15:36:31.647" v="5089"/>
          <ac:spMkLst>
            <pc:docMk/>
            <pc:sldMk cId="234615984" sldId="2147479577"/>
            <ac:spMk id="41" creationId="{08294BA0-971A-B51D-29AE-7CD96ED16A63}"/>
          </ac:spMkLst>
        </pc:spChg>
        <pc:spChg chg="mod">
          <ac:chgData name="Yousuf, Arsalan" userId="1f742cd1-60f2-4cc5-8102-e09412e517e3" providerId="ADAL" clId="{15464559-230C-484E-9C98-D7B9D3FDBA96}" dt="2024-01-11T15:36:31.647" v="5089"/>
          <ac:spMkLst>
            <pc:docMk/>
            <pc:sldMk cId="234615984" sldId="2147479577"/>
            <ac:spMk id="43" creationId="{07C0C0E3-CE90-5958-3F83-D21F69083ECC}"/>
          </ac:spMkLst>
        </pc:spChg>
        <pc:spChg chg="mod">
          <ac:chgData name="Yousuf, Arsalan" userId="1f742cd1-60f2-4cc5-8102-e09412e517e3" providerId="ADAL" clId="{15464559-230C-484E-9C98-D7B9D3FDBA96}" dt="2024-01-11T15:36:31.647" v="5089"/>
          <ac:spMkLst>
            <pc:docMk/>
            <pc:sldMk cId="234615984" sldId="2147479577"/>
            <ac:spMk id="44" creationId="{95768C0C-483B-8FB8-3431-E8F6E89C8CE7}"/>
          </ac:spMkLst>
        </pc:spChg>
        <pc:spChg chg="mod">
          <ac:chgData name="Yousuf, Arsalan" userId="1f742cd1-60f2-4cc5-8102-e09412e517e3" providerId="ADAL" clId="{15464559-230C-484E-9C98-D7B9D3FDBA96}" dt="2024-01-11T15:36:31.647" v="5089"/>
          <ac:spMkLst>
            <pc:docMk/>
            <pc:sldMk cId="234615984" sldId="2147479577"/>
            <ac:spMk id="52" creationId="{D4445ED9-C407-B5E6-4A48-377E49720BC0}"/>
          </ac:spMkLst>
        </pc:spChg>
        <pc:spChg chg="mod">
          <ac:chgData name="Yousuf, Arsalan" userId="1f742cd1-60f2-4cc5-8102-e09412e517e3" providerId="ADAL" clId="{15464559-230C-484E-9C98-D7B9D3FDBA96}" dt="2024-01-11T15:36:31.647" v="5089"/>
          <ac:spMkLst>
            <pc:docMk/>
            <pc:sldMk cId="234615984" sldId="2147479577"/>
            <ac:spMk id="53" creationId="{FBCF2D2F-B3CE-C073-9C1F-73C4AE5FC57A}"/>
          </ac:spMkLst>
        </pc:spChg>
        <pc:spChg chg="mod">
          <ac:chgData name="Yousuf, Arsalan" userId="1f742cd1-60f2-4cc5-8102-e09412e517e3" providerId="ADAL" clId="{15464559-230C-484E-9C98-D7B9D3FDBA96}" dt="2024-01-11T15:36:31.647" v="5089"/>
          <ac:spMkLst>
            <pc:docMk/>
            <pc:sldMk cId="234615984" sldId="2147479577"/>
            <ac:spMk id="55" creationId="{38E5A093-2922-E8DB-377A-419263DBCF22}"/>
          </ac:spMkLst>
        </pc:spChg>
        <pc:spChg chg="mod">
          <ac:chgData name="Yousuf, Arsalan" userId="1f742cd1-60f2-4cc5-8102-e09412e517e3" providerId="ADAL" clId="{15464559-230C-484E-9C98-D7B9D3FDBA96}" dt="2024-01-11T15:36:31.647" v="5089"/>
          <ac:spMkLst>
            <pc:docMk/>
            <pc:sldMk cId="234615984" sldId="2147479577"/>
            <ac:spMk id="56" creationId="{23B5B8B0-B637-54E7-CA7F-C5381F17FD8C}"/>
          </ac:spMkLst>
        </pc:spChg>
        <pc:spChg chg="mod">
          <ac:chgData name="Yousuf, Arsalan" userId="1f742cd1-60f2-4cc5-8102-e09412e517e3" providerId="ADAL" clId="{15464559-230C-484E-9C98-D7B9D3FDBA96}" dt="2024-01-11T15:36:31.647" v="5089"/>
          <ac:spMkLst>
            <pc:docMk/>
            <pc:sldMk cId="234615984" sldId="2147479577"/>
            <ac:spMk id="58" creationId="{17F65562-DD7C-859C-E999-A4C19A0C916F}"/>
          </ac:spMkLst>
        </pc:spChg>
        <pc:spChg chg="mod">
          <ac:chgData name="Yousuf, Arsalan" userId="1f742cd1-60f2-4cc5-8102-e09412e517e3" providerId="ADAL" clId="{15464559-230C-484E-9C98-D7B9D3FDBA96}" dt="2024-01-11T15:36:31.647" v="5089"/>
          <ac:spMkLst>
            <pc:docMk/>
            <pc:sldMk cId="234615984" sldId="2147479577"/>
            <ac:spMk id="59" creationId="{821A9324-5B5D-45CB-FEF7-A7F4EC10B9D3}"/>
          </ac:spMkLst>
        </pc:spChg>
        <pc:spChg chg="add mod">
          <ac:chgData name="Yousuf, Arsalan" userId="1f742cd1-60f2-4cc5-8102-e09412e517e3" providerId="ADAL" clId="{15464559-230C-484E-9C98-D7B9D3FDBA96}" dt="2024-01-11T15:36:31.647" v="5089"/>
          <ac:spMkLst>
            <pc:docMk/>
            <pc:sldMk cId="234615984" sldId="2147479577"/>
            <ac:spMk id="60" creationId="{45A509B6-7C4B-530C-3307-1827C2B048DB}"/>
          </ac:spMkLst>
        </pc:spChg>
        <pc:spChg chg="add mod">
          <ac:chgData name="Yousuf, Arsalan" userId="1f742cd1-60f2-4cc5-8102-e09412e517e3" providerId="ADAL" clId="{15464559-230C-484E-9C98-D7B9D3FDBA96}" dt="2024-01-11T15:36:31.647" v="5089"/>
          <ac:spMkLst>
            <pc:docMk/>
            <pc:sldMk cId="234615984" sldId="2147479577"/>
            <ac:spMk id="61" creationId="{A04CD333-1066-6A08-98B1-80C33A329076}"/>
          </ac:spMkLst>
        </pc:spChg>
        <pc:spChg chg="add mod">
          <ac:chgData name="Yousuf, Arsalan" userId="1f742cd1-60f2-4cc5-8102-e09412e517e3" providerId="ADAL" clId="{15464559-230C-484E-9C98-D7B9D3FDBA96}" dt="2024-01-11T15:36:31.647" v="5089"/>
          <ac:spMkLst>
            <pc:docMk/>
            <pc:sldMk cId="234615984" sldId="2147479577"/>
            <ac:spMk id="62" creationId="{AF13B8EF-00D7-9B6D-E2BD-5D0588E363BC}"/>
          </ac:spMkLst>
        </pc:spChg>
        <pc:spChg chg="add del mod">
          <ac:chgData name="Yousuf, Arsalan" userId="1f742cd1-60f2-4cc5-8102-e09412e517e3" providerId="ADAL" clId="{15464559-230C-484E-9C98-D7B9D3FDBA96}" dt="2024-01-11T15:36:42.336" v="5093"/>
          <ac:spMkLst>
            <pc:docMk/>
            <pc:sldMk cId="234615984" sldId="2147479577"/>
            <ac:spMk id="64" creationId="{B6DA5A6E-50E9-8175-8D02-83926013F3F6}"/>
          </ac:spMkLst>
        </pc:spChg>
        <pc:spChg chg="add del mod">
          <ac:chgData name="Yousuf, Arsalan" userId="1f742cd1-60f2-4cc5-8102-e09412e517e3" providerId="ADAL" clId="{15464559-230C-484E-9C98-D7B9D3FDBA96}" dt="2024-01-11T15:36:42.336" v="5093"/>
          <ac:spMkLst>
            <pc:docMk/>
            <pc:sldMk cId="234615984" sldId="2147479577"/>
            <ac:spMk id="65" creationId="{40A55ED0-4867-9570-948D-39CFDBB46ACC}"/>
          </ac:spMkLst>
        </pc:spChg>
        <pc:spChg chg="add del mod">
          <ac:chgData name="Yousuf, Arsalan" userId="1f742cd1-60f2-4cc5-8102-e09412e517e3" providerId="ADAL" clId="{15464559-230C-484E-9C98-D7B9D3FDBA96}" dt="2024-01-11T15:36:42.336" v="5093"/>
          <ac:spMkLst>
            <pc:docMk/>
            <pc:sldMk cId="234615984" sldId="2147479577"/>
            <ac:spMk id="66" creationId="{A5D540B8-B602-E43F-6893-7422D8011A60}"/>
          </ac:spMkLst>
        </pc:spChg>
        <pc:spChg chg="add del mod">
          <ac:chgData name="Yousuf, Arsalan" userId="1f742cd1-60f2-4cc5-8102-e09412e517e3" providerId="ADAL" clId="{15464559-230C-484E-9C98-D7B9D3FDBA96}" dt="2024-01-11T15:36:42.336" v="5093"/>
          <ac:spMkLst>
            <pc:docMk/>
            <pc:sldMk cId="234615984" sldId="2147479577"/>
            <ac:spMk id="67" creationId="{C4743F38-982C-FD38-6BC4-77DBD5C5279A}"/>
          </ac:spMkLst>
        </pc:spChg>
        <pc:spChg chg="add del mod">
          <ac:chgData name="Yousuf, Arsalan" userId="1f742cd1-60f2-4cc5-8102-e09412e517e3" providerId="ADAL" clId="{15464559-230C-484E-9C98-D7B9D3FDBA96}" dt="2024-01-11T15:36:42.336" v="5093"/>
          <ac:spMkLst>
            <pc:docMk/>
            <pc:sldMk cId="234615984" sldId="2147479577"/>
            <ac:spMk id="68" creationId="{6FC72C35-ACD5-EE97-B270-4185C4060A66}"/>
          </ac:spMkLst>
        </pc:spChg>
        <pc:spChg chg="add del mod">
          <ac:chgData name="Yousuf, Arsalan" userId="1f742cd1-60f2-4cc5-8102-e09412e517e3" providerId="ADAL" clId="{15464559-230C-484E-9C98-D7B9D3FDBA96}" dt="2024-01-11T15:36:42.336" v="5093"/>
          <ac:spMkLst>
            <pc:docMk/>
            <pc:sldMk cId="234615984" sldId="2147479577"/>
            <ac:spMk id="69" creationId="{58749034-A1B8-438C-BD32-0EA9FCDAAFC2}"/>
          </ac:spMkLst>
        </pc:spChg>
        <pc:spChg chg="add del mod">
          <ac:chgData name="Yousuf, Arsalan" userId="1f742cd1-60f2-4cc5-8102-e09412e517e3" providerId="ADAL" clId="{15464559-230C-484E-9C98-D7B9D3FDBA96}" dt="2024-01-11T15:36:42.336" v="5093"/>
          <ac:spMkLst>
            <pc:docMk/>
            <pc:sldMk cId="234615984" sldId="2147479577"/>
            <ac:spMk id="70" creationId="{C77444F7-5A3B-4CD5-F363-AF2861D08DE8}"/>
          </ac:spMkLst>
        </pc:spChg>
        <pc:spChg chg="mod">
          <ac:chgData name="Yousuf, Arsalan" userId="1f742cd1-60f2-4cc5-8102-e09412e517e3" providerId="ADAL" clId="{15464559-230C-484E-9C98-D7B9D3FDBA96}" dt="2024-01-11T15:36:41.260" v="5092"/>
          <ac:spMkLst>
            <pc:docMk/>
            <pc:sldMk cId="234615984" sldId="2147479577"/>
            <ac:spMk id="72" creationId="{E6C5008E-CC9A-CF11-68B4-138B576A7FF5}"/>
          </ac:spMkLst>
        </pc:spChg>
        <pc:spChg chg="mod">
          <ac:chgData name="Yousuf, Arsalan" userId="1f742cd1-60f2-4cc5-8102-e09412e517e3" providerId="ADAL" clId="{15464559-230C-484E-9C98-D7B9D3FDBA96}" dt="2024-01-11T15:36:41.260" v="5092"/>
          <ac:spMkLst>
            <pc:docMk/>
            <pc:sldMk cId="234615984" sldId="2147479577"/>
            <ac:spMk id="73" creationId="{F36B2628-7BA9-D22D-C017-70A7900CD839}"/>
          </ac:spMkLst>
        </pc:spChg>
        <pc:spChg chg="mod">
          <ac:chgData name="Yousuf, Arsalan" userId="1f742cd1-60f2-4cc5-8102-e09412e517e3" providerId="ADAL" clId="{15464559-230C-484E-9C98-D7B9D3FDBA96}" dt="2024-01-11T15:36:41.260" v="5092"/>
          <ac:spMkLst>
            <pc:docMk/>
            <pc:sldMk cId="234615984" sldId="2147479577"/>
            <ac:spMk id="75" creationId="{0D728913-DC26-AC2F-6F10-93288EED7651}"/>
          </ac:spMkLst>
        </pc:spChg>
        <pc:spChg chg="mod">
          <ac:chgData name="Yousuf, Arsalan" userId="1f742cd1-60f2-4cc5-8102-e09412e517e3" providerId="ADAL" clId="{15464559-230C-484E-9C98-D7B9D3FDBA96}" dt="2024-01-11T15:36:41.260" v="5092"/>
          <ac:spMkLst>
            <pc:docMk/>
            <pc:sldMk cId="234615984" sldId="2147479577"/>
            <ac:spMk id="76" creationId="{0CEA03BF-9966-3003-3A24-BB40F2B333B2}"/>
          </ac:spMkLst>
        </pc:spChg>
        <pc:spChg chg="mod">
          <ac:chgData name="Yousuf, Arsalan" userId="1f742cd1-60f2-4cc5-8102-e09412e517e3" providerId="ADAL" clId="{15464559-230C-484E-9C98-D7B9D3FDBA96}" dt="2024-01-11T15:36:41.260" v="5092"/>
          <ac:spMkLst>
            <pc:docMk/>
            <pc:sldMk cId="234615984" sldId="2147479577"/>
            <ac:spMk id="78" creationId="{BEB7E2B1-216E-D54C-827B-53EE00159C61}"/>
          </ac:spMkLst>
        </pc:spChg>
        <pc:spChg chg="mod">
          <ac:chgData name="Yousuf, Arsalan" userId="1f742cd1-60f2-4cc5-8102-e09412e517e3" providerId="ADAL" clId="{15464559-230C-484E-9C98-D7B9D3FDBA96}" dt="2024-01-11T15:36:41.260" v="5092"/>
          <ac:spMkLst>
            <pc:docMk/>
            <pc:sldMk cId="234615984" sldId="2147479577"/>
            <ac:spMk id="79" creationId="{A3CAC6C7-C508-86D7-736E-F2A85DEF60AA}"/>
          </ac:spMkLst>
        </pc:spChg>
        <pc:spChg chg="mod">
          <ac:chgData name="Yousuf, Arsalan" userId="1f742cd1-60f2-4cc5-8102-e09412e517e3" providerId="ADAL" clId="{15464559-230C-484E-9C98-D7B9D3FDBA96}" dt="2024-01-11T15:36:41.260" v="5092"/>
          <ac:spMkLst>
            <pc:docMk/>
            <pc:sldMk cId="234615984" sldId="2147479577"/>
            <ac:spMk id="81" creationId="{FC63DA64-B1A4-AF96-413A-616215A6197E}"/>
          </ac:spMkLst>
        </pc:spChg>
        <pc:spChg chg="mod">
          <ac:chgData name="Yousuf, Arsalan" userId="1f742cd1-60f2-4cc5-8102-e09412e517e3" providerId="ADAL" clId="{15464559-230C-484E-9C98-D7B9D3FDBA96}" dt="2024-01-11T15:36:41.260" v="5092"/>
          <ac:spMkLst>
            <pc:docMk/>
            <pc:sldMk cId="234615984" sldId="2147479577"/>
            <ac:spMk id="82" creationId="{C424FE43-29BE-EE48-6B42-296276B7EB48}"/>
          </ac:spMkLst>
        </pc:spChg>
        <pc:spChg chg="mod">
          <ac:chgData name="Yousuf, Arsalan" userId="1f742cd1-60f2-4cc5-8102-e09412e517e3" providerId="ADAL" clId="{15464559-230C-484E-9C98-D7B9D3FDBA96}" dt="2024-01-11T15:36:41.260" v="5092"/>
          <ac:spMkLst>
            <pc:docMk/>
            <pc:sldMk cId="234615984" sldId="2147479577"/>
            <ac:spMk id="84" creationId="{CB2F2DB3-5566-919B-4C99-1A5CDF6597A9}"/>
          </ac:spMkLst>
        </pc:spChg>
        <pc:spChg chg="mod">
          <ac:chgData name="Yousuf, Arsalan" userId="1f742cd1-60f2-4cc5-8102-e09412e517e3" providerId="ADAL" clId="{15464559-230C-484E-9C98-D7B9D3FDBA96}" dt="2024-01-11T15:36:41.260" v="5092"/>
          <ac:spMkLst>
            <pc:docMk/>
            <pc:sldMk cId="234615984" sldId="2147479577"/>
            <ac:spMk id="85" creationId="{CDFEE0A6-0F37-274B-7900-BA5A6B6A2B14}"/>
          </ac:spMkLst>
        </pc:spChg>
        <pc:spChg chg="mod">
          <ac:chgData name="Yousuf, Arsalan" userId="1f742cd1-60f2-4cc5-8102-e09412e517e3" providerId="ADAL" clId="{15464559-230C-484E-9C98-D7B9D3FDBA96}" dt="2024-01-11T15:36:41.260" v="5092"/>
          <ac:spMkLst>
            <pc:docMk/>
            <pc:sldMk cId="234615984" sldId="2147479577"/>
            <ac:spMk id="87" creationId="{D9D6B0A1-2001-E996-278D-EECAFD8ABB13}"/>
          </ac:spMkLst>
        </pc:spChg>
        <pc:spChg chg="del">
          <ac:chgData name="Yousuf, Arsalan" userId="1f742cd1-60f2-4cc5-8102-e09412e517e3" providerId="ADAL" clId="{15464559-230C-484E-9C98-D7B9D3FDBA96}" dt="2024-01-11T15:36:40.915" v="5091" actId="478"/>
          <ac:spMkLst>
            <pc:docMk/>
            <pc:sldMk cId="234615984" sldId="2147479577"/>
            <ac:spMk id="88" creationId="{7F7F099B-8F9F-1FE1-69A9-C32C6EDCBC1D}"/>
          </ac:spMkLst>
        </pc:spChg>
        <pc:spChg chg="del">
          <ac:chgData name="Yousuf, Arsalan" userId="1f742cd1-60f2-4cc5-8102-e09412e517e3" providerId="ADAL" clId="{15464559-230C-484E-9C98-D7B9D3FDBA96}" dt="2024-01-11T15:36:39.991" v="5090" actId="478"/>
          <ac:spMkLst>
            <pc:docMk/>
            <pc:sldMk cId="234615984" sldId="2147479577"/>
            <ac:spMk id="89" creationId="{0177CC97-1339-5FBC-CD7C-6B0DAB826951}"/>
          </ac:spMkLst>
        </pc:spChg>
        <pc:spChg chg="mod">
          <ac:chgData name="Yousuf, Arsalan" userId="1f742cd1-60f2-4cc5-8102-e09412e517e3" providerId="ADAL" clId="{15464559-230C-484E-9C98-D7B9D3FDBA96}" dt="2024-01-11T15:36:41.260" v="5092"/>
          <ac:spMkLst>
            <pc:docMk/>
            <pc:sldMk cId="234615984" sldId="2147479577"/>
            <ac:spMk id="90" creationId="{306DE580-175C-8C02-54EB-21B6BD783DF1}"/>
          </ac:spMkLst>
        </pc:spChg>
        <pc:spChg chg="add del mod">
          <ac:chgData name="Yousuf, Arsalan" userId="1f742cd1-60f2-4cc5-8102-e09412e517e3" providerId="ADAL" clId="{15464559-230C-484E-9C98-D7B9D3FDBA96}" dt="2024-01-11T15:36:42.336" v="5093"/>
          <ac:spMkLst>
            <pc:docMk/>
            <pc:sldMk cId="234615984" sldId="2147479577"/>
            <ac:spMk id="91" creationId="{9B1AEB27-8A65-7791-2D76-FAD35B54EF38}"/>
          </ac:spMkLst>
        </pc:spChg>
        <pc:spChg chg="add del mod">
          <ac:chgData name="Yousuf, Arsalan" userId="1f742cd1-60f2-4cc5-8102-e09412e517e3" providerId="ADAL" clId="{15464559-230C-484E-9C98-D7B9D3FDBA96}" dt="2024-01-11T15:36:42.336" v="5093"/>
          <ac:spMkLst>
            <pc:docMk/>
            <pc:sldMk cId="234615984" sldId="2147479577"/>
            <ac:spMk id="92" creationId="{AD404275-39D5-8EBE-A3A3-51036F2B9B3F}"/>
          </ac:spMkLst>
        </pc:spChg>
        <pc:spChg chg="add del mod">
          <ac:chgData name="Yousuf, Arsalan" userId="1f742cd1-60f2-4cc5-8102-e09412e517e3" providerId="ADAL" clId="{15464559-230C-484E-9C98-D7B9D3FDBA96}" dt="2024-01-11T15:36:42.336" v="5093"/>
          <ac:spMkLst>
            <pc:docMk/>
            <pc:sldMk cId="234615984" sldId="2147479577"/>
            <ac:spMk id="93" creationId="{701CCDEB-AE5F-B6AA-667B-A2EC04EE67C5}"/>
          </ac:spMkLst>
        </pc:spChg>
        <pc:spChg chg="add del mod">
          <ac:chgData name="Yousuf, Arsalan" userId="1f742cd1-60f2-4cc5-8102-e09412e517e3" providerId="ADAL" clId="{15464559-230C-484E-9C98-D7B9D3FDBA96}" dt="2024-01-11T15:36:56.395" v="5103" actId="478"/>
          <ac:spMkLst>
            <pc:docMk/>
            <pc:sldMk cId="234615984" sldId="2147479577"/>
            <ac:spMk id="94" creationId="{FEDA546D-099A-4095-7700-ABC5463BCF84}"/>
          </ac:spMkLst>
        </pc:spChg>
        <pc:spChg chg="add mod">
          <ac:chgData name="Yousuf, Arsalan" userId="1f742cd1-60f2-4cc5-8102-e09412e517e3" providerId="ADAL" clId="{15464559-230C-484E-9C98-D7B9D3FDBA96}" dt="2024-01-11T15:36:53.793" v="5102" actId="20577"/>
          <ac:spMkLst>
            <pc:docMk/>
            <pc:sldMk cId="234615984" sldId="2147479577"/>
            <ac:spMk id="95" creationId="{80BBB079-581D-6267-E1AF-A28C9558D6AE}"/>
          </ac:spMkLst>
        </pc:spChg>
        <pc:grpChg chg="del">
          <ac:chgData name="Yousuf, Arsalan" userId="1f742cd1-60f2-4cc5-8102-e09412e517e3" providerId="ADAL" clId="{15464559-230C-484E-9C98-D7B9D3FDBA96}" dt="2024-01-11T15:36:31.280" v="5088" actId="478"/>
          <ac:grpSpMkLst>
            <pc:docMk/>
            <pc:sldMk cId="234615984" sldId="2147479577"/>
            <ac:grpSpMk id="2" creationId="{1881503D-E34A-C66F-0A4A-2ADB1DDBC7A1}"/>
          </ac:grpSpMkLst>
        </pc:grpChg>
        <pc:grpChg chg="del">
          <ac:chgData name="Yousuf, Arsalan" userId="1f742cd1-60f2-4cc5-8102-e09412e517e3" providerId="ADAL" clId="{15464559-230C-484E-9C98-D7B9D3FDBA96}" dt="2024-01-11T15:36:31.280" v="5088" actId="478"/>
          <ac:grpSpMkLst>
            <pc:docMk/>
            <pc:sldMk cId="234615984" sldId="2147479577"/>
            <ac:grpSpMk id="5" creationId="{D8BFACE2-40C2-0356-A658-CA56AC21B718}"/>
          </ac:grpSpMkLst>
        </pc:grpChg>
        <pc:grpChg chg="del">
          <ac:chgData name="Yousuf, Arsalan" userId="1f742cd1-60f2-4cc5-8102-e09412e517e3" providerId="ADAL" clId="{15464559-230C-484E-9C98-D7B9D3FDBA96}" dt="2024-01-11T15:36:31.280" v="5088" actId="478"/>
          <ac:grpSpMkLst>
            <pc:docMk/>
            <pc:sldMk cId="234615984" sldId="2147479577"/>
            <ac:grpSpMk id="14" creationId="{A96D97B9-DAB5-B812-D1E6-0D4A3E7F85D0}"/>
          </ac:grpSpMkLst>
        </pc:grpChg>
        <pc:grpChg chg="add mod">
          <ac:chgData name="Yousuf, Arsalan" userId="1f742cd1-60f2-4cc5-8102-e09412e517e3" providerId="ADAL" clId="{15464559-230C-484E-9C98-D7B9D3FDBA96}" dt="2024-01-11T15:36:31.647" v="5089"/>
          <ac:grpSpMkLst>
            <pc:docMk/>
            <pc:sldMk cId="234615984" sldId="2147479577"/>
            <ac:grpSpMk id="25" creationId="{9FAB7DA3-90D5-455C-E9DD-E28023A90D93}"/>
          </ac:grpSpMkLst>
        </pc:grpChg>
        <pc:grpChg chg="del">
          <ac:chgData name="Yousuf, Arsalan" userId="1f742cd1-60f2-4cc5-8102-e09412e517e3" providerId="ADAL" clId="{15464559-230C-484E-9C98-D7B9D3FDBA96}" dt="2024-01-11T15:36:31.280" v="5088" actId="478"/>
          <ac:grpSpMkLst>
            <pc:docMk/>
            <pc:sldMk cId="234615984" sldId="2147479577"/>
            <ac:grpSpMk id="28" creationId="{40C448EE-DD98-9299-1CF3-22B1884ADDA1}"/>
          </ac:grpSpMkLst>
        </pc:grpChg>
        <pc:grpChg chg="del">
          <ac:chgData name="Yousuf, Arsalan" userId="1f742cd1-60f2-4cc5-8102-e09412e517e3" providerId="ADAL" clId="{15464559-230C-484E-9C98-D7B9D3FDBA96}" dt="2024-01-11T15:36:31.280" v="5088" actId="478"/>
          <ac:grpSpMkLst>
            <pc:docMk/>
            <pc:sldMk cId="234615984" sldId="2147479577"/>
            <ac:grpSpMk id="33" creationId="{1F915F29-60A5-6DB9-F3EB-9FC3AFCFEC9A}"/>
          </ac:grpSpMkLst>
        </pc:grpChg>
        <pc:grpChg chg="del">
          <ac:chgData name="Yousuf, Arsalan" userId="1f742cd1-60f2-4cc5-8102-e09412e517e3" providerId="ADAL" clId="{15464559-230C-484E-9C98-D7B9D3FDBA96}" dt="2024-01-11T15:36:31.280" v="5088" actId="478"/>
          <ac:grpSpMkLst>
            <pc:docMk/>
            <pc:sldMk cId="234615984" sldId="2147479577"/>
            <ac:grpSpMk id="36" creationId="{64A11BBC-E3B1-C759-6075-0A899D28B68F}"/>
          </ac:grpSpMkLst>
        </pc:grpChg>
        <pc:grpChg chg="add mod">
          <ac:chgData name="Yousuf, Arsalan" userId="1f742cd1-60f2-4cc5-8102-e09412e517e3" providerId="ADAL" clId="{15464559-230C-484E-9C98-D7B9D3FDBA96}" dt="2024-01-11T15:36:31.647" v="5089"/>
          <ac:grpSpMkLst>
            <pc:docMk/>
            <pc:sldMk cId="234615984" sldId="2147479577"/>
            <ac:grpSpMk id="39" creationId="{353F041C-2EA4-78E8-B290-1FB8AF4F9D55}"/>
          </ac:grpSpMkLst>
        </pc:grpChg>
        <pc:grpChg chg="add mod">
          <ac:chgData name="Yousuf, Arsalan" userId="1f742cd1-60f2-4cc5-8102-e09412e517e3" providerId="ADAL" clId="{15464559-230C-484E-9C98-D7B9D3FDBA96}" dt="2024-01-11T15:36:31.647" v="5089"/>
          <ac:grpSpMkLst>
            <pc:docMk/>
            <pc:sldMk cId="234615984" sldId="2147479577"/>
            <ac:grpSpMk id="42" creationId="{7BDC50BB-6AF0-16F1-FD0F-1F6D8D250522}"/>
          </ac:grpSpMkLst>
        </pc:grpChg>
        <pc:grpChg chg="add mod">
          <ac:chgData name="Yousuf, Arsalan" userId="1f742cd1-60f2-4cc5-8102-e09412e517e3" providerId="ADAL" clId="{15464559-230C-484E-9C98-D7B9D3FDBA96}" dt="2024-01-11T15:36:31.647" v="5089"/>
          <ac:grpSpMkLst>
            <pc:docMk/>
            <pc:sldMk cId="234615984" sldId="2147479577"/>
            <ac:grpSpMk id="45" creationId="{74EE7EC0-84E6-2911-E44A-7DF1AADD756A}"/>
          </ac:grpSpMkLst>
        </pc:grpChg>
        <pc:grpChg chg="del">
          <ac:chgData name="Yousuf, Arsalan" userId="1f742cd1-60f2-4cc5-8102-e09412e517e3" providerId="ADAL" clId="{15464559-230C-484E-9C98-D7B9D3FDBA96}" dt="2024-01-11T15:36:31.280" v="5088" actId="478"/>
          <ac:grpSpMkLst>
            <pc:docMk/>
            <pc:sldMk cId="234615984" sldId="2147479577"/>
            <ac:grpSpMk id="46" creationId="{64B4ADEA-53E3-E0F7-E189-3890AB0BEFF7}"/>
          </ac:grpSpMkLst>
        </pc:grpChg>
        <pc:grpChg chg="del">
          <ac:chgData name="Yousuf, Arsalan" userId="1f742cd1-60f2-4cc5-8102-e09412e517e3" providerId="ADAL" clId="{15464559-230C-484E-9C98-D7B9D3FDBA96}" dt="2024-01-11T15:36:31.280" v="5088" actId="478"/>
          <ac:grpSpMkLst>
            <pc:docMk/>
            <pc:sldMk cId="234615984" sldId="2147479577"/>
            <ac:grpSpMk id="49" creationId="{6056F20D-60F9-95BD-CFCE-D4D9ED0134CF}"/>
          </ac:grpSpMkLst>
        </pc:grpChg>
        <pc:grpChg chg="add mod">
          <ac:chgData name="Yousuf, Arsalan" userId="1f742cd1-60f2-4cc5-8102-e09412e517e3" providerId="ADAL" clId="{15464559-230C-484E-9C98-D7B9D3FDBA96}" dt="2024-01-11T15:36:31.647" v="5089"/>
          <ac:grpSpMkLst>
            <pc:docMk/>
            <pc:sldMk cId="234615984" sldId="2147479577"/>
            <ac:grpSpMk id="54" creationId="{0805EBA8-7AF1-AB4B-4654-B4C5AF2FC38B}"/>
          </ac:grpSpMkLst>
        </pc:grpChg>
        <pc:grpChg chg="add mod">
          <ac:chgData name="Yousuf, Arsalan" userId="1f742cd1-60f2-4cc5-8102-e09412e517e3" providerId="ADAL" clId="{15464559-230C-484E-9C98-D7B9D3FDBA96}" dt="2024-01-11T15:36:31.647" v="5089"/>
          <ac:grpSpMkLst>
            <pc:docMk/>
            <pc:sldMk cId="234615984" sldId="2147479577"/>
            <ac:grpSpMk id="57" creationId="{212F52D7-7927-A303-0B35-29E3A9EA61FB}"/>
          </ac:grpSpMkLst>
        </pc:grpChg>
        <pc:grpChg chg="add del mod">
          <ac:chgData name="Yousuf, Arsalan" userId="1f742cd1-60f2-4cc5-8102-e09412e517e3" providerId="ADAL" clId="{15464559-230C-484E-9C98-D7B9D3FDBA96}" dt="2024-01-11T15:36:42.336" v="5093"/>
          <ac:grpSpMkLst>
            <pc:docMk/>
            <pc:sldMk cId="234615984" sldId="2147479577"/>
            <ac:grpSpMk id="71" creationId="{7203CF8B-5B4C-BACF-A921-8BA7B4748185}"/>
          </ac:grpSpMkLst>
        </pc:grpChg>
        <pc:grpChg chg="add del mod">
          <ac:chgData name="Yousuf, Arsalan" userId="1f742cd1-60f2-4cc5-8102-e09412e517e3" providerId="ADAL" clId="{15464559-230C-484E-9C98-D7B9D3FDBA96}" dt="2024-01-11T15:36:42.336" v="5093"/>
          <ac:grpSpMkLst>
            <pc:docMk/>
            <pc:sldMk cId="234615984" sldId="2147479577"/>
            <ac:grpSpMk id="74" creationId="{0A6462AA-0E1E-9508-70F5-78198D520B46}"/>
          </ac:grpSpMkLst>
        </pc:grpChg>
        <pc:grpChg chg="add del mod">
          <ac:chgData name="Yousuf, Arsalan" userId="1f742cd1-60f2-4cc5-8102-e09412e517e3" providerId="ADAL" clId="{15464559-230C-484E-9C98-D7B9D3FDBA96}" dt="2024-01-11T15:36:42.336" v="5093"/>
          <ac:grpSpMkLst>
            <pc:docMk/>
            <pc:sldMk cId="234615984" sldId="2147479577"/>
            <ac:grpSpMk id="77" creationId="{F684F6CF-3000-BD9C-39D4-E3CD3F5B971D}"/>
          </ac:grpSpMkLst>
        </pc:grpChg>
        <pc:grpChg chg="add del mod">
          <ac:chgData name="Yousuf, Arsalan" userId="1f742cd1-60f2-4cc5-8102-e09412e517e3" providerId="ADAL" clId="{15464559-230C-484E-9C98-D7B9D3FDBA96}" dt="2024-01-11T15:36:42.336" v="5093"/>
          <ac:grpSpMkLst>
            <pc:docMk/>
            <pc:sldMk cId="234615984" sldId="2147479577"/>
            <ac:grpSpMk id="80" creationId="{9FA08E00-71FE-6CF6-EA8D-97E4059C881E}"/>
          </ac:grpSpMkLst>
        </pc:grpChg>
        <pc:grpChg chg="add del mod">
          <ac:chgData name="Yousuf, Arsalan" userId="1f742cd1-60f2-4cc5-8102-e09412e517e3" providerId="ADAL" clId="{15464559-230C-484E-9C98-D7B9D3FDBA96}" dt="2024-01-11T15:36:42.336" v="5093"/>
          <ac:grpSpMkLst>
            <pc:docMk/>
            <pc:sldMk cId="234615984" sldId="2147479577"/>
            <ac:grpSpMk id="83" creationId="{58982A31-3148-62DE-C4C0-AA6D3D4F2E29}"/>
          </ac:grpSpMkLst>
        </pc:grpChg>
        <pc:grpChg chg="add del mod">
          <ac:chgData name="Yousuf, Arsalan" userId="1f742cd1-60f2-4cc5-8102-e09412e517e3" providerId="ADAL" clId="{15464559-230C-484E-9C98-D7B9D3FDBA96}" dt="2024-01-11T15:36:42.336" v="5093"/>
          <ac:grpSpMkLst>
            <pc:docMk/>
            <pc:sldMk cId="234615984" sldId="2147479577"/>
            <ac:grpSpMk id="86" creationId="{F55D871C-6743-59C1-5020-97892A6C38E4}"/>
          </ac:grpSpMkLst>
        </pc:grpChg>
        <pc:graphicFrameChg chg="add mod">
          <ac:chgData name="Yousuf, Arsalan" userId="1f742cd1-60f2-4cc5-8102-e09412e517e3" providerId="ADAL" clId="{15464559-230C-484E-9C98-D7B9D3FDBA96}" dt="2024-01-11T15:36:31.647" v="5089"/>
          <ac:graphicFrameMkLst>
            <pc:docMk/>
            <pc:sldMk cId="234615984" sldId="2147479577"/>
            <ac:graphicFrameMk id="8" creationId="{F5787B5C-2596-A3D4-64B6-F2E2A59735E0}"/>
          </ac:graphicFrameMkLst>
        </pc:graphicFrameChg>
        <pc:graphicFrameChg chg="del">
          <ac:chgData name="Yousuf, Arsalan" userId="1f742cd1-60f2-4cc5-8102-e09412e517e3" providerId="ADAL" clId="{15464559-230C-484E-9C98-D7B9D3FDBA96}" dt="2024-01-11T15:36:31.280" v="5088" actId="478"/>
          <ac:graphicFrameMkLst>
            <pc:docMk/>
            <pc:sldMk cId="234615984" sldId="2147479577"/>
            <ac:graphicFrameMk id="29" creationId="{43959F16-6688-48DE-97B4-606698A66F3C}"/>
          </ac:graphicFrameMkLst>
        </pc:graphicFrameChg>
        <pc:graphicFrameChg chg="add del mod">
          <ac:chgData name="Yousuf, Arsalan" userId="1f742cd1-60f2-4cc5-8102-e09412e517e3" providerId="ADAL" clId="{15464559-230C-484E-9C98-D7B9D3FDBA96}" dt="2024-01-11T15:36:42.336" v="5093"/>
          <ac:graphicFrameMkLst>
            <pc:docMk/>
            <pc:sldMk cId="234615984" sldId="2147479577"/>
            <ac:graphicFrameMk id="63" creationId="{DEE81DEA-60FF-3523-C0AC-1B51099DE867}"/>
          </ac:graphicFrameMkLst>
        </pc:graphicFrameChg>
      </pc:sldChg>
      <pc:sldChg chg="addSp delSp modSp add mod ord">
        <pc:chgData name="Yousuf, Arsalan" userId="1f742cd1-60f2-4cc5-8102-e09412e517e3" providerId="ADAL" clId="{15464559-230C-484E-9C98-D7B9D3FDBA96}" dt="2024-01-11T14:10:08.955" v="2379"/>
        <pc:sldMkLst>
          <pc:docMk/>
          <pc:sldMk cId="155685393" sldId="2147479578"/>
        </pc:sldMkLst>
        <pc:spChg chg="mod">
          <ac:chgData name="Yousuf, Arsalan" userId="1f742cd1-60f2-4cc5-8102-e09412e517e3" providerId="ADAL" clId="{15464559-230C-484E-9C98-D7B9D3FDBA96}" dt="2024-01-11T13:17:26.887" v="1529"/>
          <ac:spMkLst>
            <pc:docMk/>
            <pc:sldMk cId="155685393" sldId="2147479578"/>
            <ac:spMk id="71" creationId="{8531E105-FB51-6AC6-26F1-2C5D5ABFDBBE}"/>
          </ac:spMkLst>
        </pc:spChg>
        <pc:spChg chg="mod">
          <ac:chgData name="Yousuf, Arsalan" userId="1f742cd1-60f2-4cc5-8102-e09412e517e3" providerId="ADAL" clId="{15464559-230C-484E-9C98-D7B9D3FDBA96}" dt="2024-01-11T13:17:26.887" v="1529"/>
          <ac:spMkLst>
            <pc:docMk/>
            <pc:sldMk cId="155685393" sldId="2147479578"/>
            <ac:spMk id="72" creationId="{C3A24B16-16E1-B05B-7262-BA418D6758B5}"/>
          </ac:spMkLst>
        </pc:spChg>
        <pc:spChg chg="mod">
          <ac:chgData name="Yousuf, Arsalan" userId="1f742cd1-60f2-4cc5-8102-e09412e517e3" providerId="ADAL" clId="{15464559-230C-484E-9C98-D7B9D3FDBA96}" dt="2024-01-11T13:17:54.064" v="1535" actId="20577"/>
          <ac:spMkLst>
            <pc:docMk/>
            <pc:sldMk cId="155685393" sldId="2147479578"/>
            <ac:spMk id="73" creationId="{6E0C33AD-4429-5DE0-2409-EA3E92314BCE}"/>
          </ac:spMkLst>
        </pc:spChg>
        <pc:spChg chg="mod">
          <ac:chgData name="Yousuf, Arsalan" userId="1f742cd1-60f2-4cc5-8102-e09412e517e3" providerId="ADAL" clId="{15464559-230C-484E-9C98-D7B9D3FDBA96}" dt="2024-01-11T13:17:26.887" v="1529"/>
          <ac:spMkLst>
            <pc:docMk/>
            <pc:sldMk cId="155685393" sldId="2147479578"/>
            <ac:spMk id="74" creationId="{335CCE8B-4D88-F78A-B60E-35B7126CF95D}"/>
          </ac:spMkLst>
        </pc:spChg>
        <pc:spChg chg="del">
          <ac:chgData name="Yousuf, Arsalan" userId="1f742cd1-60f2-4cc5-8102-e09412e517e3" providerId="ADAL" clId="{15464559-230C-484E-9C98-D7B9D3FDBA96}" dt="2024-01-11T13:39:27.011" v="1692" actId="478"/>
          <ac:spMkLst>
            <pc:docMk/>
            <pc:sldMk cId="155685393" sldId="2147479578"/>
            <ac:spMk id="75" creationId="{0B00487E-9A8E-46E0-B60F-BB884C23310C}"/>
          </ac:spMkLst>
        </pc:spChg>
        <pc:spChg chg="del">
          <ac:chgData name="Yousuf, Arsalan" userId="1f742cd1-60f2-4cc5-8102-e09412e517e3" providerId="ADAL" clId="{15464559-230C-484E-9C98-D7B9D3FDBA96}" dt="2024-01-11T13:39:27.011" v="1692" actId="478"/>
          <ac:spMkLst>
            <pc:docMk/>
            <pc:sldMk cId="155685393" sldId="2147479578"/>
            <ac:spMk id="76" creationId="{11F95CE4-70DC-4FF6-9740-A5C6EC6923E7}"/>
          </ac:spMkLst>
        </pc:spChg>
        <pc:spChg chg="mod">
          <ac:chgData name="Yousuf, Arsalan" userId="1f742cd1-60f2-4cc5-8102-e09412e517e3" providerId="ADAL" clId="{15464559-230C-484E-9C98-D7B9D3FDBA96}" dt="2024-01-11T13:17:26.887" v="1529"/>
          <ac:spMkLst>
            <pc:docMk/>
            <pc:sldMk cId="155685393" sldId="2147479578"/>
            <ac:spMk id="77" creationId="{0D337ED1-B5F7-3A9A-C4FE-D8404BC6931A}"/>
          </ac:spMkLst>
        </pc:spChg>
        <pc:spChg chg="mod">
          <ac:chgData name="Yousuf, Arsalan" userId="1f742cd1-60f2-4cc5-8102-e09412e517e3" providerId="ADAL" clId="{15464559-230C-484E-9C98-D7B9D3FDBA96}" dt="2024-01-11T13:17:26.887" v="1529"/>
          <ac:spMkLst>
            <pc:docMk/>
            <pc:sldMk cId="155685393" sldId="2147479578"/>
            <ac:spMk id="78" creationId="{7054FBEE-1429-5322-1AE5-E3FD5E95F90E}"/>
          </ac:spMkLst>
        </pc:spChg>
        <pc:spChg chg="mod">
          <ac:chgData name="Yousuf, Arsalan" userId="1f742cd1-60f2-4cc5-8102-e09412e517e3" providerId="ADAL" clId="{15464559-230C-484E-9C98-D7B9D3FDBA96}" dt="2024-01-11T13:17:26.887" v="1529"/>
          <ac:spMkLst>
            <pc:docMk/>
            <pc:sldMk cId="155685393" sldId="2147479578"/>
            <ac:spMk id="79" creationId="{63AA4366-397B-E14F-596D-09D7328DC1E2}"/>
          </ac:spMkLst>
        </pc:spChg>
        <pc:spChg chg="mod">
          <ac:chgData name="Yousuf, Arsalan" userId="1f742cd1-60f2-4cc5-8102-e09412e517e3" providerId="ADAL" clId="{15464559-230C-484E-9C98-D7B9D3FDBA96}" dt="2024-01-11T13:17:26.887" v="1529"/>
          <ac:spMkLst>
            <pc:docMk/>
            <pc:sldMk cId="155685393" sldId="2147479578"/>
            <ac:spMk id="80" creationId="{BD9DE7C9-0D89-AAC1-B73C-A2D18A15BCB3}"/>
          </ac:spMkLst>
        </pc:spChg>
        <pc:spChg chg="mod">
          <ac:chgData name="Yousuf, Arsalan" userId="1f742cd1-60f2-4cc5-8102-e09412e517e3" providerId="ADAL" clId="{15464559-230C-484E-9C98-D7B9D3FDBA96}" dt="2024-01-11T13:17:26.887" v="1529"/>
          <ac:spMkLst>
            <pc:docMk/>
            <pc:sldMk cId="155685393" sldId="2147479578"/>
            <ac:spMk id="81" creationId="{338C64A5-495B-18DF-0A06-F22EE2A40821}"/>
          </ac:spMkLst>
        </pc:spChg>
        <pc:spChg chg="add mod">
          <ac:chgData name="Yousuf, Arsalan" userId="1f742cd1-60f2-4cc5-8102-e09412e517e3" providerId="ADAL" clId="{15464559-230C-484E-9C98-D7B9D3FDBA96}" dt="2024-01-11T13:39:27.477" v="1693"/>
          <ac:spMkLst>
            <pc:docMk/>
            <pc:sldMk cId="155685393" sldId="2147479578"/>
            <ac:spMk id="85" creationId="{1E53607B-01A9-6614-BF6E-1C4BCC3B4570}"/>
          </ac:spMkLst>
        </pc:spChg>
        <pc:spChg chg="add mod">
          <ac:chgData name="Yousuf, Arsalan" userId="1f742cd1-60f2-4cc5-8102-e09412e517e3" providerId="ADAL" clId="{15464559-230C-484E-9C98-D7B9D3FDBA96}" dt="2024-01-11T13:39:27.477" v="1693"/>
          <ac:spMkLst>
            <pc:docMk/>
            <pc:sldMk cId="155685393" sldId="2147479578"/>
            <ac:spMk id="86" creationId="{99C0A80A-D1B0-C39C-EA8F-01EC90314452}"/>
          </ac:spMkLst>
        </pc:spChg>
        <pc:grpChg chg="add mod">
          <ac:chgData name="Yousuf, Arsalan" userId="1f742cd1-60f2-4cc5-8102-e09412e517e3" providerId="ADAL" clId="{15464559-230C-484E-9C98-D7B9D3FDBA96}" dt="2024-01-11T13:17:36.431" v="1533" actId="1076"/>
          <ac:grpSpMkLst>
            <pc:docMk/>
            <pc:sldMk cId="155685393" sldId="2147479578"/>
            <ac:grpSpMk id="2" creationId="{C43BC2FB-FDD4-3591-1F09-C41141F44B08}"/>
          </ac:grpSpMkLst>
        </pc:grpChg>
        <pc:grpChg chg="del">
          <ac:chgData name="Yousuf, Arsalan" userId="1f742cd1-60f2-4cc5-8102-e09412e517e3" providerId="ADAL" clId="{15464559-230C-484E-9C98-D7B9D3FDBA96}" dt="2024-01-11T13:17:17.780" v="1528" actId="478"/>
          <ac:grpSpMkLst>
            <pc:docMk/>
            <pc:sldMk cId="155685393" sldId="2147479578"/>
            <ac:grpSpMk id="70" creationId="{DF4F13B0-33F8-EDD4-21D1-2C3C822F17F7}"/>
          </ac:grpSpMkLst>
        </pc:grpChg>
        <pc:picChg chg="mod">
          <ac:chgData name="Yousuf, Arsalan" userId="1f742cd1-60f2-4cc5-8102-e09412e517e3" providerId="ADAL" clId="{15464559-230C-484E-9C98-D7B9D3FDBA96}" dt="2024-01-11T13:17:26.887" v="1529"/>
          <ac:picMkLst>
            <pc:docMk/>
            <pc:sldMk cId="155685393" sldId="2147479578"/>
            <ac:picMk id="82" creationId="{CE6F6CDC-C4DF-B670-CDBB-4FAD4A1EF635}"/>
          </ac:picMkLst>
        </pc:picChg>
        <pc:picChg chg="mod">
          <ac:chgData name="Yousuf, Arsalan" userId="1f742cd1-60f2-4cc5-8102-e09412e517e3" providerId="ADAL" clId="{15464559-230C-484E-9C98-D7B9D3FDBA96}" dt="2024-01-11T13:17:26.887" v="1529"/>
          <ac:picMkLst>
            <pc:docMk/>
            <pc:sldMk cId="155685393" sldId="2147479578"/>
            <ac:picMk id="83" creationId="{FD0B4B7A-AE48-3AB1-6E21-1A12CB97213B}"/>
          </ac:picMkLst>
        </pc:picChg>
        <pc:picChg chg="mod">
          <ac:chgData name="Yousuf, Arsalan" userId="1f742cd1-60f2-4cc5-8102-e09412e517e3" providerId="ADAL" clId="{15464559-230C-484E-9C98-D7B9D3FDBA96}" dt="2024-01-11T13:17:26.887" v="1529"/>
          <ac:picMkLst>
            <pc:docMk/>
            <pc:sldMk cId="155685393" sldId="2147479578"/>
            <ac:picMk id="84" creationId="{562C0468-DFFB-5D95-F158-37F6EF463C76}"/>
          </ac:picMkLst>
        </pc:picChg>
      </pc:sldChg>
      <pc:sldChg chg="modSp add mod">
        <pc:chgData name="Yousuf, Arsalan" userId="1f742cd1-60f2-4cc5-8102-e09412e517e3" providerId="ADAL" clId="{15464559-230C-484E-9C98-D7B9D3FDBA96}" dt="2024-01-11T16:04:54.328" v="5430" actId="2711"/>
        <pc:sldMkLst>
          <pc:docMk/>
          <pc:sldMk cId="366550504" sldId="2147479579"/>
        </pc:sldMkLst>
        <pc:spChg chg="mod">
          <ac:chgData name="Yousuf, Arsalan" userId="1f742cd1-60f2-4cc5-8102-e09412e517e3" providerId="ADAL" clId="{15464559-230C-484E-9C98-D7B9D3FDBA96}" dt="2024-01-11T13:18:55.215" v="1544" actId="20577"/>
          <ac:spMkLst>
            <pc:docMk/>
            <pc:sldMk cId="366550504" sldId="2147479579"/>
            <ac:spMk id="5" creationId="{361504AD-9623-9115-82D2-B4972C529EFF}"/>
          </ac:spMkLst>
        </pc:spChg>
        <pc:spChg chg="mod">
          <ac:chgData name="Yousuf, Arsalan" userId="1f742cd1-60f2-4cc5-8102-e09412e517e3" providerId="ADAL" clId="{15464559-230C-484E-9C98-D7B9D3FDBA96}" dt="2024-01-11T16:04:54.328" v="5430" actId="2711"/>
          <ac:spMkLst>
            <pc:docMk/>
            <pc:sldMk cId="366550504" sldId="2147479579"/>
            <ac:spMk id="752" creationId="{00000000-0000-0000-0000-000000000000}"/>
          </ac:spMkLst>
        </pc:spChg>
      </pc:sldChg>
      <pc:sldChg chg="addSp delSp modSp add mod">
        <pc:chgData name="Yousuf, Arsalan" userId="1f742cd1-60f2-4cc5-8102-e09412e517e3" providerId="ADAL" clId="{15464559-230C-484E-9C98-D7B9D3FDBA96}" dt="2024-01-11T16:01:56.938" v="5387" actId="167"/>
        <pc:sldMkLst>
          <pc:docMk/>
          <pc:sldMk cId="882619924" sldId="2147479580"/>
        </pc:sldMkLst>
        <pc:spChg chg="add del mod">
          <ac:chgData name="Yousuf, Arsalan" userId="1f742cd1-60f2-4cc5-8102-e09412e517e3" providerId="ADAL" clId="{15464559-230C-484E-9C98-D7B9D3FDBA96}" dt="2024-01-11T16:01:54.770" v="5385" actId="478"/>
          <ac:spMkLst>
            <pc:docMk/>
            <pc:sldMk cId="882619924" sldId="2147479580"/>
            <ac:spMk id="2" creationId="{D8921285-C28D-5A3D-168E-04577DBABB10}"/>
          </ac:spMkLst>
        </pc:spChg>
        <pc:spChg chg="add mod">
          <ac:chgData name="Yousuf, Arsalan" userId="1f742cd1-60f2-4cc5-8102-e09412e517e3" providerId="ADAL" clId="{15464559-230C-484E-9C98-D7B9D3FDBA96}" dt="2024-01-11T15:49:32.825" v="5146"/>
          <ac:spMkLst>
            <pc:docMk/>
            <pc:sldMk cId="882619924" sldId="2147479580"/>
            <ac:spMk id="3" creationId="{20554C7D-4BA0-C54B-3E74-C48B70F67662}"/>
          </ac:spMkLst>
        </pc:spChg>
        <pc:spChg chg="add mod">
          <ac:chgData name="Yousuf, Arsalan" userId="1f742cd1-60f2-4cc5-8102-e09412e517e3" providerId="ADAL" clId="{15464559-230C-484E-9C98-D7B9D3FDBA96}" dt="2024-01-11T15:49:32.825" v="5146"/>
          <ac:spMkLst>
            <pc:docMk/>
            <pc:sldMk cId="882619924" sldId="2147479580"/>
            <ac:spMk id="4" creationId="{0594CD00-3389-D0F5-3022-D8E49A53FBA8}"/>
          </ac:spMkLst>
        </pc:spChg>
        <pc:spChg chg="add mod">
          <ac:chgData name="Yousuf, Arsalan" userId="1f742cd1-60f2-4cc5-8102-e09412e517e3" providerId="ADAL" clId="{15464559-230C-484E-9C98-D7B9D3FDBA96}" dt="2024-01-11T15:49:32.825" v="5146"/>
          <ac:spMkLst>
            <pc:docMk/>
            <pc:sldMk cId="882619924" sldId="2147479580"/>
            <ac:spMk id="5" creationId="{F6EDB31D-C7B1-20A9-EDC1-75915D5C9CA2}"/>
          </ac:spMkLst>
        </pc:spChg>
        <pc:spChg chg="add mod">
          <ac:chgData name="Yousuf, Arsalan" userId="1f742cd1-60f2-4cc5-8102-e09412e517e3" providerId="ADAL" clId="{15464559-230C-484E-9C98-D7B9D3FDBA96}" dt="2024-01-11T15:54:53.982" v="5256"/>
          <ac:spMkLst>
            <pc:docMk/>
            <pc:sldMk cId="882619924" sldId="2147479580"/>
            <ac:spMk id="7" creationId="{2D8DB6BE-7328-25EE-8E48-015576925372}"/>
          </ac:spMkLst>
        </pc:spChg>
        <pc:spChg chg="add mod">
          <ac:chgData name="Yousuf, Arsalan" userId="1f742cd1-60f2-4cc5-8102-e09412e517e3" providerId="ADAL" clId="{15464559-230C-484E-9C98-D7B9D3FDBA96}" dt="2024-01-11T15:49:38.169" v="5158" actId="20577"/>
          <ac:spMkLst>
            <pc:docMk/>
            <pc:sldMk cId="882619924" sldId="2147479580"/>
            <ac:spMk id="9" creationId="{F89A6F9E-92E3-926E-15BC-0F094753275E}"/>
          </ac:spMkLst>
        </pc:spChg>
        <pc:spChg chg="add mod ord">
          <ac:chgData name="Yousuf, Arsalan" userId="1f742cd1-60f2-4cc5-8102-e09412e517e3" providerId="ADAL" clId="{15464559-230C-484E-9C98-D7B9D3FDBA96}" dt="2024-01-11T16:01:56.938" v="5387" actId="167"/>
          <ac:spMkLst>
            <pc:docMk/>
            <pc:sldMk cId="882619924" sldId="2147479580"/>
            <ac:spMk id="10" creationId="{3C370D60-A5C1-6C21-D057-261E25D49253}"/>
          </ac:spMkLst>
        </pc:spChg>
        <pc:graphicFrameChg chg="add mod">
          <ac:chgData name="Yousuf, Arsalan" userId="1f742cd1-60f2-4cc5-8102-e09412e517e3" providerId="ADAL" clId="{15464559-230C-484E-9C98-D7B9D3FDBA96}" dt="2024-01-11T15:49:32.825" v="5146"/>
          <ac:graphicFrameMkLst>
            <pc:docMk/>
            <pc:sldMk cId="882619924" sldId="2147479580"/>
            <ac:graphicFrameMk id="6" creationId="{DEA26916-162D-C565-DEA6-E0593D381177}"/>
          </ac:graphicFrameMkLst>
        </pc:graphicFrameChg>
        <pc:picChg chg="add mod">
          <ac:chgData name="Yousuf, Arsalan" userId="1f742cd1-60f2-4cc5-8102-e09412e517e3" providerId="ADAL" clId="{15464559-230C-484E-9C98-D7B9D3FDBA96}" dt="2024-01-11T15:49:32.825" v="5146"/>
          <ac:picMkLst>
            <pc:docMk/>
            <pc:sldMk cId="882619924" sldId="2147479580"/>
            <ac:picMk id="8" creationId="{B5136815-E547-E317-1E53-3752C9CB649A}"/>
          </ac:picMkLst>
        </pc:picChg>
      </pc:sldChg>
      <pc:sldChg chg="add del">
        <pc:chgData name="Yousuf, Arsalan" userId="1f742cd1-60f2-4cc5-8102-e09412e517e3" providerId="ADAL" clId="{15464559-230C-484E-9C98-D7B9D3FDBA96}" dt="2024-01-11T13:53:33.284" v="2207"/>
        <pc:sldMkLst>
          <pc:docMk/>
          <pc:sldMk cId="3128868211" sldId="2147479580"/>
        </pc:sldMkLst>
      </pc:sldChg>
      <pc:sldChg chg="addSp delSp modSp add mod ord">
        <pc:chgData name="Yousuf, Arsalan" userId="1f742cd1-60f2-4cc5-8102-e09412e517e3" providerId="ADAL" clId="{15464559-230C-484E-9C98-D7B9D3FDBA96}" dt="2024-01-11T16:02:00.686" v="5390" actId="167"/>
        <pc:sldMkLst>
          <pc:docMk/>
          <pc:sldMk cId="976306375" sldId="2147479581"/>
        </pc:sldMkLst>
        <pc:spChg chg="add del mod">
          <ac:chgData name="Yousuf, Arsalan" userId="1f742cd1-60f2-4cc5-8102-e09412e517e3" providerId="ADAL" clId="{15464559-230C-484E-9C98-D7B9D3FDBA96}" dt="2024-01-11T16:01:58.630" v="5388" actId="478"/>
          <ac:spMkLst>
            <pc:docMk/>
            <pc:sldMk cId="976306375" sldId="2147479581"/>
            <ac:spMk id="2" creationId="{A8511908-63A7-F20B-3539-9BD2D8D02BE6}"/>
          </ac:spMkLst>
        </pc:spChg>
        <pc:spChg chg="add mod">
          <ac:chgData name="Yousuf, Arsalan" userId="1f742cd1-60f2-4cc5-8102-e09412e517e3" providerId="ADAL" clId="{15464559-230C-484E-9C98-D7B9D3FDBA96}" dt="2024-01-11T15:49:49.602" v="5159"/>
          <ac:spMkLst>
            <pc:docMk/>
            <pc:sldMk cId="976306375" sldId="2147479581"/>
            <ac:spMk id="3" creationId="{FEE5A5C6-00CA-5761-1B2C-8DA3C7986C3A}"/>
          </ac:spMkLst>
        </pc:spChg>
        <pc:spChg chg="add mod">
          <ac:chgData name="Yousuf, Arsalan" userId="1f742cd1-60f2-4cc5-8102-e09412e517e3" providerId="ADAL" clId="{15464559-230C-484E-9C98-D7B9D3FDBA96}" dt="2024-01-11T15:49:49.602" v="5159"/>
          <ac:spMkLst>
            <pc:docMk/>
            <pc:sldMk cId="976306375" sldId="2147479581"/>
            <ac:spMk id="4" creationId="{41DF2F39-BD7B-AA2B-1221-FDC741610E45}"/>
          </ac:spMkLst>
        </pc:spChg>
        <pc:spChg chg="add mod">
          <ac:chgData name="Yousuf, Arsalan" userId="1f742cd1-60f2-4cc5-8102-e09412e517e3" providerId="ADAL" clId="{15464559-230C-484E-9C98-D7B9D3FDBA96}" dt="2024-01-11T15:49:49.602" v="5159"/>
          <ac:spMkLst>
            <pc:docMk/>
            <pc:sldMk cId="976306375" sldId="2147479581"/>
            <ac:spMk id="5" creationId="{5C7EC52C-CAB0-AFB5-9E73-46E90A5A3C64}"/>
          </ac:spMkLst>
        </pc:spChg>
        <pc:spChg chg="add mod">
          <ac:chgData name="Yousuf, Arsalan" userId="1f742cd1-60f2-4cc5-8102-e09412e517e3" providerId="ADAL" clId="{15464559-230C-484E-9C98-D7B9D3FDBA96}" dt="2024-01-11T15:54:57.715" v="5258"/>
          <ac:spMkLst>
            <pc:docMk/>
            <pc:sldMk cId="976306375" sldId="2147479581"/>
            <ac:spMk id="7" creationId="{115B0AC6-5899-7235-A580-215CFF414D5E}"/>
          </ac:spMkLst>
        </pc:spChg>
        <pc:spChg chg="add del mod">
          <ac:chgData name="Yousuf, Arsalan" userId="1f742cd1-60f2-4cc5-8102-e09412e517e3" providerId="ADAL" clId="{15464559-230C-484E-9C98-D7B9D3FDBA96}" dt="2024-01-11T15:55:21.591" v="5263" actId="478"/>
          <ac:spMkLst>
            <pc:docMk/>
            <pc:sldMk cId="976306375" sldId="2147479581"/>
            <ac:spMk id="9" creationId="{1CE14D85-639B-C31A-A22F-84B4B365014E}"/>
          </ac:spMkLst>
        </pc:spChg>
        <pc:spChg chg="add mod">
          <ac:chgData name="Yousuf, Arsalan" userId="1f742cd1-60f2-4cc5-8102-e09412e517e3" providerId="ADAL" clId="{15464559-230C-484E-9C98-D7B9D3FDBA96}" dt="2024-01-11T15:55:24.308" v="5271" actId="20577"/>
          <ac:spMkLst>
            <pc:docMk/>
            <pc:sldMk cId="976306375" sldId="2147479581"/>
            <ac:spMk id="10" creationId="{8367E878-BB66-F82B-ECF6-91E37D5B6D75}"/>
          </ac:spMkLst>
        </pc:spChg>
        <pc:spChg chg="add mod ord">
          <ac:chgData name="Yousuf, Arsalan" userId="1f742cd1-60f2-4cc5-8102-e09412e517e3" providerId="ADAL" clId="{15464559-230C-484E-9C98-D7B9D3FDBA96}" dt="2024-01-11T16:02:00.686" v="5390" actId="167"/>
          <ac:spMkLst>
            <pc:docMk/>
            <pc:sldMk cId="976306375" sldId="2147479581"/>
            <ac:spMk id="11" creationId="{0522CB49-109E-4EDD-E751-0EE9824BCE04}"/>
          </ac:spMkLst>
        </pc:spChg>
        <pc:graphicFrameChg chg="add mod">
          <ac:chgData name="Yousuf, Arsalan" userId="1f742cd1-60f2-4cc5-8102-e09412e517e3" providerId="ADAL" clId="{15464559-230C-484E-9C98-D7B9D3FDBA96}" dt="2024-01-11T15:49:49.602" v="5159"/>
          <ac:graphicFrameMkLst>
            <pc:docMk/>
            <pc:sldMk cId="976306375" sldId="2147479581"/>
            <ac:graphicFrameMk id="6" creationId="{1B3BD502-5347-7ED2-773A-522A2E088DE2}"/>
          </ac:graphicFrameMkLst>
        </pc:graphicFrameChg>
        <pc:picChg chg="add mod">
          <ac:chgData name="Yousuf, Arsalan" userId="1f742cd1-60f2-4cc5-8102-e09412e517e3" providerId="ADAL" clId="{15464559-230C-484E-9C98-D7B9D3FDBA96}" dt="2024-01-11T15:49:49.602" v="5159"/>
          <ac:picMkLst>
            <pc:docMk/>
            <pc:sldMk cId="976306375" sldId="2147479581"/>
            <ac:picMk id="8" creationId="{3987EEC6-80F3-99D4-D5A9-A5378698CABB}"/>
          </ac:picMkLst>
        </pc:picChg>
      </pc:sldChg>
      <pc:sldChg chg="addSp delSp modSp add mod">
        <pc:chgData name="Yousuf, Arsalan" userId="1f742cd1-60f2-4cc5-8102-e09412e517e3" providerId="ADAL" clId="{15464559-230C-484E-9C98-D7B9D3FDBA96}" dt="2024-01-11T16:02:15.638" v="5402" actId="167"/>
        <pc:sldMkLst>
          <pc:docMk/>
          <pc:sldMk cId="1614713002" sldId="2147479582"/>
        </pc:sldMkLst>
        <pc:spChg chg="add del mod">
          <ac:chgData name="Yousuf, Arsalan" userId="1f742cd1-60f2-4cc5-8102-e09412e517e3" providerId="ADAL" clId="{15464559-230C-484E-9C98-D7B9D3FDBA96}" dt="2024-01-11T16:02:13.818" v="5400" actId="478"/>
          <ac:spMkLst>
            <pc:docMk/>
            <pc:sldMk cId="1614713002" sldId="2147479582"/>
            <ac:spMk id="2" creationId="{18C710F3-224A-4B34-8E88-7C5D5213D92F}"/>
          </ac:spMkLst>
        </pc:spChg>
        <pc:spChg chg="add mod">
          <ac:chgData name="Yousuf, Arsalan" userId="1f742cd1-60f2-4cc5-8102-e09412e517e3" providerId="ADAL" clId="{15464559-230C-484E-9C98-D7B9D3FDBA96}" dt="2024-01-11T15:50:16.006" v="5170"/>
          <ac:spMkLst>
            <pc:docMk/>
            <pc:sldMk cId="1614713002" sldId="2147479582"/>
            <ac:spMk id="3" creationId="{3C699169-3209-33B1-861B-1AB3CB69B3FF}"/>
          </ac:spMkLst>
        </pc:spChg>
        <pc:spChg chg="add mod">
          <ac:chgData name="Yousuf, Arsalan" userId="1f742cd1-60f2-4cc5-8102-e09412e517e3" providerId="ADAL" clId="{15464559-230C-484E-9C98-D7B9D3FDBA96}" dt="2024-01-11T15:50:16.006" v="5170"/>
          <ac:spMkLst>
            <pc:docMk/>
            <pc:sldMk cId="1614713002" sldId="2147479582"/>
            <ac:spMk id="4" creationId="{661D8957-EF90-3490-522B-D17050D35369}"/>
          </ac:spMkLst>
        </pc:spChg>
        <pc:spChg chg="add mod">
          <ac:chgData name="Yousuf, Arsalan" userId="1f742cd1-60f2-4cc5-8102-e09412e517e3" providerId="ADAL" clId="{15464559-230C-484E-9C98-D7B9D3FDBA96}" dt="2024-01-11T15:50:16.006" v="5170"/>
          <ac:spMkLst>
            <pc:docMk/>
            <pc:sldMk cId="1614713002" sldId="2147479582"/>
            <ac:spMk id="5" creationId="{08A50664-F9C3-6D66-6C37-5216D9E310AB}"/>
          </ac:spMkLst>
        </pc:spChg>
        <pc:spChg chg="add mod">
          <ac:chgData name="Yousuf, Arsalan" userId="1f742cd1-60f2-4cc5-8102-e09412e517e3" providerId="ADAL" clId="{15464559-230C-484E-9C98-D7B9D3FDBA96}" dt="2024-01-11T15:50:16.006" v="5170"/>
          <ac:spMkLst>
            <pc:docMk/>
            <pc:sldMk cId="1614713002" sldId="2147479582"/>
            <ac:spMk id="7" creationId="{E840E9F8-F13D-0D81-3454-CEEB37FE236B}"/>
          </ac:spMkLst>
        </pc:spChg>
        <pc:spChg chg="add mod">
          <ac:chgData name="Yousuf, Arsalan" userId="1f742cd1-60f2-4cc5-8102-e09412e517e3" providerId="ADAL" clId="{15464559-230C-484E-9C98-D7B9D3FDBA96}" dt="2024-01-11T15:50:16.006" v="5170"/>
          <ac:spMkLst>
            <pc:docMk/>
            <pc:sldMk cId="1614713002" sldId="2147479582"/>
            <ac:spMk id="8" creationId="{21AAFCF2-7BB2-44A1-E7A1-B077D19B73CA}"/>
          </ac:spMkLst>
        </pc:spChg>
        <pc:spChg chg="add mod ord">
          <ac:chgData name="Yousuf, Arsalan" userId="1f742cd1-60f2-4cc5-8102-e09412e517e3" providerId="ADAL" clId="{15464559-230C-484E-9C98-D7B9D3FDBA96}" dt="2024-01-11T16:02:15.638" v="5402" actId="167"/>
          <ac:spMkLst>
            <pc:docMk/>
            <pc:sldMk cId="1614713002" sldId="2147479582"/>
            <ac:spMk id="10" creationId="{16FB8CD5-C5BE-8FC8-D49C-0ABC5F09E979}"/>
          </ac:spMkLst>
        </pc:spChg>
        <pc:graphicFrameChg chg="add mod">
          <ac:chgData name="Yousuf, Arsalan" userId="1f742cd1-60f2-4cc5-8102-e09412e517e3" providerId="ADAL" clId="{15464559-230C-484E-9C98-D7B9D3FDBA96}" dt="2024-01-11T15:50:16.006" v="5170"/>
          <ac:graphicFrameMkLst>
            <pc:docMk/>
            <pc:sldMk cId="1614713002" sldId="2147479582"/>
            <ac:graphicFrameMk id="6" creationId="{47CB5AF2-6DB5-C194-5C4B-3CC53BFC0497}"/>
          </ac:graphicFrameMkLst>
        </pc:graphicFrameChg>
        <pc:picChg chg="add mod">
          <ac:chgData name="Yousuf, Arsalan" userId="1f742cd1-60f2-4cc5-8102-e09412e517e3" providerId="ADAL" clId="{15464559-230C-484E-9C98-D7B9D3FDBA96}" dt="2024-01-11T15:50:16.006" v="5170"/>
          <ac:picMkLst>
            <pc:docMk/>
            <pc:sldMk cId="1614713002" sldId="2147479582"/>
            <ac:picMk id="9" creationId="{EEB0CA37-52EF-DEF5-B9C0-3A6F164564A4}"/>
          </ac:picMkLst>
        </pc:picChg>
      </pc:sldChg>
      <pc:sldChg chg="addSp delSp modSp add mod">
        <pc:chgData name="Yousuf, Arsalan" userId="1f742cd1-60f2-4cc5-8102-e09412e517e3" providerId="ADAL" clId="{15464559-230C-484E-9C98-D7B9D3FDBA96}" dt="2024-01-11T16:02:20.127" v="5405" actId="167"/>
        <pc:sldMkLst>
          <pc:docMk/>
          <pc:sldMk cId="3494596641" sldId="2147479583"/>
        </pc:sldMkLst>
        <pc:spChg chg="add del mod">
          <ac:chgData name="Yousuf, Arsalan" userId="1f742cd1-60f2-4cc5-8102-e09412e517e3" providerId="ADAL" clId="{15464559-230C-484E-9C98-D7B9D3FDBA96}" dt="2024-01-11T16:02:17.591" v="5403" actId="478"/>
          <ac:spMkLst>
            <pc:docMk/>
            <pc:sldMk cId="3494596641" sldId="2147479583"/>
            <ac:spMk id="2" creationId="{33266700-C6E6-D77A-43DE-E1D70D21BB29}"/>
          </ac:spMkLst>
        </pc:spChg>
        <pc:spChg chg="add mod">
          <ac:chgData name="Yousuf, Arsalan" userId="1f742cd1-60f2-4cc5-8102-e09412e517e3" providerId="ADAL" clId="{15464559-230C-484E-9C98-D7B9D3FDBA96}" dt="2024-01-11T15:50:27.544" v="5171"/>
          <ac:spMkLst>
            <pc:docMk/>
            <pc:sldMk cId="3494596641" sldId="2147479583"/>
            <ac:spMk id="3" creationId="{383F30ED-3413-2DB0-A02B-C6F3AFE337A8}"/>
          </ac:spMkLst>
        </pc:spChg>
        <pc:spChg chg="add mod">
          <ac:chgData name="Yousuf, Arsalan" userId="1f742cd1-60f2-4cc5-8102-e09412e517e3" providerId="ADAL" clId="{15464559-230C-484E-9C98-D7B9D3FDBA96}" dt="2024-01-11T15:50:27.544" v="5171"/>
          <ac:spMkLst>
            <pc:docMk/>
            <pc:sldMk cId="3494596641" sldId="2147479583"/>
            <ac:spMk id="4" creationId="{7FEDA91D-4C6D-A86A-C724-F3418FEEC142}"/>
          </ac:spMkLst>
        </pc:spChg>
        <pc:spChg chg="add mod">
          <ac:chgData name="Yousuf, Arsalan" userId="1f742cd1-60f2-4cc5-8102-e09412e517e3" providerId="ADAL" clId="{15464559-230C-484E-9C98-D7B9D3FDBA96}" dt="2024-01-11T15:50:27.544" v="5171"/>
          <ac:spMkLst>
            <pc:docMk/>
            <pc:sldMk cId="3494596641" sldId="2147479583"/>
            <ac:spMk id="5" creationId="{B595BB54-BD55-7418-526B-40C613B8CAF4}"/>
          </ac:spMkLst>
        </pc:spChg>
        <pc:spChg chg="add mod">
          <ac:chgData name="Yousuf, Arsalan" userId="1f742cd1-60f2-4cc5-8102-e09412e517e3" providerId="ADAL" clId="{15464559-230C-484E-9C98-D7B9D3FDBA96}" dt="2024-01-11T15:55:05.137" v="5262"/>
          <ac:spMkLst>
            <pc:docMk/>
            <pc:sldMk cId="3494596641" sldId="2147479583"/>
            <ac:spMk id="7" creationId="{5FBD5DE4-0F61-6849-D8DE-5A6636A59652}"/>
          </ac:spMkLst>
        </pc:spChg>
        <pc:spChg chg="add mod">
          <ac:chgData name="Yousuf, Arsalan" userId="1f742cd1-60f2-4cc5-8102-e09412e517e3" providerId="ADAL" clId="{15464559-230C-484E-9C98-D7B9D3FDBA96}" dt="2024-01-11T15:50:27.544" v="5171"/>
          <ac:spMkLst>
            <pc:docMk/>
            <pc:sldMk cId="3494596641" sldId="2147479583"/>
            <ac:spMk id="9" creationId="{A3C1DC89-340C-FAD1-B4B3-F43836A88CEB}"/>
          </ac:spMkLst>
        </pc:spChg>
        <pc:spChg chg="add mod ord">
          <ac:chgData name="Yousuf, Arsalan" userId="1f742cd1-60f2-4cc5-8102-e09412e517e3" providerId="ADAL" clId="{15464559-230C-484E-9C98-D7B9D3FDBA96}" dt="2024-01-11T16:02:20.127" v="5405" actId="167"/>
          <ac:spMkLst>
            <pc:docMk/>
            <pc:sldMk cId="3494596641" sldId="2147479583"/>
            <ac:spMk id="10" creationId="{8C5D962E-C235-6A81-1E9C-C6507500FF5E}"/>
          </ac:spMkLst>
        </pc:spChg>
        <pc:graphicFrameChg chg="add mod">
          <ac:chgData name="Yousuf, Arsalan" userId="1f742cd1-60f2-4cc5-8102-e09412e517e3" providerId="ADAL" clId="{15464559-230C-484E-9C98-D7B9D3FDBA96}" dt="2024-01-11T15:50:27.544" v="5171"/>
          <ac:graphicFrameMkLst>
            <pc:docMk/>
            <pc:sldMk cId="3494596641" sldId="2147479583"/>
            <ac:graphicFrameMk id="6" creationId="{629379ED-8212-C1D7-139D-B9581601B746}"/>
          </ac:graphicFrameMkLst>
        </pc:graphicFrameChg>
        <pc:picChg chg="add mod">
          <ac:chgData name="Yousuf, Arsalan" userId="1f742cd1-60f2-4cc5-8102-e09412e517e3" providerId="ADAL" clId="{15464559-230C-484E-9C98-D7B9D3FDBA96}" dt="2024-01-11T15:50:27.544" v="5171"/>
          <ac:picMkLst>
            <pc:docMk/>
            <pc:sldMk cId="3494596641" sldId="2147479583"/>
            <ac:picMk id="8" creationId="{187D147A-6E1C-6CB7-BA7E-EF28D6E76454}"/>
          </ac:picMkLst>
        </pc:picChg>
      </pc:sldChg>
      <pc:sldChg chg="add del">
        <pc:chgData name="Yousuf, Arsalan" userId="1f742cd1-60f2-4cc5-8102-e09412e517e3" providerId="ADAL" clId="{15464559-230C-484E-9C98-D7B9D3FDBA96}" dt="2024-01-11T15:59:17.169" v="5360" actId="47"/>
        <pc:sldMkLst>
          <pc:docMk/>
          <pc:sldMk cId="1285461779" sldId="2147479584"/>
        </pc:sldMkLst>
      </pc:sldChg>
      <pc:sldChg chg="add del">
        <pc:chgData name="Yousuf, Arsalan" userId="1f742cd1-60f2-4cc5-8102-e09412e517e3" providerId="ADAL" clId="{15464559-230C-484E-9C98-D7B9D3FDBA96}" dt="2024-01-11T15:59:17.682" v="5361" actId="47"/>
        <pc:sldMkLst>
          <pc:docMk/>
          <pc:sldMk cId="1731369552" sldId="2147479585"/>
        </pc:sldMkLst>
      </pc:sldChg>
      <pc:sldChg chg="add del">
        <pc:chgData name="Yousuf, Arsalan" userId="1f742cd1-60f2-4cc5-8102-e09412e517e3" providerId="ADAL" clId="{15464559-230C-484E-9C98-D7B9D3FDBA96}" dt="2024-01-11T15:59:18.207" v="5362" actId="47"/>
        <pc:sldMkLst>
          <pc:docMk/>
          <pc:sldMk cId="1065011623" sldId="2147479586"/>
        </pc:sldMkLst>
      </pc:sldChg>
      <pc:sldChg chg="add del">
        <pc:chgData name="Yousuf, Arsalan" userId="1f742cd1-60f2-4cc5-8102-e09412e517e3" providerId="ADAL" clId="{15464559-230C-484E-9C98-D7B9D3FDBA96}" dt="2024-01-11T15:51:02.055" v="5173" actId="47"/>
        <pc:sldMkLst>
          <pc:docMk/>
          <pc:sldMk cId="1826117147" sldId="2147479587"/>
        </pc:sldMkLst>
      </pc:sldChg>
      <pc:sldChg chg="addSp delSp modSp add mod">
        <pc:chgData name="Yousuf, Arsalan" userId="1f742cd1-60f2-4cc5-8102-e09412e517e3" providerId="ADAL" clId="{15464559-230C-484E-9C98-D7B9D3FDBA96}" dt="2024-01-11T16:02:07.898" v="5396" actId="167"/>
        <pc:sldMkLst>
          <pc:docMk/>
          <pc:sldMk cId="3857555022" sldId="2147479587"/>
        </pc:sldMkLst>
        <pc:spChg chg="del">
          <ac:chgData name="Yousuf, Arsalan" userId="1f742cd1-60f2-4cc5-8102-e09412e517e3" providerId="ADAL" clId="{15464559-230C-484E-9C98-D7B9D3FDBA96}" dt="2024-01-11T15:51:06.434" v="5175" actId="478"/>
          <ac:spMkLst>
            <pc:docMk/>
            <pc:sldMk cId="3857555022" sldId="2147479587"/>
            <ac:spMk id="2" creationId="{A8511908-63A7-F20B-3539-9BD2D8D02BE6}"/>
          </ac:spMkLst>
        </pc:spChg>
        <pc:spChg chg="del">
          <ac:chgData name="Yousuf, Arsalan" userId="1f742cd1-60f2-4cc5-8102-e09412e517e3" providerId="ADAL" clId="{15464559-230C-484E-9C98-D7B9D3FDBA96}" dt="2024-01-11T15:51:06.434" v="5175" actId="478"/>
          <ac:spMkLst>
            <pc:docMk/>
            <pc:sldMk cId="3857555022" sldId="2147479587"/>
            <ac:spMk id="3" creationId="{FEE5A5C6-00CA-5761-1B2C-8DA3C7986C3A}"/>
          </ac:spMkLst>
        </pc:spChg>
        <pc:spChg chg="del">
          <ac:chgData name="Yousuf, Arsalan" userId="1f742cd1-60f2-4cc5-8102-e09412e517e3" providerId="ADAL" clId="{15464559-230C-484E-9C98-D7B9D3FDBA96}" dt="2024-01-11T15:51:06.434" v="5175" actId="478"/>
          <ac:spMkLst>
            <pc:docMk/>
            <pc:sldMk cId="3857555022" sldId="2147479587"/>
            <ac:spMk id="4" creationId="{41DF2F39-BD7B-AA2B-1221-FDC741610E45}"/>
          </ac:spMkLst>
        </pc:spChg>
        <pc:spChg chg="del">
          <ac:chgData name="Yousuf, Arsalan" userId="1f742cd1-60f2-4cc5-8102-e09412e517e3" providerId="ADAL" clId="{15464559-230C-484E-9C98-D7B9D3FDBA96}" dt="2024-01-11T15:51:06.434" v="5175" actId="478"/>
          <ac:spMkLst>
            <pc:docMk/>
            <pc:sldMk cId="3857555022" sldId="2147479587"/>
            <ac:spMk id="5" creationId="{5C7EC52C-CAB0-AFB5-9E73-46E90A5A3C64}"/>
          </ac:spMkLst>
        </pc:spChg>
        <pc:spChg chg="del">
          <ac:chgData name="Yousuf, Arsalan" userId="1f742cd1-60f2-4cc5-8102-e09412e517e3" providerId="ADAL" clId="{15464559-230C-484E-9C98-D7B9D3FDBA96}" dt="2024-01-11T15:51:06.434" v="5175" actId="478"/>
          <ac:spMkLst>
            <pc:docMk/>
            <pc:sldMk cId="3857555022" sldId="2147479587"/>
            <ac:spMk id="7" creationId="{115B0AC6-5899-7235-A580-215CFF414D5E}"/>
          </ac:spMkLst>
        </pc:spChg>
        <pc:spChg chg="del">
          <ac:chgData name="Yousuf, Arsalan" userId="1f742cd1-60f2-4cc5-8102-e09412e517e3" providerId="ADAL" clId="{15464559-230C-484E-9C98-D7B9D3FDBA96}" dt="2024-01-11T15:51:06.434" v="5175" actId="478"/>
          <ac:spMkLst>
            <pc:docMk/>
            <pc:sldMk cId="3857555022" sldId="2147479587"/>
            <ac:spMk id="9" creationId="{1CE14D85-639B-C31A-A22F-84B4B365014E}"/>
          </ac:spMkLst>
        </pc:spChg>
        <pc:spChg chg="add del mod">
          <ac:chgData name="Yousuf, Arsalan" userId="1f742cd1-60f2-4cc5-8102-e09412e517e3" providerId="ADAL" clId="{15464559-230C-484E-9C98-D7B9D3FDBA96}" dt="2024-01-11T16:02:06.033" v="5394" actId="478"/>
          <ac:spMkLst>
            <pc:docMk/>
            <pc:sldMk cId="3857555022" sldId="2147479587"/>
            <ac:spMk id="10" creationId="{5EB1BF3B-E70B-DA2E-B5BE-13FD4AA548E8}"/>
          </ac:spMkLst>
        </pc:spChg>
        <pc:spChg chg="add del mod">
          <ac:chgData name="Yousuf, Arsalan" userId="1f742cd1-60f2-4cc5-8102-e09412e517e3" providerId="ADAL" clId="{15464559-230C-484E-9C98-D7B9D3FDBA96}" dt="2024-01-11T15:55:32.197" v="5272" actId="478"/>
          <ac:spMkLst>
            <pc:docMk/>
            <pc:sldMk cId="3857555022" sldId="2147479587"/>
            <ac:spMk id="11" creationId="{60B4FCE1-E219-0841-2CAA-BAD040CCF18A}"/>
          </ac:spMkLst>
        </pc:spChg>
        <pc:spChg chg="add del mod">
          <ac:chgData name="Yousuf, Arsalan" userId="1f742cd1-60f2-4cc5-8102-e09412e517e3" providerId="ADAL" clId="{15464559-230C-484E-9C98-D7B9D3FDBA96}" dt="2024-01-11T15:58:18.758" v="5353" actId="478"/>
          <ac:spMkLst>
            <pc:docMk/>
            <pc:sldMk cId="3857555022" sldId="2147479587"/>
            <ac:spMk id="12" creationId="{23A77057-FD15-D0E3-C90F-F6F85E741BF1}"/>
          </ac:spMkLst>
        </pc:spChg>
        <pc:spChg chg="add mod">
          <ac:chgData name="Yousuf, Arsalan" userId="1f742cd1-60f2-4cc5-8102-e09412e517e3" providerId="ADAL" clId="{15464559-230C-484E-9C98-D7B9D3FDBA96}" dt="2024-01-11T15:58:11.303" v="5352"/>
          <ac:spMkLst>
            <pc:docMk/>
            <pc:sldMk cId="3857555022" sldId="2147479587"/>
            <ac:spMk id="13" creationId="{B711C444-4604-C5B9-3E95-EB7CE243AB69}"/>
          </ac:spMkLst>
        </pc:spChg>
        <pc:spChg chg="add del mod">
          <ac:chgData name="Yousuf, Arsalan" userId="1f742cd1-60f2-4cc5-8102-e09412e517e3" providerId="ADAL" clId="{15464559-230C-484E-9C98-D7B9D3FDBA96}" dt="2024-01-11T15:58:18.758" v="5353" actId="478"/>
          <ac:spMkLst>
            <pc:docMk/>
            <pc:sldMk cId="3857555022" sldId="2147479587"/>
            <ac:spMk id="14" creationId="{945C6E4D-7201-778F-C6AE-9BC1CBC3A21E}"/>
          </ac:spMkLst>
        </pc:spChg>
        <pc:spChg chg="add mod">
          <ac:chgData name="Yousuf, Arsalan" userId="1f742cd1-60f2-4cc5-8102-e09412e517e3" providerId="ADAL" clId="{15464559-230C-484E-9C98-D7B9D3FDBA96}" dt="2024-01-11T15:58:02.670" v="5351"/>
          <ac:spMkLst>
            <pc:docMk/>
            <pc:sldMk cId="3857555022" sldId="2147479587"/>
            <ac:spMk id="15" creationId="{DE0C5158-941F-A750-C95F-1A1D3CFE1905}"/>
          </ac:spMkLst>
        </pc:spChg>
        <pc:spChg chg="add mod">
          <ac:chgData name="Yousuf, Arsalan" userId="1f742cd1-60f2-4cc5-8102-e09412e517e3" providerId="ADAL" clId="{15464559-230C-484E-9C98-D7B9D3FDBA96}" dt="2024-01-11T15:55:33.033" v="5273"/>
          <ac:spMkLst>
            <pc:docMk/>
            <pc:sldMk cId="3857555022" sldId="2147479587"/>
            <ac:spMk id="18" creationId="{9B65D88F-0882-747E-DB74-A182995A99CB}"/>
          </ac:spMkLst>
        </pc:spChg>
        <pc:spChg chg="add mod">
          <ac:chgData name="Yousuf, Arsalan" userId="1f742cd1-60f2-4cc5-8102-e09412e517e3" providerId="ADAL" clId="{15464559-230C-484E-9C98-D7B9D3FDBA96}" dt="2024-01-11T15:58:19.074" v="5354"/>
          <ac:spMkLst>
            <pc:docMk/>
            <pc:sldMk cId="3857555022" sldId="2147479587"/>
            <ac:spMk id="20" creationId="{225B1456-E61D-D549-183A-F5CEC9405FDD}"/>
          </ac:spMkLst>
        </pc:spChg>
        <pc:spChg chg="add mod">
          <ac:chgData name="Yousuf, Arsalan" userId="1f742cd1-60f2-4cc5-8102-e09412e517e3" providerId="ADAL" clId="{15464559-230C-484E-9C98-D7B9D3FDBA96}" dt="2024-01-11T15:58:33.874" v="5358" actId="6549"/>
          <ac:spMkLst>
            <pc:docMk/>
            <pc:sldMk cId="3857555022" sldId="2147479587"/>
            <ac:spMk id="22" creationId="{DAD1AE0E-9886-9EC5-725A-D9D413BEE81E}"/>
          </ac:spMkLst>
        </pc:spChg>
        <pc:spChg chg="add mod ord">
          <ac:chgData name="Yousuf, Arsalan" userId="1f742cd1-60f2-4cc5-8102-e09412e517e3" providerId="ADAL" clId="{15464559-230C-484E-9C98-D7B9D3FDBA96}" dt="2024-01-11T16:02:07.898" v="5396" actId="167"/>
          <ac:spMkLst>
            <pc:docMk/>
            <pc:sldMk cId="3857555022" sldId="2147479587"/>
            <ac:spMk id="23" creationId="{BF4C9C3C-0DAA-4619-945C-908722C1A486}"/>
          </ac:spMkLst>
        </pc:spChg>
        <pc:graphicFrameChg chg="del">
          <ac:chgData name="Yousuf, Arsalan" userId="1f742cd1-60f2-4cc5-8102-e09412e517e3" providerId="ADAL" clId="{15464559-230C-484E-9C98-D7B9D3FDBA96}" dt="2024-01-11T15:51:06.434" v="5175" actId="478"/>
          <ac:graphicFrameMkLst>
            <pc:docMk/>
            <pc:sldMk cId="3857555022" sldId="2147479587"/>
            <ac:graphicFrameMk id="6" creationId="{1B3BD502-5347-7ED2-773A-522A2E088DE2}"/>
          </ac:graphicFrameMkLst>
        </pc:graphicFrameChg>
        <pc:graphicFrameChg chg="add del mod">
          <ac:chgData name="Yousuf, Arsalan" userId="1f742cd1-60f2-4cc5-8102-e09412e517e3" providerId="ADAL" clId="{15464559-230C-484E-9C98-D7B9D3FDBA96}" dt="2024-01-11T15:58:18.758" v="5353" actId="478"/>
          <ac:graphicFrameMkLst>
            <pc:docMk/>
            <pc:sldMk cId="3857555022" sldId="2147479587"/>
            <ac:graphicFrameMk id="17" creationId="{75A9FE65-D1E6-C4B3-8489-9FDC0E7F6F3C}"/>
          </ac:graphicFrameMkLst>
        </pc:graphicFrameChg>
        <pc:graphicFrameChg chg="add mod modGraphic">
          <ac:chgData name="Yousuf, Arsalan" userId="1f742cd1-60f2-4cc5-8102-e09412e517e3" providerId="ADAL" clId="{15464559-230C-484E-9C98-D7B9D3FDBA96}" dt="2024-01-11T15:58:37.129" v="5359" actId="108"/>
          <ac:graphicFrameMkLst>
            <pc:docMk/>
            <pc:sldMk cId="3857555022" sldId="2147479587"/>
            <ac:graphicFrameMk id="21" creationId="{E7B23A76-E535-3A24-A5C0-8003874E7D3C}"/>
          </ac:graphicFrameMkLst>
        </pc:graphicFrameChg>
        <pc:picChg chg="del">
          <ac:chgData name="Yousuf, Arsalan" userId="1f742cd1-60f2-4cc5-8102-e09412e517e3" providerId="ADAL" clId="{15464559-230C-484E-9C98-D7B9D3FDBA96}" dt="2024-01-11T15:51:06.434" v="5175" actId="478"/>
          <ac:picMkLst>
            <pc:docMk/>
            <pc:sldMk cId="3857555022" sldId="2147479587"/>
            <ac:picMk id="8" creationId="{3987EEC6-80F3-99D4-D5A9-A5378698CABB}"/>
          </ac:picMkLst>
        </pc:picChg>
        <pc:picChg chg="add del mod">
          <ac:chgData name="Yousuf, Arsalan" userId="1f742cd1-60f2-4cc5-8102-e09412e517e3" providerId="ADAL" clId="{15464559-230C-484E-9C98-D7B9D3FDBA96}" dt="2024-01-11T15:57:54.181" v="5349" actId="478"/>
          <ac:picMkLst>
            <pc:docMk/>
            <pc:sldMk cId="3857555022" sldId="2147479587"/>
            <ac:picMk id="16" creationId="{E268C8FE-BD2E-65EB-FE5D-B5617AAD2CA5}"/>
          </ac:picMkLst>
        </pc:picChg>
        <pc:picChg chg="add mod">
          <ac:chgData name="Yousuf, Arsalan" userId="1f742cd1-60f2-4cc5-8102-e09412e517e3" providerId="ADAL" clId="{15464559-230C-484E-9C98-D7B9D3FDBA96}" dt="2024-01-11T15:57:54.494" v="5350"/>
          <ac:picMkLst>
            <pc:docMk/>
            <pc:sldMk cId="3857555022" sldId="2147479587"/>
            <ac:picMk id="19" creationId="{A0041A2E-67A0-4C9B-33F2-0D4748DE1F55}"/>
          </ac:picMkLst>
        </pc:picChg>
      </pc:sldChg>
      <pc:sldChg chg="addSp delSp modSp add mod">
        <pc:chgData name="Yousuf, Arsalan" userId="1f742cd1-60f2-4cc5-8102-e09412e517e3" providerId="ADAL" clId="{15464559-230C-484E-9C98-D7B9D3FDBA96}" dt="2024-01-11T16:02:04.400" v="5393" actId="167"/>
        <pc:sldMkLst>
          <pc:docMk/>
          <pc:sldMk cId="3126853509" sldId="2147479588"/>
        </pc:sldMkLst>
        <pc:spChg chg="del">
          <ac:chgData name="Yousuf, Arsalan" userId="1f742cd1-60f2-4cc5-8102-e09412e517e3" providerId="ADAL" clId="{15464559-230C-484E-9C98-D7B9D3FDBA96}" dt="2024-01-11T16:02:02.598" v="5391" actId="478"/>
          <ac:spMkLst>
            <pc:docMk/>
            <pc:sldMk cId="3126853509" sldId="2147479588"/>
            <ac:spMk id="2" creationId="{D8921285-C28D-5A3D-168E-04577DBABB10}"/>
          </ac:spMkLst>
        </pc:spChg>
        <pc:spChg chg="mod">
          <ac:chgData name="Yousuf, Arsalan" userId="1f742cd1-60f2-4cc5-8102-e09412e517e3" providerId="ADAL" clId="{15464559-230C-484E-9C98-D7B9D3FDBA96}" dt="2024-01-11T15:52:34.733" v="5244" actId="20577"/>
          <ac:spMkLst>
            <pc:docMk/>
            <pc:sldMk cId="3126853509" sldId="2147479588"/>
            <ac:spMk id="3" creationId="{20554C7D-4BA0-C54B-3E74-C48B70F67662}"/>
          </ac:spMkLst>
        </pc:spChg>
        <pc:spChg chg="mod">
          <ac:chgData name="Yousuf, Arsalan" userId="1f742cd1-60f2-4cc5-8102-e09412e517e3" providerId="ADAL" clId="{15464559-230C-484E-9C98-D7B9D3FDBA96}" dt="2024-01-11T15:56:35.801" v="5276" actId="20577"/>
          <ac:spMkLst>
            <pc:docMk/>
            <pc:sldMk cId="3126853509" sldId="2147479588"/>
            <ac:spMk id="4" creationId="{0594CD00-3389-D0F5-3022-D8E49A53FBA8}"/>
          </ac:spMkLst>
        </pc:spChg>
        <pc:spChg chg="mod">
          <ac:chgData name="Yousuf, Arsalan" userId="1f742cd1-60f2-4cc5-8102-e09412e517e3" providerId="ADAL" clId="{15464559-230C-484E-9C98-D7B9D3FDBA96}" dt="2024-01-11T15:56:24.749" v="5274"/>
          <ac:spMkLst>
            <pc:docMk/>
            <pc:sldMk cId="3126853509" sldId="2147479588"/>
            <ac:spMk id="5" creationId="{F6EDB31D-C7B1-20A9-EDC1-75915D5C9CA2}"/>
          </ac:spMkLst>
        </pc:spChg>
        <pc:spChg chg="mod">
          <ac:chgData name="Yousuf, Arsalan" userId="1f742cd1-60f2-4cc5-8102-e09412e517e3" providerId="ADAL" clId="{15464559-230C-484E-9C98-D7B9D3FDBA96}" dt="2024-01-11T15:57:18.429" v="5333"/>
          <ac:spMkLst>
            <pc:docMk/>
            <pc:sldMk cId="3126853509" sldId="2147479588"/>
            <ac:spMk id="7" creationId="{2D8DB6BE-7328-25EE-8E48-015576925372}"/>
          </ac:spMkLst>
        </pc:spChg>
        <pc:spChg chg="mod">
          <ac:chgData name="Yousuf, Arsalan" userId="1f742cd1-60f2-4cc5-8102-e09412e517e3" providerId="ADAL" clId="{15464559-230C-484E-9C98-D7B9D3FDBA96}" dt="2024-01-11T15:52:23.532" v="5226" actId="20577"/>
          <ac:spMkLst>
            <pc:docMk/>
            <pc:sldMk cId="3126853509" sldId="2147479588"/>
            <ac:spMk id="9" creationId="{F89A6F9E-92E3-926E-15BC-0F094753275E}"/>
          </ac:spMkLst>
        </pc:spChg>
        <pc:spChg chg="add mod ord">
          <ac:chgData name="Yousuf, Arsalan" userId="1f742cd1-60f2-4cc5-8102-e09412e517e3" providerId="ADAL" clId="{15464559-230C-484E-9C98-D7B9D3FDBA96}" dt="2024-01-11T16:02:04.400" v="5393" actId="167"/>
          <ac:spMkLst>
            <pc:docMk/>
            <pc:sldMk cId="3126853509" sldId="2147479588"/>
            <ac:spMk id="12" creationId="{7AA91688-6DA9-8C54-4F8C-027EDE18C28E}"/>
          </ac:spMkLst>
        </pc:spChg>
        <pc:graphicFrameChg chg="mod modGraphic">
          <ac:chgData name="Yousuf, Arsalan" userId="1f742cd1-60f2-4cc5-8102-e09412e517e3" providerId="ADAL" clId="{15464559-230C-484E-9C98-D7B9D3FDBA96}" dt="2024-01-11T15:57:22.089" v="5347" actId="1035"/>
          <ac:graphicFrameMkLst>
            <pc:docMk/>
            <pc:sldMk cId="3126853509" sldId="2147479588"/>
            <ac:graphicFrameMk id="6" creationId="{DEA26916-162D-C565-DEA6-E0593D381177}"/>
          </ac:graphicFrameMkLst>
        </pc:graphicFrameChg>
        <pc:picChg chg="del">
          <ac:chgData name="Yousuf, Arsalan" userId="1f742cd1-60f2-4cc5-8102-e09412e517e3" providerId="ADAL" clId="{15464559-230C-484E-9C98-D7B9D3FDBA96}" dt="2024-01-11T15:53:53.477" v="5247" actId="478"/>
          <ac:picMkLst>
            <pc:docMk/>
            <pc:sldMk cId="3126853509" sldId="2147479588"/>
            <ac:picMk id="8" creationId="{B5136815-E547-E317-1E53-3752C9CB649A}"/>
          </ac:picMkLst>
        </pc:picChg>
        <pc:picChg chg="add del mod">
          <ac:chgData name="Yousuf, Arsalan" userId="1f742cd1-60f2-4cc5-8102-e09412e517e3" providerId="ADAL" clId="{15464559-230C-484E-9C98-D7B9D3FDBA96}" dt="2024-01-11T15:53:52.047" v="5246" actId="478"/>
          <ac:picMkLst>
            <pc:docMk/>
            <pc:sldMk cId="3126853509" sldId="2147479588"/>
            <ac:picMk id="10" creationId="{028F2BBD-9515-0945-81BC-19AE94A41C69}"/>
          </ac:picMkLst>
        </pc:picChg>
        <pc:picChg chg="add mod">
          <ac:chgData name="Yousuf, Arsalan" userId="1f742cd1-60f2-4cc5-8102-e09412e517e3" providerId="ADAL" clId="{15464559-230C-484E-9C98-D7B9D3FDBA96}" dt="2024-01-11T15:53:53.739" v="5248"/>
          <ac:picMkLst>
            <pc:docMk/>
            <pc:sldMk cId="3126853509" sldId="2147479588"/>
            <ac:picMk id="11" creationId="{1254CA5B-F453-CDBE-D502-C1FFE877BBDC}"/>
          </ac:picMkLst>
        </pc:picChg>
      </pc:sldChg>
      <pc:sldChg chg="addSp delSp modSp add mod">
        <pc:chgData name="Yousuf, Arsalan" userId="1f742cd1-60f2-4cc5-8102-e09412e517e3" providerId="ADAL" clId="{15464559-230C-484E-9C98-D7B9D3FDBA96}" dt="2024-01-11T16:02:12.142" v="5399" actId="167"/>
        <pc:sldMkLst>
          <pc:docMk/>
          <pc:sldMk cId="3586056481" sldId="2147479589"/>
        </pc:sldMkLst>
        <pc:spChg chg="add mod ord">
          <ac:chgData name="Yousuf, Arsalan" userId="1f742cd1-60f2-4cc5-8102-e09412e517e3" providerId="ADAL" clId="{15464559-230C-484E-9C98-D7B9D3FDBA96}" dt="2024-01-11T16:02:12.142" v="5399" actId="167"/>
          <ac:spMkLst>
            <pc:docMk/>
            <pc:sldMk cId="3586056481" sldId="2147479589"/>
            <ac:spMk id="2" creationId="{7390FE3C-98AD-B75C-06C1-1ECD168B4091}"/>
          </ac:spMkLst>
        </pc:spChg>
        <pc:spChg chg="del">
          <ac:chgData name="Yousuf, Arsalan" userId="1f742cd1-60f2-4cc5-8102-e09412e517e3" providerId="ADAL" clId="{15464559-230C-484E-9C98-D7B9D3FDBA96}" dt="2024-01-11T16:02:10.224" v="5397" actId="478"/>
          <ac:spMkLst>
            <pc:docMk/>
            <pc:sldMk cId="3586056481" sldId="2147479589"/>
            <ac:spMk id="10" creationId="{5EB1BF3B-E70B-DA2E-B5BE-13FD4AA548E8}"/>
          </ac:spMkLst>
        </pc:spChg>
      </pc:sldChg>
      <pc:sldChg chg="addSp delSp modSp add mod">
        <pc:chgData name="Yousuf, Arsalan" userId="1f742cd1-60f2-4cc5-8102-e09412e517e3" providerId="ADAL" clId="{15464559-230C-484E-9C98-D7B9D3FDBA96}" dt="2024-01-11T16:39:25.456" v="7702" actId="20577"/>
        <pc:sldMkLst>
          <pc:docMk/>
          <pc:sldMk cId="3532159580" sldId="2147479590"/>
        </pc:sldMkLst>
        <pc:spChg chg="add del mod">
          <ac:chgData name="Yousuf, Arsalan" userId="1f742cd1-60f2-4cc5-8102-e09412e517e3" providerId="ADAL" clId="{15464559-230C-484E-9C98-D7B9D3FDBA96}" dt="2024-01-11T16:00:19.428" v="5373"/>
          <ac:spMkLst>
            <pc:docMk/>
            <pc:sldMk cId="3532159580" sldId="2147479590"/>
            <ac:spMk id="2" creationId="{552D3E70-1282-82BE-E800-37DBEFD63A83}"/>
          </ac:spMkLst>
        </pc:spChg>
        <pc:spChg chg="add del mod">
          <ac:chgData name="Yousuf, Arsalan" userId="1f742cd1-60f2-4cc5-8102-e09412e517e3" providerId="ADAL" clId="{15464559-230C-484E-9C98-D7B9D3FDBA96}" dt="2024-01-11T16:00:19.428" v="5373"/>
          <ac:spMkLst>
            <pc:docMk/>
            <pc:sldMk cId="3532159580" sldId="2147479590"/>
            <ac:spMk id="3" creationId="{EFC3A8C1-D5F1-2863-29C7-9CA771730369}"/>
          </ac:spMkLst>
        </pc:spChg>
        <pc:spChg chg="add del mod">
          <ac:chgData name="Yousuf, Arsalan" userId="1f742cd1-60f2-4cc5-8102-e09412e517e3" providerId="ADAL" clId="{15464559-230C-484E-9C98-D7B9D3FDBA96}" dt="2024-01-11T16:00:19.428" v="5373"/>
          <ac:spMkLst>
            <pc:docMk/>
            <pc:sldMk cId="3532159580" sldId="2147479590"/>
            <ac:spMk id="5" creationId="{73A96BB4-3D9F-F383-A3B4-69038666F246}"/>
          </ac:spMkLst>
        </pc:spChg>
        <pc:spChg chg="add del mod">
          <ac:chgData name="Yousuf, Arsalan" userId="1f742cd1-60f2-4cc5-8102-e09412e517e3" providerId="ADAL" clId="{15464559-230C-484E-9C98-D7B9D3FDBA96}" dt="2024-01-11T16:00:19.428" v="5373"/>
          <ac:spMkLst>
            <pc:docMk/>
            <pc:sldMk cId="3532159580" sldId="2147479590"/>
            <ac:spMk id="6" creationId="{6046AF1A-9F0F-F04D-BDF6-738E53421046}"/>
          </ac:spMkLst>
        </pc:spChg>
        <pc:spChg chg="add del mod">
          <ac:chgData name="Yousuf, Arsalan" userId="1f742cd1-60f2-4cc5-8102-e09412e517e3" providerId="ADAL" clId="{15464559-230C-484E-9C98-D7B9D3FDBA96}" dt="2024-01-11T16:00:19.428" v="5373"/>
          <ac:spMkLst>
            <pc:docMk/>
            <pc:sldMk cId="3532159580" sldId="2147479590"/>
            <ac:spMk id="7" creationId="{3CDCAAE2-27AB-8323-C813-8DCD95DA825D}"/>
          </ac:spMkLst>
        </pc:spChg>
        <pc:spChg chg="add del mod">
          <ac:chgData name="Yousuf, Arsalan" userId="1f742cd1-60f2-4cc5-8102-e09412e517e3" providerId="ADAL" clId="{15464559-230C-484E-9C98-D7B9D3FDBA96}" dt="2024-01-11T16:00:19.428" v="5373"/>
          <ac:spMkLst>
            <pc:docMk/>
            <pc:sldMk cId="3532159580" sldId="2147479590"/>
            <ac:spMk id="8" creationId="{08EC3919-2244-F9D4-5042-0C1E91E57547}"/>
          </ac:spMkLst>
        </pc:spChg>
        <pc:spChg chg="add del mod">
          <ac:chgData name="Yousuf, Arsalan" userId="1f742cd1-60f2-4cc5-8102-e09412e517e3" providerId="ADAL" clId="{15464559-230C-484E-9C98-D7B9D3FDBA96}" dt="2024-01-11T16:00:19.428" v="5373"/>
          <ac:spMkLst>
            <pc:docMk/>
            <pc:sldMk cId="3532159580" sldId="2147479590"/>
            <ac:spMk id="9" creationId="{51DF3C8B-25FE-CD8C-82B3-04D39D3A4FD8}"/>
          </ac:spMkLst>
        </pc:spChg>
        <pc:spChg chg="add del mod">
          <ac:chgData name="Yousuf, Arsalan" userId="1f742cd1-60f2-4cc5-8102-e09412e517e3" providerId="ADAL" clId="{15464559-230C-484E-9C98-D7B9D3FDBA96}" dt="2024-01-11T16:00:19.428" v="5373"/>
          <ac:spMkLst>
            <pc:docMk/>
            <pc:sldMk cId="3532159580" sldId="2147479590"/>
            <ac:spMk id="10" creationId="{9C948446-7658-4511-DFEB-3B1E03058855}"/>
          </ac:spMkLst>
        </pc:spChg>
        <pc:spChg chg="add del mod">
          <ac:chgData name="Yousuf, Arsalan" userId="1f742cd1-60f2-4cc5-8102-e09412e517e3" providerId="ADAL" clId="{15464559-230C-484E-9C98-D7B9D3FDBA96}" dt="2024-01-11T16:00:19.428" v="5373"/>
          <ac:spMkLst>
            <pc:docMk/>
            <pc:sldMk cId="3532159580" sldId="2147479590"/>
            <ac:spMk id="11" creationId="{A0F9BE39-72BA-3E62-4358-DAED5D085551}"/>
          </ac:spMkLst>
        </pc:spChg>
        <pc:spChg chg="add del mod">
          <ac:chgData name="Yousuf, Arsalan" userId="1f742cd1-60f2-4cc5-8102-e09412e517e3" providerId="ADAL" clId="{15464559-230C-484E-9C98-D7B9D3FDBA96}" dt="2024-01-11T16:00:19.428" v="5373"/>
          <ac:spMkLst>
            <pc:docMk/>
            <pc:sldMk cId="3532159580" sldId="2147479590"/>
            <ac:spMk id="12" creationId="{52A5B2A8-0428-0073-0B4E-D20677C1280C}"/>
          </ac:spMkLst>
        </pc:spChg>
        <pc:spChg chg="add del mod">
          <ac:chgData name="Yousuf, Arsalan" userId="1f742cd1-60f2-4cc5-8102-e09412e517e3" providerId="ADAL" clId="{15464559-230C-484E-9C98-D7B9D3FDBA96}" dt="2024-01-11T16:00:19.428" v="5373"/>
          <ac:spMkLst>
            <pc:docMk/>
            <pc:sldMk cId="3532159580" sldId="2147479590"/>
            <ac:spMk id="13" creationId="{C3A8F514-2A8A-B7BD-5994-0E41C2F12573}"/>
          </ac:spMkLst>
        </pc:spChg>
        <pc:spChg chg="add del mod">
          <ac:chgData name="Yousuf, Arsalan" userId="1f742cd1-60f2-4cc5-8102-e09412e517e3" providerId="ADAL" clId="{15464559-230C-484E-9C98-D7B9D3FDBA96}" dt="2024-01-11T16:00:19.428" v="5373"/>
          <ac:spMkLst>
            <pc:docMk/>
            <pc:sldMk cId="3532159580" sldId="2147479590"/>
            <ac:spMk id="14" creationId="{1D3E1DD6-6237-9244-262E-37B973BC401A}"/>
          </ac:spMkLst>
        </pc:spChg>
        <pc:spChg chg="add del mod">
          <ac:chgData name="Yousuf, Arsalan" userId="1f742cd1-60f2-4cc5-8102-e09412e517e3" providerId="ADAL" clId="{15464559-230C-484E-9C98-D7B9D3FDBA96}" dt="2024-01-11T16:00:19.428" v="5373"/>
          <ac:spMkLst>
            <pc:docMk/>
            <pc:sldMk cId="3532159580" sldId="2147479590"/>
            <ac:spMk id="15" creationId="{BC13D8E3-0BCC-44DD-F377-5DE8FC8CEC76}"/>
          </ac:spMkLst>
        </pc:spChg>
        <pc:spChg chg="add del mod">
          <ac:chgData name="Yousuf, Arsalan" userId="1f742cd1-60f2-4cc5-8102-e09412e517e3" providerId="ADAL" clId="{15464559-230C-484E-9C98-D7B9D3FDBA96}" dt="2024-01-11T16:00:19.428" v="5373"/>
          <ac:spMkLst>
            <pc:docMk/>
            <pc:sldMk cId="3532159580" sldId="2147479590"/>
            <ac:spMk id="16" creationId="{21D58F4F-C49B-D9C6-FDAC-ABBE8868A30E}"/>
          </ac:spMkLst>
        </pc:spChg>
        <pc:spChg chg="add del mod">
          <ac:chgData name="Yousuf, Arsalan" userId="1f742cd1-60f2-4cc5-8102-e09412e517e3" providerId="ADAL" clId="{15464559-230C-484E-9C98-D7B9D3FDBA96}" dt="2024-01-11T16:00:19.428" v="5373"/>
          <ac:spMkLst>
            <pc:docMk/>
            <pc:sldMk cId="3532159580" sldId="2147479590"/>
            <ac:spMk id="17" creationId="{102016F3-DD1E-E2D5-757D-BC46CADB6860}"/>
          </ac:spMkLst>
        </pc:spChg>
        <pc:spChg chg="add del mod">
          <ac:chgData name="Yousuf, Arsalan" userId="1f742cd1-60f2-4cc5-8102-e09412e517e3" providerId="ADAL" clId="{15464559-230C-484E-9C98-D7B9D3FDBA96}" dt="2024-01-11T16:00:19.428" v="5373"/>
          <ac:spMkLst>
            <pc:docMk/>
            <pc:sldMk cId="3532159580" sldId="2147479590"/>
            <ac:spMk id="18" creationId="{EF347BAB-D9EA-63C8-6B80-1A3BC29D1D37}"/>
          </ac:spMkLst>
        </pc:spChg>
        <pc:spChg chg="add del mod">
          <ac:chgData name="Yousuf, Arsalan" userId="1f742cd1-60f2-4cc5-8102-e09412e517e3" providerId="ADAL" clId="{15464559-230C-484E-9C98-D7B9D3FDBA96}" dt="2024-01-11T16:00:19.428" v="5373"/>
          <ac:spMkLst>
            <pc:docMk/>
            <pc:sldMk cId="3532159580" sldId="2147479590"/>
            <ac:spMk id="20" creationId="{36A9D745-69CE-B2AA-27EA-74341ADD35CD}"/>
          </ac:spMkLst>
        </pc:spChg>
        <pc:spChg chg="add mod">
          <ac:chgData name="Yousuf, Arsalan" userId="1f742cd1-60f2-4cc5-8102-e09412e517e3" providerId="ADAL" clId="{15464559-230C-484E-9C98-D7B9D3FDBA96}" dt="2024-01-11T16:00:21.128" v="5374"/>
          <ac:spMkLst>
            <pc:docMk/>
            <pc:sldMk cId="3532159580" sldId="2147479590"/>
            <ac:spMk id="24" creationId="{677C65DE-C30B-9DA6-C78B-061365A63F8F}"/>
          </ac:spMkLst>
        </pc:spChg>
        <pc:spChg chg="add mod">
          <ac:chgData name="Yousuf, Arsalan" userId="1f742cd1-60f2-4cc5-8102-e09412e517e3" providerId="ADAL" clId="{15464559-230C-484E-9C98-D7B9D3FDBA96}" dt="2024-01-11T16:00:21.128" v="5374"/>
          <ac:spMkLst>
            <pc:docMk/>
            <pc:sldMk cId="3532159580" sldId="2147479590"/>
            <ac:spMk id="25" creationId="{BE8D01B8-5B52-9D5D-4910-2E8DD9F66726}"/>
          </ac:spMkLst>
        </pc:spChg>
        <pc:spChg chg="add mod">
          <ac:chgData name="Yousuf, Arsalan" userId="1f742cd1-60f2-4cc5-8102-e09412e517e3" providerId="ADAL" clId="{15464559-230C-484E-9C98-D7B9D3FDBA96}" dt="2024-01-11T16:00:21.128" v="5374"/>
          <ac:spMkLst>
            <pc:docMk/>
            <pc:sldMk cId="3532159580" sldId="2147479590"/>
            <ac:spMk id="26" creationId="{4B3BD8C8-C1EC-4D9D-EEA9-F4A66C714E00}"/>
          </ac:spMkLst>
        </pc:spChg>
        <pc:spChg chg="add mod">
          <ac:chgData name="Yousuf, Arsalan" userId="1f742cd1-60f2-4cc5-8102-e09412e517e3" providerId="ADAL" clId="{15464559-230C-484E-9C98-D7B9D3FDBA96}" dt="2024-01-11T16:00:21.128" v="5374"/>
          <ac:spMkLst>
            <pc:docMk/>
            <pc:sldMk cId="3532159580" sldId="2147479590"/>
            <ac:spMk id="27" creationId="{BE6A1D30-FD10-230A-2141-BA23690388FC}"/>
          </ac:spMkLst>
        </pc:spChg>
        <pc:spChg chg="add mod">
          <ac:chgData name="Yousuf, Arsalan" userId="1f742cd1-60f2-4cc5-8102-e09412e517e3" providerId="ADAL" clId="{15464559-230C-484E-9C98-D7B9D3FDBA96}" dt="2024-01-11T16:00:21.128" v="5374"/>
          <ac:spMkLst>
            <pc:docMk/>
            <pc:sldMk cId="3532159580" sldId="2147479590"/>
            <ac:spMk id="28" creationId="{EEAC084F-C1EF-DB61-773B-5F9DE2128479}"/>
          </ac:spMkLst>
        </pc:spChg>
        <pc:spChg chg="add mod">
          <ac:chgData name="Yousuf, Arsalan" userId="1f742cd1-60f2-4cc5-8102-e09412e517e3" providerId="ADAL" clId="{15464559-230C-484E-9C98-D7B9D3FDBA96}" dt="2024-01-11T16:00:21.128" v="5374"/>
          <ac:spMkLst>
            <pc:docMk/>
            <pc:sldMk cId="3532159580" sldId="2147479590"/>
            <ac:spMk id="29" creationId="{8C6D5F10-FFA2-3D02-CB57-6DC26EB59713}"/>
          </ac:spMkLst>
        </pc:spChg>
        <pc:spChg chg="add mod">
          <ac:chgData name="Yousuf, Arsalan" userId="1f742cd1-60f2-4cc5-8102-e09412e517e3" providerId="ADAL" clId="{15464559-230C-484E-9C98-D7B9D3FDBA96}" dt="2024-01-11T16:00:21.128" v="5374"/>
          <ac:spMkLst>
            <pc:docMk/>
            <pc:sldMk cId="3532159580" sldId="2147479590"/>
            <ac:spMk id="30" creationId="{DAA3CBAE-9924-2DFF-47FF-09B173062143}"/>
          </ac:spMkLst>
        </pc:spChg>
        <pc:spChg chg="add mod">
          <ac:chgData name="Yousuf, Arsalan" userId="1f742cd1-60f2-4cc5-8102-e09412e517e3" providerId="ADAL" clId="{15464559-230C-484E-9C98-D7B9D3FDBA96}" dt="2024-01-11T16:00:21.128" v="5374"/>
          <ac:spMkLst>
            <pc:docMk/>
            <pc:sldMk cId="3532159580" sldId="2147479590"/>
            <ac:spMk id="31" creationId="{39EE8E6B-721D-8857-9249-A231F03ED068}"/>
          </ac:spMkLst>
        </pc:spChg>
        <pc:spChg chg="add mod">
          <ac:chgData name="Yousuf, Arsalan" userId="1f742cd1-60f2-4cc5-8102-e09412e517e3" providerId="ADAL" clId="{15464559-230C-484E-9C98-D7B9D3FDBA96}" dt="2024-01-11T16:00:21.128" v="5374"/>
          <ac:spMkLst>
            <pc:docMk/>
            <pc:sldMk cId="3532159580" sldId="2147479590"/>
            <ac:spMk id="32" creationId="{7F3E69D0-E511-672E-FDC9-BEFABF5C56EA}"/>
          </ac:spMkLst>
        </pc:spChg>
        <pc:spChg chg="add mod">
          <ac:chgData name="Yousuf, Arsalan" userId="1f742cd1-60f2-4cc5-8102-e09412e517e3" providerId="ADAL" clId="{15464559-230C-484E-9C98-D7B9D3FDBA96}" dt="2024-01-11T16:00:21.128" v="5374"/>
          <ac:spMkLst>
            <pc:docMk/>
            <pc:sldMk cId="3532159580" sldId="2147479590"/>
            <ac:spMk id="33" creationId="{8E91060A-CFA2-BC82-2344-DECA47540953}"/>
          </ac:spMkLst>
        </pc:spChg>
        <pc:spChg chg="add mod">
          <ac:chgData name="Yousuf, Arsalan" userId="1f742cd1-60f2-4cc5-8102-e09412e517e3" providerId="ADAL" clId="{15464559-230C-484E-9C98-D7B9D3FDBA96}" dt="2024-01-11T16:39:25.456" v="7702" actId="20577"/>
          <ac:spMkLst>
            <pc:docMk/>
            <pc:sldMk cId="3532159580" sldId="2147479590"/>
            <ac:spMk id="34" creationId="{6DC95321-8EC4-3D24-A5AE-CDF1B8CBE615}"/>
          </ac:spMkLst>
        </pc:spChg>
        <pc:spChg chg="add mod">
          <ac:chgData name="Yousuf, Arsalan" userId="1f742cd1-60f2-4cc5-8102-e09412e517e3" providerId="ADAL" clId="{15464559-230C-484E-9C98-D7B9D3FDBA96}" dt="2024-01-11T16:00:21.128" v="5374"/>
          <ac:spMkLst>
            <pc:docMk/>
            <pc:sldMk cId="3532159580" sldId="2147479590"/>
            <ac:spMk id="35" creationId="{A63E5BD3-BC1B-3758-54A5-EE948D341774}"/>
          </ac:spMkLst>
        </pc:spChg>
        <pc:spChg chg="add mod">
          <ac:chgData name="Yousuf, Arsalan" userId="1f742cd1-60f2-4cc5-8102-e09412e517e3" providerId="ADAL" clId="{15464559-230C-484E-9C98-D7B9D3FDBA96}" dt="2024-01-11T16:00:21.128" v="5374"/>
          <ac:spMkLst>
            <pc:docMk/>
            <pc:sldMk cId="3532159580" sldId="2147479590"/>
            <ac:spMk id="36" creationId="{D4DCCA1A-FF65-EB29-E239-827232137842}"/>
          </ac:spMkLst>
        </pc:spChg>
        <pc:spChg chg="add mod">
          <ac:chgData name="Yousuf, Arsalan" userId="1f742cd1-60f2-4cc5-8102-e09412e517e3" providerId="ADAL" clId="{15464559-230C-484E-9C98-D7B9D3FDBA96}" dt="2024-01-11T16:00:21.128" v="5374"/>
          <ac:spMkLst>
            <pc:docMk/>
            <pc:sldMk cId="3532159580" sldId="2147479590"/>
            <ac:spMk id="37" creationId="{DAD09E05-5E91-E695-F68C-91B8FA76473A}"/>
          </ac:spMkLst>
        </pc:spChg>
        <pc:spChg chg="add mod">
          <ac:chgData name="Yousuf, Arsalan" userId="1f742cd1-60f2-4cc5-8102-e09412e517e3" providerId="ADAL" clId="{15464559-230C-484E-9C98-D7B9D3FDBA96}" dt="2024-01-11T16:00:21.128" v="5374"/>
          <ac:spMkLst>
            <pc:docMk/>
            <pc:sldMk cId="3532159580" sldId="2147479590"/>
            <ac:spMk id="38" creationId="{76D93EE4-92F2-975D-996F-E5E495B52F9E}"/>
          </ac:spMkLst>
        </pc:spChg>
        <pc:spChg chg="add mod">
          <ac:chgData name="Yousuf, Arsalan" userId="1f742cd1-60f2-4cc5-8102-e09412e517e3" providerId="ADAL" clId="{15464559-230C-484E-9C98-D7B9D3FDBA96}" dt="2024-01-11T16:00:21.128" v="5374"/>
          <ac:spMkLst>
            <pc:docMk/>
            <pc:sldMk cId="3532159580" sldId="2147479590"/>
            <ac:spMk id="39" creationId="{7F19A37B-987D-8C09-5740-4E343F5C9FF8}"/>
          </ac:spMkLst>
        </pc:spChg>
        <pc:spChg chg="add mod">
          <ac:chgData name="Yousuf, Arsalan" userId="1f742cd1-60f2-4cc5-8102-e09412e517e3" providerId="ADAL" clId="{15464559-230C-484E-9C98-D7B9D3FDBA96}" dt="2024-01-11T16:00:21.128" v="5374"/>
          <ac:spMkLst>
            <pc:docMk/>
            <pc:sldMk cId="3532159580" sldId="2147479590"/>
            <ac:spMk id="41" creationId="{240777AB-D8F2-AB77-C6F7-ED5B0BEFE711}"/>
          </ac:spMkLst>
        </pc:spChg>
        <pc:picChg chg="add del mod">
          <ac:chgData name="Yousuf, Arsalan" userId="1f742cd1-60f2-4cc5-8102-e09412e517e3" providerId="ADAL" clId="{15464559-230C-484E-9C98-D7B9D3FDBA96}" dt="2024-01-11T16:00:19.428" v="5373"/>
          <ac:picMkLst>
            <pc:docMk/>
            <pc:sldMk cId="3532159580" sldId="2147479590"/>
            <ac:picMk id="19" creationId="{1A271FF7-7E6B-D8FE-0098-9A63884D531D}"/>
          </ac:picMkLst>
        </pc:picChg>
        <pc:picChg chg="add del mod">
          <ac:chgData name="Yousuf, Arsalan" userId="1f742cd1-60f2-4cc5-8102-e09412e517e3" providerId="ADAL" clId="{15464559-230C-484E-9C98-D7B9D3FDBA96}" dt="2024-01-11T16:00:19.428" v="5373"/>
          <ac:picMkLst>
            <pc:docMk/>
            <pc:sldMk cId="3532159580" sldId="2147479590"/>
            <ac:picMk id="21" creationId="{CAFC5812-663F-9BF6-78C1-ED101C3AD14B}"/>
          </ac:picMkLst>
        </pc:picChg>
        <pc:picChg chg="add del mod">
          <ac:chgData name="Yousuf, Arsalan" userId="1f742cd1-60f2-4cc5-8102-e09412e517e3" providerId="ADAL" clId="{15464559-230C-484E-9C98-D7B9D3FDBA96}" dt="2024-01-11T16:00:19.428" v="5373"/>
          <ac:picMkLst>
            <pc:docMk/>
            <pc:sldMk cId="3532159580" sldId="2147479590"/>
            <ac:picMk id="22" creationId="{88B797F2-90A3-19D8-4C38-621B09AD99AE}"/>
          </ac:picMkLst>
        </pc:picChg>
        <pc:picChg chg="add del mod">
          <ac:chgData name="Yousuf, Arsalan" userId="1f742cd1-60f2-4cc5-8102-e09412e517e3" providerId="ADAL" clId="{15464559-230C-484E-9C98-D7B9D3FDBA96}" dt="2024-01-11T16:00:19.428" v="5373"/>
          <ac:picMkLst>
            <pc:docMk/>
            <pc:sldMk cId="3532159580" sldId="2147479590"/>
            <ac:picMk id="23" creationId="{4F3532ED-88B6-A805-26B7-12D8DA02D605}"/>
          </ac:picMkLst>
        </pc:picChg>
        <pc:picChg chg="add mod">
          <ac:chgData name="Yousuf, Arsalan" userId="1f742cd1-60f2-4cc5-8102-e09412e517e3" providerId="ADAL" clId="{15464559-230C-484E-9C98-D7B9D3FDBA96}" dt="2024-01-11T16:00:21.128" v="5374"/>
          <ac:picMkLst>
            <pc:docMk/>
            <pc:sldMk cId="3532159580" sldId="2147479590"/>
            <ac:picMk id="40" creationId="{3D5A0423-C26B-ECE0-E93B-FD05BC320E08}"/>
          </ac:picMkLst>
        </pc:picChg>
        <pc:picChg chg="add mod">
          <ac:chgData name="Yousuf, Arsalan" userId="1f742cd1-60f2-4cc5-8102-e09412e517e3" providerId="ADAL" clId="{15464559-230C-484E-9C98-D7B9D3FDBA96}" dt="2024-01-11T16:00:21.128" v="5374"/>
          <ac:picMkLst>
            <pc:docMk/>
            <pc:sldMk cId="3532159580" sldId="2147479590"/>
            <ac:picMk id="42" creationId="{D6DBECA4-149E-9CEF-A20D-13C01D17DFC5}"/>
          </ac:picMkLst>
        </pc:picChg>
        <pc:picChg chg="add mod">
          <ac:chgData name="Yousuf, Arsalan" userId="1f742cd1-60f2-4cc5-8102-e09412e517e3" providerId="ADAL" clId="{15464559-230C-484E-9C98-D7B9D3FDBA96}" dt="2024-01-11T16:00:21.128" v="5374"/>
          <ac:picMkLst>
            <pc:docMk/>
            <pc:sldMk cId="3532159580" sldId="2147479590"/>
            <ac:picMk id="43" creationId="{AD5D0C2A-33B8-D2AC-CD8F-2AE91670AD4B}"/>
          </ac:picMkLst>
        </pc:picChg>
        <pc:picChg chg="add mod">
          <ac:chgData name="Yousuf, Arsalan" userId="1f742cd1-60f2-4cc5-8102-e09412e517e3" providerId="ADAL" clId="{15464559-230C-484E-9C98-D7B9D3FDBA96}" dt="2024-01-11T16:00:21.128" v="5374"/>
          <ac:picMkLst>
            <pc:docMk/>
            <pc:sldMk cId="3532159580" sldId="2147479590"/>
            <ac:picMk id="44" creationId="{15190B16-ABE8-4E0C-340D-06540B1BA9A4}"/>
          </ac:picMkLst>
        </pc:picChg>
      </pc:sldChg>
      <pc:sldChg chg="addSp modSp add">
        <pc:chgData name="Yousuf, Arsalan" userId="1f742cd1-60f2-4cc5-8102-e09412e517e3" providerId="ADAL" clId="{15464559-230C-484E-9C98-D7B9D3FDBA96}" dt="2024-01-11T16:00:29.017" v="5375"/>
        <pc:sldMkLst>
          <pc:docMk/>
          <pc:sldMk cId="2031927291" sldId="2147479591"/>
        </pc:sldMkLst>
        <pc:spChg chg="mod">
          <ac:chgData name="Yousuf, Arsalan" userId="1f742cd1-60f2-4cc5-8102-e09412e517e3" providerId="ADAL" clId="{15464559-230C-484E-9C98-D7B9D3FDBA96}" dt="2024-01-11T16:00:29.017" v="5375"/>
          <ac:spMkLst>
            <pc:docMk/>
            <pc:sldMk cId="2031927291" sldId="2147479591"/>
            <ac:spMk id="3" creationId="{A0ECFDC8-AA5A-BE03-EAE7-8C51F556FFCB}"/>
          </ac:spMkLst>
        </pc:spChg>
        <pc:spChg chg="mod">
          <ac:chgData name="Yousuf, Arsalan" userId="1f742cd1-60f2-4cc5-8102-e09412e517e3" providerId="ADAL" clId="{15464559-230C-484E-9C98-D7B9D3FDBA96}" dt="2024-01-11T16:00:29.017" v="5375"/>
          <ac:spMkLst>
            <pc:docMk/>
            <pc:sldMk cId="2031927291" sldId="2147479591"/>
            <ac:spMk id="5" creationId="{BBA0C4D1-D069-FCFB-38EE-811C7453BB3F}"/>
          </ac:spMkLst>
        </pc:spChg>
        <pc:spChg chg="mod">
          <ac:chgData name="Yousuf, Arsalan" userId="1f742cd1-60f2-4cc5-8102-e09412e517e3" providerId="ADAL" clId="{15464559-230C-484E-9C98-D7B9D3FDBA96}" dt="2024-01-11T16:00:29.017" v="5375"/>
          <ac:spMkLst>
            <pc:docMk/>
            <pc:sldMk cId="2031927291" sldId="2147479591"/>
            <ac:spMk id="6" creationId="{4B460955-9678-D83D-02D3-8E0385616810}"/>
          </ac:spMkLst>
        </pc:spChg>
        <pc:spChg chg="mod">
          <ac:chgData name="Yousuf, Arsalan" userId="1f742cd1-60f2-4cc5-8102-e09412e517e3" providerId="ADAL" clId="{15464559-230C-484E-9C98-D7B9D3FDBA96}" dt="2024-01-11T16:00:29.017" v="5375"/>
          <ac:spMkLst>
            <pc:docMk/>
            <pc:sldMk cId="2031927291" sldId="2147479591"/>
            <ac:spMk id="7" creationId="{13957BBC-A79D-466E-14B5-F01923F4FB33}"/>
          </ac:spMkLst>
        </pc:spChg>
        <pc:spChg chg="mod">
          <ac:chgData name="Yousuf, Arsalan" userId="1f742cd1-60f2-4cc5-8102-e09412e517e3" providerId="ADAL" clId="{15464559-230C-484E-9C98-D7B9D3FDBA96}" dt="2024-01-11T16:00:29.017" v="5375"/>
          <ac:spMkLst>
            <pc:docMk/>
            <pc:sldMk cId="2031927291" sldId="2147479591"/>
            <ac:spMk id="8" creationId="{BDF3D7D8-B367-CC0E-57D2-C6F2E7D036A4}"/>
          </ac:spMkLst>
        </pc:spChg>
        <pc:spChg chg="mod">
          <ac:chgData name="Yousuf, Arsalan" userId="1f742cd1-60f2-4cc5-8102-e09412e517e3" providerId="ADAL" clId="{15464559-230C-484E-9C98-D7B9D3FDBA96}" dt="2024-01-11T16:00:29.017" v="5375"/>
          <ac:spMkLst>
            <pc:docMk/>
            <pc:sldMk cId="2031927291" sldId="2147479591"/>
            <ac:spMk id="9" creationId="{5971B309-3A0A-89BC-0FBD-DF43916A6A98}"/>
          </ac:spMkLst>
        </pc:spChg>
        <pc:spChg chg="mod">
          <ac:chgData name="Yousuf, Arsalan" userId="1f742cd1-60f2-4cc5-8102-e09412e517e3" providerId="ADAL" clId="{15464559-230C-484E-9C98-D7B9D3FDBA96}" dt="2024-01-11T16:00:29.017" v="5375"/>
          <ac:spMkLst>
            <pc:docMk/>
            <pc:sldMk cId="2031927291" sldId="2147479591"/>
            <ac:spMk id="10" creationId="{354F160C-7BBA-DA84-1B0A-29B978BD147F}"/>
          </ac:spMkLst>
        </pc:spChg>
        <pc:spChg chg="mod">
          <ac:chgData name="Yousuf, Arsalan" userId="1f742cd1-60f2-4cc5-8102-e09412e517e3" providerId="ADAL" clId="{15464559-230C-484E-9C98-D7B9D3FDBA96}" dt="2024-01-11T16:00:29.017" v="5375"/>
          <ac:spMkLst>
            <pc:docMk/>
            <pc:sldMk cId="2031927291" sldId="2147479591"/>
            <ac:spMk id="11" creationId="{12714488-0A12-6C47-FA63-211528727A8F}"/>
          </ac:spMkLst>
        </pc:spChg>
        <pc:spChg chg="mod">
          <ac:chgData name="Yousuf, Arsalan" userId="1f742cd1-60f2-4cc5-8102-e09412e517e3" providerId="ADAL" clId="{15464559-230C-484E-9C98-D7B9D3FDBA96}" dt="2024-01-11T16:00:29.017" v="5375"/>
          <ac:spMkLst>
            <pc:docMk/>
            <pc:sldMk cId="2031927291" sldId="2147479591"/>
            <ac:spMk id="12" creationId="{CEA6AC4C-2AFF-962A-887C-6C09A9E640D4}"/>
          </ac:spMkLst>
        </pc:spChg>
        <pc:spChg chg="mod">
          <ac:chgData name="Yousuf, Arsalan" userId="1f742cd1-60f2-4cc5-8102-e09412e517e3" providerId="ADAL" clId="{15464559-230C-484E-9C98-D7B9D3FDBA96}" dt="2024-01-11T16:00:29.017" v="5375"/>
          <ac:spMkLst>
            <pc:docMk/>
            <pc:sldMk cId="2031927291" sldId="2147479591"/>
            <ac:spMk id="13" creationId="{B2B3F35A-79CE-46CD-46CD-C60371BA74EC}"/>
          </ac:spMkLst>
        </pc:spChg>
        <pc:spChg chg="mod">
          <ac:chgData name="Yousuf, Arsalan" userId="1f742cd1-60f2-4cc5-8102-e09412e517e3" providerId="ADAL" clId="{15464559-230C-484E-9C98-D7B9D3FDBA96}" dt="2024-01-11T16:00:29.017" v="5375"/>
          <ac:spMkLst>
            <pc:docMk/>
            <pc:sldMk cId="2031927291" sldId="2147479591"/>
            <ac:spMk id="14" creationId="{2A12C066-194E-DFDB-D7E1-BCE70FD18D93}"/>
          </ac:spMkLst>
        </pc:spChg>
        <pc:spChg chg="mod">
          <ac:chgData name="Yousuf, Arsalan" userId="1f742cd1-60f2-4cc5-8102-e09412e517e3" providerId="ADAL" clId="{15464559-230C-484E-9C98-D7B9D3FDBA96}" dt="2024-01-11T16:00:29.017" v="5375"/>
          <ac:spMkLst>
            <pc:docMk/>
            <pc:sldMk cId="2031927291" sldId="2147479591"/>
            <ac:spMk id="15" creationId="{D68B433D-C235-2DF3-E2DA-0E96FCEA73AF}"/>
          </ac:spMkLst>
        </pc:spChg>
        <pc:spChg chg="mod">
          <ac:chgData name="Yousuf, Arsalan" userId="1f742cd1-60f2-4cc5-8102-e09412e517e3" providerId="ADAL" clId="{15464559-230C-484E-9C98-D7B9D3FDBA96}" dt="2024-01-11T16:00:29.017" v="5375"/>
          <ac:spMkLst>
            <pc:docMk/>
            <pc:sldMk cId="2031927291" sldId="2147479591"/>
            <ac:spMk id="17" creationId="{18B2E842-36C0-700E-8D9F-F63F52B6119D}"/>
          </ac:spMkLst>
        </pc:spChg>
        <pc:spChg chg="mod">
          <ac:chgData name="Yousuf, Arsalan" userId="1f742cd1-60f2-4cc5-8102-e09412e517e3" providerId="ADAL" clId="{15464559-230C-484E-9C98-D7B9D3FDBA96}" dt="2024-01-11T16:00:29.017" v="5375"/>
          <ac:spMkLst>
            <pc:docMk/>
            <pc:sldMk cId="2031927291" sldId="2147479591"/>
            <ac:spMk id="18" creationId="{3F5E07FE-6C83-73A3-DE37-C500CEBB990C}"/>
          </ac:spMkLst>
        </pc:spChg>
        <pc:spChg chg="mod">
          <ac:chgData name="Yousuf, Arsalan" userId="1f742cd1-60f2-4cc5-8102-e09412e517e3" providerId="ADAL" clId="{15464559-230C-484E-9C98-D7B9D3FDBA96}" dt="2024-01-11T16:00:29.017" v="5375"/>
          <ac:spMkLst>
            <pc:docMk/>
            <pc:sldMk cId="2031927291" sldId="2147479591"/>
            <ac:spMk id="19" creationId="{6D2BE2BA-D7C5-F319-651A-C619D056F97F}"/>
          </ac:spMkLst>
        </pc:spChg>
        <pc:spChg chg="mod">
          <ac:chgData name="Yousuf, Arsalan" userId="1f742cd1-60f2-4cc5-8102-e09412e517e3" providerId="ADAL" clId="{15464559-230C-484E-9C98-D7B9D3FDBA96}" dt="2024-01-11T16:00:29.017" v="5375"/>
          <ac:spMkLst>
            <pc:docMk/>
            <pc:sldMk cId="2031927291" sldId="2147479591"/>
            <ac:spMk id="20" creationId="{0772BBEB-2311-D2F6-FA8D-2E3795E6205D}"/>
          </ac:spMkLst>
        </pc:spChg>
        <pc:spChg chg="mod">
          <ac:chgData name="Yousuf, Arsalan" userId="1f742cd1-60f2-4cc5-8102-e09412e517e3" providerId="ADAL" clId="{15464559-230C-484E-9C98-D7B9D3FDBA96}" dt="2024-01-11T16:00:29.017" v="5375"/>
          <ac:spMkLst>
            <pc:docMk/>
            <pc:sldMk cId="2031927291" sldId="2147479591"/>
            <ac:spMk id="23" creationId="{471CEC41-2E8D-5D32-A927-864014F0C5C3}"/>
          </ac:spMkLst>
        </pc:spChg>
        <pc:grpChg chg="add mod">
          <ac:chgData name="Yousuf, Arsalan" userId="1f742cd1-60f2-4cc5-8102-e09412e517e3" providerId="ADAL" clId="{15464559-230C-484E-9C98-D7B9D3FDBA96}" dt="2024-01-11T16:00:29.017" v="5375"/>
          <ac:grpSpMkLst>
            <pc:docMk/>
            <pc:sldMk cId="2031927291" sldId="2147479591"/>
            <ac:grpSpMk id="2" creationId="{47DEB2E1-89FD-9C88-30FF-94510D1BE98B}"/>
          </ac:grpSpMkLst>
        </pc:grpChg>
        <pc:picChg chg="mod">
          <ac:chgData name="Yousuf, Arsalan" userId="1f742cd1-60f2-4cc5-8102-e09412e517e3" providerId="ADAL" clId="{15464559-230C-484E-9C98-D7B9D3FDBA96}" dt="2024-01-11T16:00:29.017" v="5375"/>
          <ac:picMkLst>
            <pc:docMk/>
            <pc:sldMk cId="2031927291" sldId="2147479591"/>
            <ac:picMk id="16" creationId="{F86280AC-DB3C-C780-81C0-967F443B42DA}"/>
          </ac:picMkLst>
        </pc:picChg>
        <pc:picChg chg="mod">
          <ac:chgData name="Yousuf, Arsalan" userId="1f742cd1-60f2-4cc5-8102-e09412e517e3" providerId="ADAL" clId="{15464559-230C-484E-9C98-D7B9D3FDBA96}" dt="2024-01-11T16:00:29.017" v="5375"/>
          <ac:picMkLst>
            <pc:docMk/>
            <pc:sldMk cId="2031927291" sldId="2147479591"/>
            <ac:picMk id="21" creationId="{C3B492FA-4BA3-2941-8003-FB85C426364C}"/>
          </ac:picMkLst>
        </pc:picChg>
        <pc:picChg chg="mod">
          <ac:chgData name="Yousuf, Arsalan" userId="1f742cd1-60f2-4cc5-8102-e09412e517e3" providerId="ADAL" clId="{15464559-230C-484E-9C98-D7B9D3FDBA96}" dt="2024-01-11T16:00:29.017" v="5375"/>
          <ac:picMkLst>
            <pc:docMk/>
            <pc:sldMk cId="2031927291" sldId="2147479591"/>
            <ac:picMk id="22" creationId="{EF5D055D-F6BC-DF4E-D603-A53893F99D1C}"/>
          </ac:picMkLst>
        </pc:picChg>
        <pc:picChg chg="mod">
          <ac:chgData name="Yousuf, Arsalan" userId="1f742cd1-60f2-4cc5-8102-e09412e517e3" providerId="ADAL" clId="{15464559-230C-484E-9C98-D7B9D3FDBA96}" dt="2024-01-11T16:00:29.017" v="5375"/>
          <ac:picMkLst>
            <pc:docMk/>
            <pc:sldMk cId="2031927291" sldId="2147479591"/>
            <ac:picMk id="24" creationId="{36A5603D-F04E-4E33-7948-C99B121D844F}"/>
          </ac:picMkLst>
        </pc:picChg>
      </pc:sldChg>
      <pc:sldChg chg="addSp modSp add">
        <pc:chgData name="Yousuf, Arsalan" userId="1f742cd1-60f2-4cc5-8102-e09412e517e3" providerId="ADAL" clId="{15464559-230C-484E-9C98-D7B9D3FDBA96}" dt="2024-01-11T16:00:36.671" v="5376"/>
        <pc:sldMkLst>
          <pc:docMk/>
          <pc:sldMk cId="4103249026" sldId="2147479592"/>
        </pc:sldMkLst>
        <pc:spChg chg="mod">
          <ac:chgData name="Yousuf, Arsalan" userId="1f742cd1-60f2-4cc5-8102-e09412e517e3" providerId="ADAL" clId="{15464559-230C-484E-9C98-D7B9D3FDBA96}" dt="2024-01-11T16:00:36.671" v="5376"/>
          <ac:spMkLst>
            <pc:docMk/>
            <pc:sldMk cId="4103249026" sldId="2147479592"/>
            <ac:spMk id="3" creationId="{BEBC7596-A396-E151-F021-AD198B08E0F8}"/>
          </ac:spMkLst>
        </pc:spChg>
        <pc:spChg chg="mod">
          <ac:chgData name="Yousuf, Arsalan" userId="1f742cd1-60f2-4cc5-8102-e09412e517e3" providerId="ADAL" clId="{15464559-230C-484E-9C98-D7B9D3FDBA96}" dt="2024-01-11T16:00:36.671" v="5376"/>
          <ac:spMkLst>
            <pc:docMk/>
            <pc:sldMk cId="4103249026" sldId="2147479592"/>
            <ac:spMk id="5" creationId="{6489CE2D-CBEF-69E5-FBD8-094D4C4C40FB}"/>
          </ac:spMkLst>
        </pc:spChg>
        <pc:spChg chg="mod">
          <ac:chgData name="Yousuf, Arsalan" userId="1f742cd1-60f2-4cc5-8102-e09412e517e3" providerId="ADAL" clId="{15464559-230C-484E-9C98-D7B9D3FDBA96}" dt="2024-01-11T16:00:36.671" v="5376"/>
          <ac:spMkLst>
            <pc:docMk/>
            <pc:sldMk cId="4103249026" sldId="2147479592"/>
            <ac:spMk id="6" creationId="{13B9EE71-598A-A9E9-88B3-625858194361}"/>
          </ac:spMkLst>
        </pc:spChg>
        <pc:spChg chg="mod">
          <ac:chgData name="Yousuf, Arsalan" userId="1f742cd1-60f2-4cc5-8102-e09412e517e3" providerId="ADAL" clId="{15464559-230C-484E-9C98-D7B9D3FDBA96}" dt="2024-01-11T16:00:36.671" v="5376"/>
          <ac:spMkLst>
            <pc:docMk/>
            <pc:sldMk cId="4103249026" sldId="2147479592"/>
            <ac:spMk id="7" creationId="{466F3C87-229B-950A-DD65-4562A89E2007}"/>
          </ac:spMkLst>
        </pc:spChg>
        <pc:spChg chg="mod">
          <ac:chgData name="Yousuf, Arsalan" userId="1f742cd1-60f2-4cc5-8102-e09412e517e3" providerId="ADAL" clId="{15464559-230C-484E-9C98-D7B9D3FDBA96}" dt="2024-01-11T16:00:36.671" v="5376"/>
          <ac:spMkLst>
            <pc:docMk/>
            <pc:sldMk cId="4103249026" sldId="2147479592"/>
            <ac:spMk id="8" creationId="{4BB5E284-E085-E6A8-41E3-B2392C426776}"/>
          </ac:spMkLst>
        </pc:spChg>
        <pc:spChg chg="mod">
          <ac:chgData name="Yousuf, Arsalan" userId="1f742cd1-60f2-4cc5-8102-e09412e517e3" providerId="ADAL" clId="{15464559-230C-484E-9C98-D7B9D3FDBA96}" dt="2024-01-11T16:00:36.671" v="5376"/>
          <ac:spMkLst>
            <pc:docMk/>
            <pc:sldMk cId="4103249026" sldId="2147479592"/>
            <ac:spMk id="9" creationId="{3427F095-F38A-7733-D712-80A8082C7947}"/>
          </ac:spMkLst>
        </pc:spChg>
        <pc:spChg chg="mod">
          <ac:chgData name="Yousuf, Arsalan" userId="1f742cd1-60f2-4cc5-8102-e09412e517e3" providerId="ADAL" clId="{15464559-230C-484E-9C98-D7B9D3FDBA96}" dt="2024-01-11T16:00:36.671" v="5376"/>
          <ac:spMkLst>
            <pc:docMk/>
            <pc:sldMk cId="4103249026" sldId="2147479592"/>
            <ac:spMk id="10" creationId="{A3F7F35E-E077-711F-5D2D-CCFE106A83F0}"/>
          </ac:spMkLst>
        </pc:spChg>
        <pc:spChg chg="mod">
          <ac:chgData name="Yousuf, Arsalan" userId="1f742cd1-60f2-4cc5-8102-e09412e517e3" providerId="ADAL" clId="{15464559-230C-484E-9C98-D7B9D3FDBA96}" dt="2024-01-11T16:00:36.671" v="5376"/>
          <ac:spMkLst>
            <pc:docMk/>
            <pc:sldMk cId="4103249026" sldId="2147479592"/>
            <ac:spMk id="11" creationId="{13024FA0-18E9-BF83-F29B-DA79E5BB7CE9}"/>
          </ac:spMkLst>
        </pc:spChg>
        <pc:spChg chg="mod">
          <ac:chgData name="Yousuf, Arsalan" userId="1f742cd1-60f2-4cc5-8102-e09412e517e3" providerId="ADAL" clId="{15464559-230C-484E-9C98-D7B9D3FDBA96}" dt="2024-01-11T16:00:36.671" v="5376"/>
          <ac:spMkLst>
            <pc:docMk/>
            <pc:sldMk cId="4103249026" sldId="2147479592"/>
            <ac:spMk id="12" creationId="{171D3DE7-BC6B-1EB5-822F-B88B7D08CCE6}"/>
          </ac:spMkLst>
        </pc:spChg>
        <pc:spChg chg="mod">
          <ac:chgData name="Yousuf, Arsalan" userId="1f742cd1-60f2-4cc5-8102-e09412e517e3" providerId="ADAL" clId="{15464559-230C-484E-9C98-D7B9D3FDBA96}" dt="2024-01-11T16:00:36.671" v="5376"/>
          <ac:spMkLst>
            <pc:docMk/>
            <pc:sldMk cId="4103249026" sldId="2147479592"/>
            <ac:spMk id="13" creationId="{BDAF9D59-7593-0B89-9F2C-52D1B0FD5791}"/>
          </ac:spMkLst>
        </pc:spChg>
        <pc:spChg chg="mod">
          <ac:chgData name="Yousuf, Arsalan" userId="1f742cd1-60f2-4cc5-8102-e09412e517e3" providerId="ADAL" clId="{15464559-230C-484E-9C98-D7B9D3FDBA96}" dt="2024-01-11T16:00:36.671" v="5376"/>
          <ac:spMkLst>
            <pc:docMk/>
            <pc:sldMk cId="4103249026" sldId="2147479592"/>
            <ac:spMk id="14" creationId="{6121B622-FB87-7B9C-6A81-B1646A26A0AD}"/>
          </ac:spMkLst>
        </pc:spChg>
        <pc:spChg chg="mod">
          <ac:chgData name="Yousuf, Arsalan" userId="1f742cd1-60f2-4cc5-8102-e09412e517e3" providerId="ADAL" clId="{15464559-230C-484E-9C98-D7B9D3FDBA96}" dt="2024-01-11T16:00:36.671" v="5376"/>
          <ac:spMkLst>
            <pc:docMk/>
            <pc:sldMk cId="4103249026" sldId="2147479592"/>
            <ac:spMk id="15" creationId="{419500AF-9F20-D092-017C-4A1B0B61966F}"/>
          </ac:spMkLst>
        </pc:spChg>
        <pc:spChg chg="mod">
          <ac:chgData name="Yousuf, Arsalan" userId="1f742cd1-60f2-4cc5-8102-e09412e517e3" providerId="ADAL" clId="{15464559-230C-484E-9C98-D7B9D3FDBA96}" dt="2024-01-11T16:00:36.671" v="5376"/>
          <ac:spMkLst>
            <pc:docMk/>
            <pc:sldMk cId="4103249026" sldId="2147479592"/>
            <ac:spMk id="16" creationId="{51A42482-304C-AE8B-3C9C-00E27E8207C9}"/>
          </ac:spMkLst>
        </pc:spChg>
        <pc:spChg chg="mod">
          <ac:chgData name="Yousuf, Arsalan" userId="1f742cd1-60f2-4cc5-8102-e09412e517e3" providerId="ADAL" clId="{15464559-230C-484E-9C98-D7B9D3FDBA96}" dt="2024-01-11T16:00:36.671" v="5376"/>
          <ac:spMkLst>
            <pc:docMk/>
            <pc:sldMk cId="4103249026" sldId="2147479592"/>
            <ac:spMk id="17" creationId="{72CF3D87-177E-1E66-E707-A88A21CA3AE4}"/>
          </ac:spMkLst>
        </pc:spChg>
        <pc:spChg chg="mod">
          <ac:chgData name="Yousuf, Arsalan" userId="1f742cd1-60f2-4cc5-8102-e09412e517e3" providerId="ADAL" clId="{15464559-230C-484E-9C98-D7B9D3FDBA96}" dt="2024-01-11T16:00:36.671" v="5376"/>
          <ac:spMkLst>
            <pc:docMk/>
            <pc:sldMk cId="4103249026" sldId="2147479592"/>
            <ac:spMk id="18" creationId="{5B9E73DD-16D9-FAB1-4571-7E555F7E834C}"/>
          </ac:spMkLst>
        </pc:spChg>
        <pc:spChg chg="mod">
          <ac:chgData name="Yousuf, Arsalan" userId="1f742cd1-60f2-4cc5-8102-e09412e517e3" providerId="ADAL" clId="{15464559-230C-484E-9C98-D7B9D3FDBA96}" dt="2024-01-11T16:00:36.671" v="5376"/>
          <ac:spMkLst>
            <pc:docMk/>
            <pc:sldMk cId="4103249026" sldId="2147479592"/>
            <ac:spMk id="19" creationId="{BAB8715A-E763-F3E6-00ED-1DEE98B41C25}"/>
          </ac:spMkLst>
        </pc:spChg>
        <pc:spChg chg="mod">
          <ac:chgData name="Yousuf, Arsalan" userId="1f742cd1-60f2-4cc5-8102-e09412e517e3" providerId="ADAL" clId="{15464559-230C-484E-9C98-D7B9D3FDBA96}" dt="2024-01-11T16:00:36.671" v="5376"/>
          <ac:spMkLst>
            <pc:docMk/>
            <pc:sldMk cId="4103249026" sldId="2147479592"/>
            <ac:spMk id="20" creationId="{C49FABE6-61D5-80FE-81B6-602C21C04E1D}"/>
          </ac:spMkLst>
        </pc:spChg>
        <pc:grpChg chg="add mod">
          <ac:chgData name="Yousuf, Arsalan" userId="1f742cd1-60f2-4cc5-8102-e09412e517e3" providerId="ADAL" clId="{15464559-230C-484E-9C98-D7B9D3FDBA96}" dt="2024-01-11T16:00:36.671" v="5376"/>
          <ac:grpSpMkLst>
            <pc:docMk/>
            <pc:sldMk cId="4103249026" sldId="2147479592"/>
            <ac:grpSpMk id="2" creationId="{2287BF8C-1B19-BDC7-632F-666142C56942}"/>
          </ac:grpSpMkLst>
        </pc:grpChg>
        <pc:picChg chg="mod">
          <ac:chgData name="Yousuf, Arsalan" userId="1f742cd1-60f2-4cc5-8102-e09412e517e3" providerId="ADAL" clId="{15464559-230C-484E-9C98-D7B9D3FDBA96}" dt="2024-01-11T16:00:36.671" v="5376"/>
          <ac:picMkLst>
            <pc:docMk/>
            <pc:sldMk cId="4103249026" sldId="2147479592"/>
            <ac:picMk id="21" creationId="{A16BF58D-D08F-6248-7CE0-6ECD5557606C}"/>
          </ac:picMkLst>
        </pc:picChg>
        <pc:picChg chg="mod">
          <ac:chgData name="Yousuf, Arsalan" userId="1f742cd1-60f2-4cc5-8102-e09412e517e3" providerId="ADAL" clId="{15464559-230C-484E-9C98-D7B9D3FDBA96}" dt="2024-01-11T16:00:36.671" v="5376"/>
          <ac:picMkLst>
            <pc:docMk/>
            <pc:sldMk cId="4103249026" sldId="2147479592"/>
            <ac:picMk id="22" creationId="{5C03E43D-1B4D-99E0-6985-346F0666A3A4}"/>
          </ac:picMkLst>
        </pc:picChg>
        <pc:picChg chg="mod">
          <ac:chgData name="Yousuf, Arsalan" userId="1f742cd1-60f2-4cc5-8102-e09412e517e3" providerId="ADAL" clId="{15464559-230C-484E-9C98-D7B9D3FDBA96}" dt="2024-01-11T16:00:36.671" v="5376"/>
          <ac:picMkLst>
            <pc:docMk/>
            <pc:sldMk cId="4103249026" sldId="2147479592"/>
            <ac:picMk id="23" creationId="{73E3A720-241A-B700-E32A-66E38AC09DD9}"/>
          </ac:picMkLst>
        </pc:picChg>
        <pc:picChg chg="add mod">
          <ac:chgData name="Yousuf, Arsalan" userId="1f742cd1-60f2-4cc5-8102-e09412e517e3" providerId="ADAL" clId="{15464559-230C-484E-9C98-D7B9D3FDBA96}" dt="2024-01-11T16:00:36.671" v="5376"/>
          <ac:picMkLst>
            <pc:docMk/>
            <pc:sldMk cId="4103249026" sldId="2147479592"/>
            <ac:picMk id="24" creationId="{A3FBBD69-6B67-30B3-A449-34BCAEE5A76D}"/>
          </ac:picMkLst>
        </pc:picChg>
      </pc:sldChg>
      <pc:sldChg chg="addSp modSp add">
        <pc:chgData name="Yousuf, Arsalan" userId="1f742cd1-60f2-4cc5-8102-e09412e517e3" providerId="ADAL" clId="{15464559-230C-484E-9C98-D7B9D3FDBA96}" dt="2024-01-11T16:00:43.699" v="5377"/>
        <pc:sldMkLst>
          <pc:docMk/>
          <pc:sldMk cId="1985294707" sldId="2147479593"/>
        </pc:sldMkLst>
        <pc:spChg chg="mod">
          <ac:chgData name="Yousuf, Arsalan" userId="1f742cd1-60f2-4cc5-8102-e09412e517e3" providerId="ADAL" clId="{15464559-230C-484E-9C98-D7B9D3FDBA96}" dt="2024-01-11T16:00:43.699" v="5377"/>
          <ac:spMkLst>
            <pc:docMk/>
            <pc:sldMk cId="1985294707" sldId="2147479593"/>
            <ac:spMk id="3" creationId="{69A766E1-BC72-9FC9-7CD1-43EB1B87342D}"/>
          </ac:spMkLst>
        </pc:spChg>
        <pc:spChg chg="mod">
          <ac:chgData name="Yousuf, Arsalan" userId="1f742cd1-60f2-4cc5-8102-e09412e517e3" providerId="ADAL" clId="{15464559-230C-484E-9C98-D7B9D3FDBA96}" dt="2024-01-11T16:00:43.699" v="5377"/>
          <ac:spMkLst>
            <pc:docMk/>
            <pc:sldMk cId="1985294707" sldId="2147479593"/>
            <ac:spMk id="5" creationId="{7F0175FA-CF18-DCB6-7D4D-F2586F2141FB}"/>
          </ac:spMkLst>
        </pc:spChg>
        <pc:spChg chg="mod">
          <ac:chgData name="Yousuf, Arsalan" userId="1f742cd1-60f2-4cc5-8102-e09412e517e3" providerId="ADAL" clId="{15464559-230C-484E-9C98-D7B9D3FDBA96}" dt="2024-01-11T16:00:43.699" v="5377"/>
          <ac:spMkLst>
            <pc:docMk/>
            <pc:sldMk cId="1985294707" sldId="2147479593"/>
            <ac:spMk id="6" creationId="{062C3EC7-9323-884A-B881-07469DD6DFBF}"/>
          </ac:spMkLst>
        </pc:spChg>
        <pc:spChg chg="mod">
          <ac:chgData name="Yousuf, Arsalan" userId="1f742cd1-60f2-4cc5-8102-e09412e517e3" providerId="ADAL" clId="{15464559-230C-484E-9C98-D7B9D3FDBA96}" dt="2024-01-11T16:00:43.699" v="5377"/>
          <ac:spMkLst>
            <pc:docMk/>
            <pc:sldMk cId="1985294707" sldId="2147479593"/>
            <ac:spMk id="7" creationId="{433BBCC0-BB8E-ED9D-B8AE-9915F514248A}"/>
          </ac:spMkLst>
        </pc:spChg>
        <pc:spChg chg="mod">
          <ac:chgData name="Yousuf, Arsalan" userId="1f742cd1-60f2-4cc5-8102-e09412e517e3" providerId="ADAL" clId="{15464559-230C-484E-9C98-D7B9D3FDBA96}" dt="2024-01-11T16:00:43.699" v="5377"/>
          <ac:spMkLst>
            <pc:docMk/>
            <pc:sldMk cId="1985294707" sldId="2147479593"/>
            <ac:spMk id="8" creationId="{3BF3D765-6C3E-AC56-C05C-6EBD06B5B0C5}"/>
          </ac:spMkLst>
        </pc:spChg>
        <pc:spChg chg="mod">
          <ac:chgData name="Yousuf, Arsalan" userId="1f742cd1-60f2-4cc5-8102-e09412e517e3" providerId="ADAL" clId="{15464559-230C-484E-9C98-D7B9D3FDBA96}" dt="2024-01-11T16:00:43.699" v="5377"/>
          <ac:spMkLst>
            <pc:docMk/>
            <pc:sldMk cId="1985294707" sldId="2147479593"/>
            <ac:spMk id="9" creationId="{9E3A72A4-B5E0-09A3-96CF-13FBD1F83B76}"/>
          </ac:spMkLst>
        </pc:spChg>
        <pc:spChg chg="mod">
          <ac:chgData name="Yousuf, Arsalan" userId="1f742cd1-60f2-4cc5-8102-e09412e517e3" providerId="ADAL" clId="{15464559-230C-484E-9C98-D7B9D3FDBA96}" dt="2024-01-11T16:00:43.699" v="5377"/>
          <ac:spMkLst>
            <pc:docMk/>
            <pc:sldMk cId="1985294707" sldId="2147479593"/>
            <ac:spMk id="10" creationId="{68647517-82A0-08A8-6A25-06ABE4B444F5}"/>
          </ac:spMkLst>
        </pc:spChg>
        <pc:spChg chg="mod">
          <ac:chgData name="Yousuf, Arsalan" userId="1f742cd1-60f2-4cc5-8102-e09412e517e3" providerId="ADAL" clId="{15464559-230C-484E-9C98-D7B9D3FDBA96}" dt="2024-01-11T16:00:43.699" v="5377"/>
          <ac:spMkLst>
            <pc:docMk/>
            <pc:sldMk cId="1985294707" sldId="2147479593"/>
            <ac:spMk id="11" creationId="{732507CF-1493-A5A2-2FF9-DD8DED6C898F}"/>
          </ac:spMkLst>
        </pc:spChg>
        <pc:spChg chg="mod">
          <ac:chgData name="Yousuf, Arsalan" userId="1f742cd1-60f2-4cc5-8102-e09412e517e3" providerId="ADAL" clId="{15464559-230C-484E-9C98-D7B9D3FDBA96}" dt="2024-01-11T16:00:43.699" v="5377"/>
          <ac:spMkLst>
            <pc:docMk/>
            <pc:sldMk cId="1985294707" sldId="2147479593"/>
            <ac:spMk id="12" creationId="{5BEFA8CF-26ED-FCB9-67F9-476A874862EC}"/>
          </ac:spMkLst>
        </pc:spChg>
        <pc:spChg chg="mod">
          <ac:chgData name="Yousuf, Arsalan" userId="1f742cd1-60f2-4cc5-8102-e09412e517e3" providerId="ADAL" clId="{15464559-230C-484E-9C98-D7B9D3FDBA96}" dt="2024-01-11T16:00:43.699" v="5377"/>
          <ac:spMkLst>
            <pc:docMk/>
            <pc:sldMk cId="1985294707" sldId="2147479593"/>
            <ac:spMk id="13" creationId="{0BC2AB67-7564-8FD0-B95E-9BAAB4C1166C}"/>
          </ac:spMkLst>
        </pc:spChg>
        <pc:spChg chg="mod">
          <ac:chgData name="Yousuf, Arsalan" userId="1f742cd1-60f2-4cc5-8102-e09412e517e3" providerId="ADAL" clId="{15464559-230C-484E-9C98-D7B9D3FDBA96}" dt="2024-01-11T16:00:43.699" v="5377"/>
          <ac:spMkLst>
            <pc:docMk/>
            <pc:sldMk cId="1985294707" sldId="2147479593"/>
            <ac:spMk id="14" creationId="{10F0383F-249E-BC3A-2165-E2F0A4D63A69}"/>
          </ac:spMkLst>
        </pc:spChg>
        <pc:spChg chg="mod">
          <ac:chgData name="Yousuf, Arsalan" userId="1f742cd1-60f2-4cc5-8102-e09412e517e3" providerId="ADAL" clId="{15464559-230C-484E-9C98-D7B9D3FDBA96}" dt="2024-01-11T16:00:43.699" v="5377"/>
          <ac:spMkLst>
            <pc:docMk/>
            <pc:sldMk cId="1985294707" sldId="2147479593"/>
            <ac:spMk id="15" creationId="{68A55F48-7C48-1E5C-8CB9-4F689EB2373B}"/>
          </ac:spMkLst>
        </pc:spChg>
        <pc:spChg chg="mod">
          <ac:chgData name="Yousuf, Arsalan" userId="1f742cd1-60f2-4cc5-8102-e09412e517e3" providerId="ADAL" clId="{15464559-230C-484E-9C98-D7B9D3FDBA96}" dt="2024-01-11T16:00:43.699" v="5377"/>
          <ac:spMkLst>
            <pc:docMk/>
            <pc:sldMk cId="1985294707" sldId="2147479593"/>
            <ac:spMk id="19" creationId="{2C9E092A-BD23-4935-0F9C-DC1595E08AC6}"/>
          </ac:spMkLst>
        </pc:spChg>
        <pc:spChg chg="mod">
          <ac:chgData name="Yousuf, Arsalan" userId="1f742cd1-60f2-4cc5-8102-e09412e517e3" providerId="ADAL" clId="{15464559-230C-484E-9C98-D7B9D3FDBA96}" dt="2024-01-11T16:00:43.699" v="5377"/>
          <ac:spMkLst>
            <pc:docMk/>
            <pc:sldMk cId="1985294707" sldId="2147479593"/>
            <ac:spMk id="20" creationId="{82AD4C81-BAD0-CFDD-DF6C-3A4E23DCBBED}"/>
          </ac:spMkLst>
        </pc:spChg>
        <pc:spChg chg="mod">
          <ac:chgData name="Yousuf, Arsalan" userId="1f742cd1-60f2-4cc5-8102-e09412e517e3" providerId="ADAL" clId="{15464559-230C-484E-9C98-D7B9D3FDBA96}" dt="2024-01-11T16:00:43.699" v="5377"/>
          <ac:spMkLst>
            <pc:docMk/>
            <pc:sldMk cId="1985294707" sldId="2147479593"/>
            <ac:spMk id="21" creationId="{4746A907-C0E4-3975-F1AF-2D715F910A57}"/>
          </ac:spMkLst>
        </pc:spChg>
        <pc:spChg chg="mod">
          <ac:chgData name="Yousuf, Arsalan" userId="1f742cd1-60f2-4cc5-8102-e09412e517e3" providerId="ADAL" clId="{15464559-230C-484E-9C98-D7B9D3FDBA96}" dt="2024-01-11T16:00:43.699" v="5377"/>
          <ac:spMkLst>
            <pc:docMk/>
            <pc:sldMk cId="1985294707" sldId="2147479593"/>
            <ac:spMk id="22" creationId="{7E2A66BD-DBD3-D4E5-55DE-29FE48409EEA}"/>
          </ac:spMkLst>
        </pc:spChg>
        <pc:grpChg chg="add mod">
          <ac:chgData name="Yousuf, Arsalan" userId="1f742cd1-60f2-4cc5-8102-e09412e517e3" providerId="ADAL" clId="{15464559-230C-484E-9C98-D7B9D3FDBA96}" dt="2024-01-11T16:00:43.699" v="5377"/>
          <ac:grpSpMkLst>
            <pc:docMk/>
            <pc:sldMk cId="1985294707" sldId="2147479593"/>
            <ac:grpSpMk id="2" creationId="{363E3C23-C6AD-AEE5-19EE-B956CC4E95CE}"/>
          </ac:grpSpMkLst>
        </pc:grpChg>
        <pc:picChg chg="mod">
          <ac:chgData name="Yousuf, Arsalan" userId="1f742cd1-60f2-4cc5-8102-e09412e517e3" providerId="ADAL" clId="{15464559-230C-484E-9C98-D7B9D3FDBA96}" dt="2024-01-11T16:00:43.699" v="5377"/>
          <ac:picMkLst>
            <pc:docMk/>
            <pc:sldMk cId="1985294707" sldId="2147479593"/>
            <ac:picMk id="16" creationId="{0382CD44-08C0-2953-AA13-35CAC0F7509F}"/>
          </ac:picMkLst>
        </pc:picChg>
        <pc:picChg chg="mod">
          <ac:chgData name="Yousuf, Arsalan" userId="1f742cd1-60f2-4cc5-8102-e09412e517e3" providerId="ADAL" clId="{15464559-230C-484E-9C98-D7B9D3FDBA96}" dt="2024-01-11T16:00:43.699" v="5377"/>
          <ac:picMkLst>
            <pc:docMk/>
            <pc:sldMk cId="1985294707" sldId="2147479593"/>
            <ac:picMk id="17" creationId="{6E1DDFCA-4046-FEA7-E661-0C7E51EE2511}"/>
          </ac:picMkLst>
        </pc:picChg>
        <pc:picChg chg="mod">
          <ac:chgData name="Yousuf, Arsalan" userId="1f742cd1-60f2-4cc5-8102-e09412e517e3" providerId="ADAL" clId="{15464559-230C-484E-9C98-D7B9D3FDBA96}" dt="2024-01-11T16:00:43.699" v="5377"/>
          <ac:picMkLst>
            <pc:docMk/>
            <pc:sldMk cId="1985294707" sldId="2147479593"/>
            <ac:picMk id="18" creationId="{E5988F22-C92E-87B4-049E-57221242993F}"/>
          </ac:picMkLst>
        </pc:picChg>
        <pc:picChg chg="mod">
          <ac:chgData name="Yousuf, Arsalan" userId="1f742cd1-60f2-4cc5-8102-e09412e517e3" providerId="ADAL" clId="{15464559-230C-484E-9C98-D7B9D3FDBA96}" dt="2024-01-11T16:00:43.699" v="5377"/>
          <ac:picMkLst>
            <pc:docMk/>
            <pc:sldMk cId="1985294707" sldId="2147479593"/>
            <ac:picMk id="23" creationId="{A9A34DE5-C782-88E6-2F6C-3E1FBF8821D6}"/>
          </ac:picMkLst>
        </pc:picChg>
      </pc:sldChg>
      <pc:sldChg chg="addSp modSp add">
        <pc:chgData name="Yousuf, Arsalan" userId="1f742cd1-60f2-4cc5-8102-e09412e517e3" providerId="ADAL" clId="{15464559-230C-484E-9C98-D7B9D3FDBA96}" dt="2024-01-11T16:00:51.958" v="5378"/>
        <pc:sldMkLst>
          <pc:docMk/>
          <pc:sldMk cId="1402355049" sldId="2147479594"/>
        </pc:sldMkLst>
        <pc:spChg chg="mod">
          <ac:chgData name="Yousuf, Arsalan" userId="1f742cd1-60f2-4cc5-8102-e09412e517e3" providerId="ADAL" clId="{15464559-230C-484E-9C98-D7B9D3FDBA96}" dt="2024-01-11T16:00:51.958" v="5378"/>
          <ac:spMkLst>
            <pc:docMk/>
            <pc:sldMk cId="1402355049" sldId="2147479594"/>
            <ac:spMk id="3" creationId="{13E9083F-B87A-14F2-4DF4-A470C2877A5A}"/>
          </ac:spMkLst>
        </pc:spChg>
        <pc:spChg chg="mod">
          <ac:chgData name="Yousuf, Arsalan" userId="1f742cd1-60f2-4cc5-8102-e09412e517e3" providerId="ADAL" clId="{15464559-230C-484E-9C98-D7B9D3FDBA96}" dt="2024-01-11T16:00:51.958" v="5378"/>
          <ac:spMkLst>
            <pc:docMk/>
            <pc:sldMk cId="1402355049" sldId="2147479594"/>
            <ac:spMk id="5" creationId="{58FCF13F-FBBB-4866-438A-BC1989872048}"/>
          </ac:spMkLst>
        </pc:spChg>
        <pc:spChg chg="mod">
          <ac:chgData name="Yousuf, Arsalan" userId="1f742cd1-60f2-4cc5-8102-e09412e517e3" providerId="ADAL" clId="{15464559-230C-484E-9C98-D7B9D3FDBA96}" dt="2024-01-11T16:00:51.958" v="5378"/>
          <ac:spMkLst>
            <pc:docMk/>
            <pc:sldMk cId="1402355049" sldId="2147479594"/>
            <ac:spMk id="6" creationId="{36359311-1055-962A-12DF-2531AC5FF6B4}"/>
          </ac:spMkLst>
        </pc:spChg>
        <pc:spChg chg="mod">
          <ac:chgData name="Yousuf, Arsalan" userId="1f742cd1-60f2-4cc5-8102-e09412e517e3" providerId="ADAL" clId="{15464559-230C-484E-9C98-D7B9D3FDBA96}" dt="2024-01-11T16:00:51.958" v="5378"/>
          <ac:spMkLst>
            <pc:docMk/>
            <pc:sldMk cId="1402355049" sldId="2147479594"/>
            <ac:spMk id="7" creationId="{323B0D07-42B1-C57F-BA6A-6A7305A852AC}"/>
          </ac:spMkLst>
        </pc:spChg>
        <pc:spChg chg="mod">
          <ac:chgData name="Yousuf, Arsalan" userId="1f742cd1-60f2-4cc5-8102-e09412e517e3" providerId="ADAL" clId="{15464559-230C-484E-9C98-D7B9D3FDBA96}" dt="2024-01-11T16:00:51.958" v="5378"/>
          <ac:spMkLst>
            <pc:docMk/>
            <pc:sldMk cId="1402355049" sldId="2147479594"/>
            <ac:spMk id="8" creationId="{81E90897-EAC7-41D7-EDED-60F71FC619F0}"/>
          </ac:spMkLst>
        </pc:spChg>
        <pc:spChg chg="mod">
          <ac:chgData name="Yousuf, Arsalan" userId="1f742cd1-60f2-4cc5-8102-e09412e517e3" providerId="ADAL" clId="{15464559-230C-484E-9C98-D7B9D3FDBA96}" dt="2024-01-11T16:00:51.958" v="5378"/>
          <ac:spMkLst>
            <pc:docMk/>
            <pc:sldMk cId="1402355049" sldId="2147479594"/>
            <ac:spMk id="9" creationId="{C179FEE7-E330-579E-BCB2-9C67072638EF}"/>
          </ac:spMkLst>
        </pc:spChg>
        <pc:spChg chg="mod">
          <ac:chgData name="Yousuf, Arsalan" userId="1f742cd1-60f2-4cc5-8102-e09412e517e3" providerId="ADAL" clId="{15464559-230C-484E-9C98-D7B9D3FDBA96}" dt="2024-01-11T16:00:51.958" v="5378"/>
          <ac:spMkLst>
            <pc:docMk/>
            <pc:sldMk cId="1402355049" sldId="2147479594"/>
            <ac:spMk id="10" creationId="{1FBA01F7-28B9-E626-4BD5-D8CABF2FE0FB}"/>
          </ac:spMkLst>
        </pc:spChg>
        <pc:spChg chg="mod">
          <ac:chgData name="Yousuf, Arsalan" userId="1f742cd1-60f2-4cc5-8102-e09412e517e3" providerId="ADAL" clId="{15464559-230C-484E-9C98-D7B9D3FDBA96}" dt="2024-01-11T16:00:51.958" v="5378"/>
          <ac:spMkLst>
            <pc:docMk/>
            <pc:sldMk cId="1402355049" sldId="2147479594"/>
            <ac:spMk id="11" creationId="{55ED24AC-5AF1-754B-AAB0-7B47B9E8B3B7}"/>
          </ac:spMkLst>
        </pc:spChg>
        <pc:spChg chg="mod">
          <ac:chgData name="Yousuf, Arsalan" userId="1f742cd1-60f2-4cc5-8102-e09412e517e3" providerId="ADAL" clId="{15464559-230C-484E-9C98-D7B9D3FDBA96}" dt="2024-01-11T16:00:51.958" v="5378"/>
          <ac:spMkLst>
            <pc:docMk/>
            <pc:sldMk cId="1402355049" sldId="2147479594"/>
            <ac:spMk id="12" creationId="{CA6F606A-44DF-967A-EE0D-A6E661BD4CA1}"/>
          </ac:spMkLst>
        </pc:spChg>
        <pc:spChg chg="mod">
          <ac:chgData name="Yousuf, Arsalan" userId="1f742cd1-60f2-4cc5-8102-e09412e517e3" providerId="ADAL" clId="{15464559-230C-484E-9C98-D7B9D3FDBA96}" dt="2024-01-11T16:00:51.958" v="5378"/>
          <ac:spMkLst>
            <pc:docMk/>
            <pc:sldMk cId="1402355049" sldId="2147479594"/>
            <ac:spMk id="13" creationId="{9F9CCD98-5F66-EB74-7297-2722319E6D4A}"/>
          </ac:spMkLst>
        </pc:spChg>
        <pc:spChg chg="mod">
          <ac:chgData name="Yousuf, Arsalan" userId="1f742cd1-60f2-4cc5-8102-e09412e517e3" providerId="ADAL" clId="{15464559-230C-484E-9C98-D7B9D3FDBA96}" dt="2024-01-11T16:00:51.958" v="5378"/>
          <ac:spMkLst>
            <pc:docMk/>
            <pc:sldMk cId="1402355049" sldId="2147479594"/>
            <ac:spMk id="14" creationId="{7FE4C50D-7C64-EC82-86DE-7921B94D38FC}"/>
          </ac:spMkLst>
        </pc:spChg>
        <pc:spChg chg="mod">
          <ac:chgData name="Yousuf, Arsalan" userId="1f742cd1-60f2-4cc5-8102-e09412e517e3" providerId="ADAL" clId="{15464559-230C-484E-9C98-D7B9D3FDBA96}" dt="2024-01-11T16:00:51.958" v="5378"/>
          <ac:spMkLst>
            <pc:docMk/>
            <pc:sldMk cId="1402355049" sldId="2147479594"/>
            <ac:spMk id="15" creationId="{111AC70A-2AC3-58BB-23CD-8335088219AB}"/>
          </ac:spMkLst>
        </pc:spChg>
        <pc:spChg chg="mod">
          <ac:chgData name="Yousuf, Arsalan" userId="1f742cd1-60f2-4cc5-8102-e09412e517e3" providerId="ADAL" clId="{15464559-230C-484E-9C98-D7B9D3FDBA96}" dt="2024-01-11T16:00:51.958" v="5378"/>
          <ac:spMkLst>
            <pc:docMk/>
            <pc:sldMk cId="1402355049" sldId="2147479594"/>
            <ac:spMk id="17" creationId="{F5D22A93-A8ED-1E2A-AF6E-D01F7C4A2CAD}"/>
          </ac:spMkLst>
        </pc:spChg>
        <pc:spChg chg="mod">
          <ac:chgData name="Yousuf, Arsalan" userId="1f742cd1-60f2-4cc5-8102-e09412e517e3" providerId="ADAL" clId="{15464559-230C-484E-9C98-D7B9D3FDBA96}" dt="2024-01-11T16:00:51.958" v="5378"/>
          <ac:spMkLst>
            <pc:docMk/>
            <pc:sldMk cId="1402355049" sldId="2147479594"/>
            <ac:spMk id="18" creationId="{EE049FB5-8CEB-3865-DE31-739F8732A869}"/>
          </ac:spMkLst>
        </pc:spChg>
        <pc:spChg chg="mod">
          <ac:chgData name="Yousuf, Arsalan" userId="1f742cd1-60f2-4cc5-8102-e09412e517e3" providerId="ADAL" clId="{15464559-230C-484E-9C98-D7B9D3FDBA96}" dt="2024-01-11T16:00:51.958" v="5378"/>
          <ac:spMkLst>
            <pc:docMk/>
            <pc:sldMk cId="1402355049" sldId="2147479594"/>
            <ac:spMk id="19" creationId="{44903A92-BF52-A399-9BF7-C099FB676E2A}"/>
          </ac:spMkLst>
        </pc:spChg>
        <pc:spChg chg="mod">
          <ac:chgData name="Yousuf, Arsalan" userId="1f742cd1-60f2-4cc5-8102-e09412e517e3" providerId="ADAL" clId="{15464559-230C-484E-9C98-D7B9D3FDBA96}" dt="2024-01-11T16:00:51.958" v="5378"/>
          <ac:spMkLst>
            <pc:docMk/>
            <pc:sldMk cId="1402355049" sldId="2147479594"/>
            <ac:spMk id="21" creationId="{F0BADC9E-04EA-BA17-2871-34BDD276A628}"/>
          </ac:spMkLst>
        </pc:spChg>
        <pc:spChg chg="mod">
          <ac:chgData name="Yousuf, Arsalan" userId="1f742cd1-60f2-4cc5-8102-e09412e517e3" providerId="ADAL" clId="{15464559-230C-484E-9C98-D7B9D3FDBA96}" dt="2024-01-11T16:00:51.958" v="5378"/>
          <ac:spMkLst>
            <pc:docMk/>
            <pc:sldMk cId="1402355049" sldId="2147479594"/>
            <ac:spMk id="22" creationId="{EF0120C2-45B4-9BEA-62A4-BF85FC6395A0}"/>
          </ac:spMkLst>
        </pc:spChg>
        <pc:grpChg chg="add mod">
          <ac:chgData name="Yousuf, Arsalan" userId="1f742cd1-60f2-4cc5-8102-e09412e517e3" providerId="ADAL" clId="{15464559-230C-484E-9C98-D7B9D3FDBA96}" dt="2024-01-11T16:00:51.958" v="5378"/>
          <ac:grpSpMkLst>
            <pc:docMk/>
            <pc:sldMk cId="1402355049" sldId="2147479594"/>
            <ac:grpSpMk id="2" creationId="{0B05FFD9-B5C9-5B7D-C9BF-D8A1CB2F747E}"/>
          </ac:grpSpMkLst>
        </pc:grpChg>
        <pc:picChg chg="mod">
          <ac:chgData name="Yousuf, Arsalan" userId="1f742cd1-60f2-4cc5-8102-e09412e517e3" providerId="ADAL" clId="{15464559-230C-484E-9C98-D7B9D3FDBA96}" dt="2024-01-11T16:00:51.958" v="5378"/>
          <ac:picMkLst>
            <pc:docMk/>
            <pc:sldMk cId="1402355049" sldId="2147479594"/>
            <ac:picMk id="16" creationId="{698CA837-F31E-5C49-A1B2-903D1F6DEE52}"/>
          </ac:picMkLst>
        </pc:picChg>
        <pc:picChg chg="mod">
          <ac:chgData name="Yousuf, Arsalan" userId="1f742cd1-60f2-4cc5-8102-e09412e517e3" providerId="ADAL" clId="{15464559-230C-484E-9C98-D7B9D3FDBA96}" dt="2024-01-11T16:00:51.958" v="5378"/>
          <ac:picMkLst>
            <pc:docMk/>
            <pc:sldMk cId="1402355049" sldId="2147479594"/>
            <ac:picMk id="20" creationId="{F28714A2-7CB9-9C0D-8075-5908C7FF3E49}"/>
          </ac:picMkLst>
        </pc:picChg>
        <pc:picChg chg="mod">
          <ac:chgData name="Yousuf, Arsalan" userId="1f742cd1-60f2-4cc5-8102-e09412e517e3" providerId="ADAL" clId="{15464559-230C-484E-9C98-D7B9D3FDBA96}" dt="2024-01-11T16:00:51.958" v="5378"/>
          <ac:picMkLst>
            <pc:docMk/>
            <pc:sldMk cId="1402355049" sldId="2147479594"/>
            <ac:picMk id="23" creationId="{767423AA-D50A-52B9-948C-88EB442AD1C5}"/>
          </ac:picMkLst>
        </pc:picChg>
        <pc:picChg chg="mod">
          <ac:chgData name="Yousuf, Arsalan" userId="1f742cd1-60f2-4cc5-8102-e09412e517e3" providerId="ADAL" clId="{15464559-230C-484E-9C98-D7B9D3FDBA96}" dt="2024-01-11T16:00:51.958" v="5378"/>
          <ac:picMkLst>
            <pc:docMk/>
            <pc:sldMk cId="1402355049" sldId="2147479594"/>
            <ac:picMk id="24" creationId="{DDA22949-45FF-68B3-C6AA-E1960322DDA0}"/>
          </ac:picMkLst>
        </pc:picChg>
      </pc:sldChg>
      <pc:sldChg chg="addSp delSp modSp add mod">
        <pc:chgData name="Yousuf, Arsalan" userId="1f742cd1-60f2-4cc5-8102-e09412e517e3" providerId="ADAL" clId="{15464559-230C-484E-9C98-D7B9D3FDBA96}" dt="2024-01-11T16:38:15.863" v="7696" actId="20577"/>
        <pc:sldMkLst>
          <pc:docMk/>
          <pc:sldMk cId="351412068" sldId="2147479595"/>
        </pc:sldMkLst>
        <pc:spChg chg="add del mod">
          <ac:chgData name="Yousuf, Arsalan" userId="1f742cd1-60f2-4cc5-8102-e09412e517e3" providerId="ADAL" clId="{15464559-230C-484E-9C98-D7B9D3FDBA96}" dt="2024-01-11T16:35:44.713" v="7673"/>
          <ac:spMkLst>
            <pc:docMk/>
            <pc:sldMk cId="351412068" sldId="2147479595"/>
            <ac:spMk id="2" creationId="{63791DFE-3257-B5CF-90B0-7FD42F967BE1}"/>
          </ac:spMkLst>
        </pc:spChg>
        <pc:spChg chg="mod">
          <ac:chgData name="Yousuf, Arsalan" userId="1f742cd1-60f2-4cc5-8102-e09412e517e3" providerId="ADAL" clId="{15464559-230C-484E-9C98-D7B9D3FDBA96}" dt="2024-01-11T16:38:15.863" v="7696" actId="20577"/>
          <ac:spMkLst>
            <pc:docMk/>
            <pc:sldMk cId="351412068" sldId="2147479595"/>
            <ac:spMk id="3" creationId="{6F914314-A01C-44E3-AC84-C79B490DD84B}"/>
          </ac:spMkLst>
        </pc:spChg>
        <pc:spChg chg="add mod">
          <ac:chgData name="Yousuf, Arsalan" userId="1f742cd1-60f2-4cc5-8102-e09412e517e3" providerId="ADAL" clId="{15464559-230C-484E-9C98-D7B9D3FDBA96}" dt="2024-01-11T16:35:46.445" v="7674"/>
          <ac:spMkLst>
            <pc:docMk/>
            <pc:sldMk cId="351412068" sldId="2147479595"/>
            <ac:spMk id="4" creationId="{03C8783D-063E-1E73-2A82-5AC95D1D205E}"/>
          </ac:spMkLst>
        </pc:spChg>
      </pc:sldChg>
      <pc:sldChg chg="addSp modSp add mod">
        <pc:chgData name="Yousuf, Arsalan" userId="1f742cd1-60f2-4cc5-8102-e09412e517e3" providerId="ADAL" clId="{15464559-230C-484E-9C98-D7B9D3FDBA96}" dt="2024-01-11T16:38:19.573" v="7699" actId="20577"/>
        <pc:sldMkLst>
          <pc:docMk/>
          <pc:sldMk cId="3115985725" sldId="2147479596"/>
        </pc:sldMkLst>
        <pc:spChg chg="add mod">
          <ac:chgData name="Yousuf, Arsalan" userId="1f742cd1-60f2-4cc5-8102-e09412e517e3" providerId="ADAL" clId="{15464559-230C-484E-9C98-D7B9D3FDBA96}" dt="2024-01-11T16:35:51.612" v="7675"/>
          <ac:spMkLst>
            <pc:docMk/>
            <pc:sldMk cId="3115985725" sldId="2147479596"/>
            <ac:spMk id="2" creationId="{47961EB6-5C9D-D371-3E52-B47C12601710}"/>
          </ac:spMkLst>
        </pc:spChg>
        <pc:spChg chg="mod">
          <ac:chgData name="Yousuf, Arsalan" userId="1f742cd1-60f2-4cc5-8102-e09412e517e3" providerId="ADAL" clId="{15464559-230C-484E-9C98-D7B9D3FDBA96}" dt="2024-01-11T16:38:19.573" v="7699" actId="20577"/>
          <ac:spMkLst>
            <pc:docMk/>
            <pc:sldMk cId="3115985725" sldId="2147479596"/>
            <ac:spMk id="3" creationId="{6F914314-A01C-44E3-AC84-C79B490DD84B}"/>
          </ac:spMkLst>
        </pc:spChg>
      </pc:sldChg>
      <pc:sldChg chg="addSp modSp add mod">
        <pc:chgData name="Yousuf, Arsalan" userId="1f742cd1-60f2-4cc5-8102-e09412e517e3" providerId="ADAL" clId="{15464559-230C-484E-9C98-D7B9D3FDBA96}" dt="2024-01-11T16:39:37.834" v="7705" actId="20577"/>
        <pc:sldMkLst>
          <pc:docMk/>
          <pc:sldMk cId="1461059303" sldId="2147479597"/>
        </pc:sldMkLst>
        <pc:spChg chg="add mod">
          <ac:chgData name="Yousuf, Arsalan" userId="1f742cd1-60f2-4cc5-8102-e09412e517e3" providerId="ADAL" clId="{15464559-230C-484E-9C98-D7B9D3FDBA96}" dt="2024-01-11T16:35:56.402" v="7676"/>
          <ac:spMkLst>
            <pc:docMk/>
            <pc:sldMk cId="1461059303" sldId="2147479597"/>
            <ac:spMk id="2" creationId="{493BFF48-3CB6-6785-5B50-8E5D89698F48}"/>
          </ac:spMkLst>
        </pc:spChg>
        <pc:spChg chg="mod">
          <ac:chgData name="Yousuf, Arsalan" userId="1f742cd1-60f2-4cc5-8102-e09412e517e3" providerId="ADAL" clId="{15464559-230C-484E-9C98-D7B9D3FDBA96}" dt="2024-01-11T16:39:37.834" v="7705" actId="20577"/>
          <ac:spMkLst>
            <pc:docMk/>
            <pc:sldMk cId="1461059303" sldId="2147479597"/>
            <ac:spMk id="3" creationId="{6F914314-A01C-44E3-AC84-C79B490DD84B}"/>
          </ac:spMkLst>
        </pc:spChg>
      </pc:sldChg>
      <pc:sldChg chg="addSp modSp add mod">
        <pc:chgData name="Yousuf, Arsalan" userId="1f742cd1-60f2-4cc5-8102-e09412e517e3" providerId="ADAL" clId="{15464559-230C-484E-9C98-D7B9D3FDBA96}" dt="2024-01-11T16:39:39.391" v="7707" actId="20577"/>
        <pc:sldMkLst>
          <pc:docMk/>
          <pc:sldMk cId="2157805163" sldId="2147479598"/>
        </pc:sldMkLst>
        <pc:spChg chg="add mod">
          <ac:chgData name="Yousuf, Arsalan" userId="1f742cd1-60f2-4cc5-8102-e09412e517e3" providerId="ADAL" clId="{15464559-230C-484E-9C98-D7B9D3FDBA96}" dt="2024-01-11T16:36:01.603" v="7677"/>
          <ac:spMkLst>
            <pc:docMk/>
            <pc:sldMk cId="2157805163" sldId="2147479598"/>
            <ac:spMk id="2" creationId="{92DBE6DA-73BE-47F3-67EC-23EB17F253BB}"/>
          </ac:spMkLst>
        </pc:spChg>
        <pc:spChg chg="mod">
          <ac:chgData name="Yousuf, Arsalan" userId="1f742cd1-60f2-4cc5-8102-e09412e517e3" providerId="ADAL" clId="{15464559-230C-484E-9C98-D7B9D3FDBA96}" dt="2024-01-11T16:39:39.391" v="7707" actId="20577"/>
          <ac:spMkLst>
            <pc:docMk/>
            <pc:sldMk cId="2157805163" sldId="2147479598"/>
            <ac:spMk id="3" creationId="{6F914314-A01C-44E3-AC84-C79B490DD84B}"/>
          </ac:spMkLst>
        </pc:spChg>
      </pc:sldChg>
      <pc:sldChg chg="addSp modSp add mod">
        <pc:chgData name="Yousuf, Arsalan" userId="1f742cd1-60f2-4cc5-8102-e09412e517e3" providerId="ADAL" clId="{15464559-230C-484E-9C98-D7B9D3FDBA96}" dt="2024-01-11T16:39:41.330" v="7709" actId="20577"/>
        <pc:sldMkLst>
          <pc:docMk/>
          <pc:sldMk cId="217783735" sldId="2147479599"/>
        </pc:sldMkLst>
        <pc:spChg chg="add mod">
          <ac:chgData name="Yousuf, Arsalan" userId="1f742cd1-60f2-4cc5-8102-e09412e517e3" providerId="ADAL" clId="{15464559-230C-484E-9C98-D7B9D3FDBA96}" dt="2024-01-11T16:36:06.319" v="7678"/>
          <ac:spMkLst>
            <pc:docMk/>
            <pc:sldMk cId="217783735" sldId="2147479599"/>
            <ac:spMk id="2" creationId="{E0C2DD61-2B7C-5E44-FCAC-76816740F38D}"/>
          </ac:spMkLst>
        </pc:spChg>
        <pc:spChg chg="mod">
          <ac:chgData name="Yousuf, Arsalan" userId="1f742cd1-60f2-4cc5-8102-e09412e517e3" providerId="ADAL" clId="{15464559-230C-484E-9C98-D7B9D3FDBA96}" dt="2024-01-11T16:39:41.330" v="7709" actId="20577"/>
          <ac:spMkLst>
            <pc:docMk/>
            <pc:sldMk cId="217783735" sldId="2147479599"/>
            <ac:spMk id="3" creationId="{6F914314-A01C-44E3-AC84-C79B490DD84B}"/>
          </ac:spMkLst>
        </pc:spChg>
      </pc:sldChg>
      <pc:sldChg chg="addSp modSp add mod">
        <pc:chgData name="Yousuf, Arsalan" userId="1f742cd1-60f2-4cc5-8102-e09412e517e3" providerId="ADAL" clId="{15464559-230C-484E-9C98-D7B9D3FDBA96}" dt="2024-01-11T16:39:43.149" v="7711" actId="20577"/>
        <pc:sldMkLst>
          <pc:docMk/>
          <pc:sldMk cId="1557836467" sldId="2147479600"/>
        </pc:sldMkLst>
        <pc:spChg chg="add mod">
          <ac:chgData name="Yousuf, Arsalan" userId="1f742cd1-60f2-4cc5-8102-e09412e517e3" providerId="ADAL" clId="{15464559-230C-484E-9C98-D7B9D3FDBA96}" dt="2024-01-11T16:36:11.107" v="7679"/>
          <ac:spMkLst>
            <pc:docMk/>
            <pc:sldMk cId="1557836467" sldId="2147479600"/>
            <ac:spMk id="2" creationId="{A593920E-446A-AEEC-3DA9-889DDA9CDEB6}"/>
          </ac:spMkLst>
        </pc:spChg>
        <pc:spChg chg="mod">
          <ac:chgData name="Yousuf, Arsalan" userId="1f742cd1-60f2-4cc5-8102-e09412e517e3" providerId="ADAL" clId="{15464559-230C-484E-9C98-D7B9D3FDBA96}" dt="2024-01-11T16:39:43.149" v="7711" actId="20577"/>
          <ac:spMkLst>
            <pc:docMk/>
            <pc:sldMk cId="1557836467" sldId="2147479600"/>
            <ac:spMk id="3" creationId="{6F914314-A01C-44E3-AC84-C79B490DD84B}"/>
          </ac:spMkLst>
        </pc:spChg>
      </pc:sldChg>
      <pc:sldChg chg="addSp modSp add mod">
        <pc:chgData name="Yousuf, Arsalan" userId="1f742cd1-60f2-4cc5-8102-e09412e517e3" providerId="ADAL" clId="{15464559-230C-484E-9C98-D7B9D3FDBA96}" dt="2024-01-11T16:39:46.046" v="7713" actId="20577"/>
        <pc:sldMkLst>
          <pc:docMk/>
          <pc:sldMk cId="975493396" sldId="2147479601"/>
        </pc:sldMkLst>
        <pc:spChg chg="add mod">
          <ac:chgData name="Yousuf, Arsalan" userId="1f742cd1-60f2-4cc5-8102-e09412e517e3" providerId="ADAL" clId="{15464559-230C-484E-9C98-D7B9D3FDBA96}" dt="2024-01-11T16:36:16.515" v="7680"/>
          <ac:spMkLst>
            <pc:docMk/>
            <pc:sldMk cId="975493396" sldId="2147479601"/>
            <ac:spMk id="2" creationId="{B73BBCD8-115F-4287-ABF4-7F8131A4BD41}"/>
          </ac:spMkLst>
        </pc:spChg>
        <pc:spChg chg="mod">
          <ac:chgData name="Yousuf, Arsalan" userId="1f742cd1-60f2-4cc5-8102-e09412e517e3" providerId="ADAL" clId="{15464559-230C-484E-9C98-D7B9D3FDBA96}" dt="2024-01-11T16:39:46.046" v="7713" actId="20577"/>
          <ac:spMkLst>
            <pc:docMk/>
            <pc:sldMk cId="975493396" sldId="2147479601"/>
            <ac:spMk id="3" creationId="{6F914314-A01C-44E3-AC84-C79B490DD84B}"/>
          </ac:spMkLst>
        </pc:spChg>
      </pc:sldChg>
      <pc:sldChg chg="addSp modSp add mod">
        <pc:chgData name="Yousuf, Arsalan" userId="1f742cd1-60f2-4cc5-8102-e09412e517e3" providerId="ADAL" clId="{15464559-230C-484E-9C98-D7B9D3FDBA96}" dt="2024-01-11T16:39:47.822" v="7715" actId="20577"/>
        <pc:sldMkLst>
          <pc:docMk/>
          <pc:sldMk cId="377525531" sldId="2147479602"/>
        </pc:sldMkLst>
        <pc:spChg chg="add mod">
          <ac:chgData name="Yousuf, Arsalan" userId="1f742cd1-60f2-4cc5-8102-e09412e517e3" providerId="ADAL" clId="{15464559-230C-484E-9C98-D7B9D3FDBA96}" dt="2024-01-11T16:36:22.016" v="7681"/>
          <ac:spMkLst>
            <pc:docMk/>
            <pc:sldMk cId="377525531" sldId="2147479602"/>
            <ac:spMk id="2" creationId="{F8AF4CBC-44E3-4717-C491-29DE3829FCF6}"/>
          </ac:spMkLst>
        </pc:spChg>
        <pc:spChg chg="mod">
          <ac:chgData name="Yousuf, Arsalan" userId="1f742cd1-60f2-4cc5-8102-e09412e517e3" providerId="ADAL" clId="{15464559-230C-484E-9C98-D7B9D3FDBA96}" dt="2024-01-11T16:39:47.822" v="7715" actId="20577"/>
          <ac:spMkLst>
            <pc:docMk/>
            <pc:sldMk cId="377525531" sldId="2147479602"/>
            <ac:spMk id="3" creationId="{6F914314-A01C-44E3-AC84-C79B490DD84B}"/>
          </ac:spMkLst>
        </pc:spChg>
      </pc:sldChg>
      <pc:sldChg chg="addSp modSp add mod">
        <pc:chgData name="Yousuf, Arsalan" userId="1f742cd1-60f2-4cc5-8102-e09412e517e3" providerId="ADAL" clId="{15464559-230C-484E-9C98-D7B9D3FDBA96}" dt="2024-01-11T16:39:49.539" v="7717" actId="20577"/>
        <pc:sldMkLst>
          <pc:docMk/>
          <pc:sldMk cId="734703594" sldId="2147479603"/>
        </pc:sldMkLst>
        <pc:spChg chg="add mod">
          <ac:chgData name="Yousuf, Arsalan" userId="1f742cd1-60f2-4cc5-8102-e09412e517e3" providerId="ADAL" clId="{15464559-230C-484E-9C98-D7B9D3FDBA96}" dt="2024-01-11T16:36:26.442" v="7682"/>
          <ac:spMkLst>
            <pc:docMk/>
            <pc:sldMk cId="734703594" sldId="2147479603"/>
            <ac:spMk id="2" creationId="{F23C4C36-04CA-05C8-AF0C-EBBD65D89A2A}"/>
          </ac:spMkLst>
        </pc:spChg>
        <pc:spChg chg="mod">
          <ac:chgData name="Yousuf, Arsalan" userId="1f742cd1-60f2-4cc5-8102-e09412e517e3" providerId="ADAL" clId="{15464559-230C-484E-9C98-D7B9D3FDBA96}" dt="2024-01-11T16:39:49.539" v="7717" actId="20577"/>
          <ac:spMkLst>
            <pc:docMk/>
            <pc:sldMk cId="734703594" sldId="2147479603"/>
            <ac:spMk id="3" creationId="{6F914314-A01C-44E3-AC84-C79B490DD84B}"/>
          </ac:spMkLst>
        </pc:spChg>
      </pc:sldChg>
      <pc:sldChg chg="addSp modSp add mod">
        <pc:chgData name="Yousuf, Arsalan" userId="1f742cd1-60f2-4cc5-8102-e09412e517e3" providerId="ADAL" clId="{15464559-230C-484E-9C98-D7B9D3FDBA96}" dt="2024-01-11T16:39:51.482" v="7718" actId="20577"/>
        <pc:sldMkLst>
          <pc:docMk/>
          <pc:sldMk cId="1689726473" sldId="2147479604"/>
        </pc:sldMkLst>
        <pc:spChg chg="add mod">
          <ac:chgData name="Yousuf, Arsalan" userId="1f742cd1-60f2-4cc5-8102-e09412e517e3" providerId="ADAL" clId="{15464559-230C-484E-9C98-D7B9D3FDBA96}" dt="2024-01-11T16:36:36.810" v="7684" actId="20577"/>
          <ac:spMkLst>
            <pc:docMk/>
            <pc:sldMk cId="1689726473" sldId="2147479604"/>
            <ac:spMk id="2" creationId="{6CFB9AF0-37C6-7242-F2F2-524DB767EB50}"/>
          </ac:spMkLst>
        </pc:spChg>
        <pc:spChg chg="mod">
          <ac:chgData name="Yousuf, Arsalan" userId="1f742cd1-60f2-4cc5-8102-e09412e517e3" providerId="ADAL" clId="{15464559-230C-484E-9C98-D7B9D3FDBA96}" dt="2024-01-11T16:39:51.482" v="7718" actId="20577"/>
          <ac:spMkLst>
            <pc:docMk/>
            <pc:sldMk cId="1689726473" sldId="2147479604"/>
            <ac:spMk id="3" creationId="{6F914314-A01C-44E3-AC84-C79B490DD84B}"/>
          </ac:spMkLst>
        </pc:spChg>
      </pc:sldChg>
      <pc:sldChg chg="addSp modSp add mod">
        <pc:chgData name="Yousuf, Arsalan" userId="1f742cd1-60f2-4cc5-8102-e09412e517e3" providerId="ADAL" clId="{15464559-230C-484E-9C98-D7B9D3FDBA96}" dt="2024-01-11T16:39:54.462" v="7719" actId="20577"/>
        <pc:sldMkLst>
          <pc:docMk/>
          <pc:sldMk cId="2333028396" sldId="2147479605"/>
        </pc:sldMkLst>
        <pc:spChg chg="add mod">
          <ac:chgData name="Yousuf, Arsalan" userId="1f742cd1-60f2-4cc5-8102-e09412e517e3" providerId="ADAL" clId="{15464559-230C-484E-9C98-D7B9D3FDBA96}" dt="2024-01-11T16:36:43.489" v="7685"/>
          <ac:spMkLst>
            <pc:docMk/>
            <pc:sldMk cId="2333028396" sldId="2147479605"/>
            <ac:spMk id="2" creationId="{178E11AE-8999-22A9-9AFE-9AD71F234E5D}"/>
          </ac:spMkLst>
        </pc:spChg>
        <pc:spChg chg="mod">
          <ac:chgData name="Yousuf, Arsalan" userId="1f742cd1-60f2-4cc5-8102-e09412e517e3" providerId="ADAL" clId="{15464559-230C-484E-9C98-D7B9D3FDBA96}" dt="2024-01-11T16:39:54.462" v="7719" actId="20577"/>
          <ac:spMkLst>
            <pc:docMk/>
            <pc:sldMk cId="2333028396" sldId="2147479605"/>
            <ac:spMk id="3" creationId="{6F914314-A01C-44E3-AC84-C79B490DD84B}"/>
          </ac:spMkLst>
        </pc:spChg>
      </pc:sldChg>
      <pc:sldChg chg="addSp modSp add mod">
        <pc:chgData name="Yousuf, Arsalan" userId="1f742cd1-60f2-4cc5-8102-e09412e517e3" providerId="ADAL" clId="{15464559-230C-484E-9C98-D7B9D3FDBA96}" dt="2024-01-11T16:39:56.124" v="7720" actId="20577"/>
        <pc:sldMkLst>
          <pc:docMk/>
          <pc:sldMk cId="3682586503" sldId="2147479606"/>
        </pc:sldMkLst>
        <pc:spChg chg="add mod">
          <ac:chgData name="Yousuf, Arsalan" userId="1f742cd1-60f2-4cc5-8102-e09412e517e3" providerId="ADAL" clId="{15464559-230C-484E-9C98-D7B9D3FDBA96}" dt="2024-01-11T16:36:52.264" v="7687" actId="20577"/>
          <ac:spMkLst>
            <pc:docMk/>
            <pc:sldMk cId="3682586503" sldId="2147479606"/>
            <ac:spMk id="2" creationId="{9E64AA48-1CA5-248C-3342-36EF6701BC46}"/>
          </ac:spMkLst>
        </pc:spChg>
        <pc:spChg chg="mod">
          <ac:chgData name="Yousuf, Arsalan" userId="1f742cd1-60f2-4cc5-8102-e09412e517e3" providerId="ADAL" clId="{15464559-230C-484E-9C98-D7B9D3FDBA96}" dt="2024-01-11T16:39:56.124" v="7720" actId="20577"/>
          <ac:spMkLst>
            <pc:docMk/>
            <pc:sldMk cId="3682586503" sldId="2147479606"/>
            <ac:spMk id="3" creationId="{6F914314-A01C-44E3-AC84-C79B490DD84B}"/>
          </ac:spMkLst>
        </pc:spChg>
      </pc:sldChg>
      <pc:sldChg chg="addSp modSp add mod">
        <pc:chgData name="Yousuf, Arsalan" userId="1f742cd1-60f2-4cc5-8102-e09412e517e3" providerId="ADAL" clId="{15464559-230C-484E-9C98-D7B9D3FDBA96}" dt="2024-01-11T16:39:57.664" v="7721" actId="20577"/>
        <pc:sldMkLst>
          <pc:docMk/>
          <pc:sldMk cId="2612350476" sldId="2147479607"/>
        </pc:sldMkLst>
        <pc:spChg chg="add mod">
          <ac:chgData name="Yousuf, Arsalan" userId="1f742cd1-60f2-4cc5-8102-e09412e517e3" providerId="ADAL" clId="{15464559-230C-484E-9C98-D7B9D3FDBA96}" dt="2024-01-11T16:37:28.876" v="7688"/>
          <ac:spMkLst>
            <pc:docMk/>
            <pc:sldMk cId="2612350476" sldId="2147479607"/>
            <ac:spMk id="2" creationId="{0C3244C8-1D64-21E4-6ADF-7EE57E60B3E8}"/>
          </ac:spMkLst>
        </pc:spChg>
        <pc:spChg chg="mod">
          <ac:chgData name="Yousuf, Arsalan" userId="1f742cd1-60f2-4cc5-8102-e09412e517e3" providerId="ADAL" clId="{15464559-230C-484E-9C98-D7B9D3FDBA96}" dt="2024-01-11T16:39:57.664" v="7721" actId="20577"/>
          <ac:spMkLst>
            <pc:docMk/>
            <pc:sldMk cId="2612350476" sldId="2147479607"/>
            <ac:spMk id="3" creationId="{6F914314-A01C-44E3-AC84-C79B490DD84B}"/>
          </ac:spMkLst>
        </pc:spChg>
      </pc:sldChg>
      <pc:sldChg chg="addSp modSp add mod">
        <pc:chgData name="Yousuf, Arsalan" userId="1f742cd1-60f2-4cc5-8102-e09412e517e3" providerId="ADAL" clId="{15464559-230C-484E-9C98-D7B9D3FDBA96}" dt="2024-01-11T16:39:59.103" v="7722" actId="20577"/>
        <pc:sldMkLst>
          <pc:docMk/>
          <pc:sldMk cId="3112240029" sldId="2147479608"/>
        </pc:sldMkLst>
        <pc:spChg chg="add mod">
          <ac:chgData name="Yousuf, Arsalan" userId="1f742cd1-60f2-4cc5-8102-e09412e517e3" providerId="ADAL" clId="{15464559-230C-484E-9C98-D7B9D3FDBA96}" dt="2024-01-11T16:37:34.249" v="7689"/>
          <ac:spMkLst>
            <pc:docMk/>
            <pc:sldMk cId="3112240029" sldId="2147479608"/>
            <ac:spMk id="2" creationId="{F04C54B9-51CD-215B-A5CF-788B64C5D759}"/>
          </ac:spMkLst>
        </pc:spChg>
        <pc:spChg chg="mod">
          <ac:chgData name="Yousuf, Arsalan" userId="1f742cd1-60f2-4cc5-8102-e09412e517e3" providerId="ADAL" clId="{15464559-230C-484E-9C98-D7B9D3FDBA96}" dt="2024-01-11T16:39:59.103" v="7722" actId="20577"/>
          <ac:spMkLst>
            <pc:docMk/>
            <pc:sldMk cId="3112240029" sldId="2147479608"/>
            <ac:spMk id="3" creationId="{6F914314-A01C-44E3-AC84-C79B490DD84B}"/>
          </ac:spMkLst>
        </pc:spChg>
      </pc:sldChg>
      <pc:sldChg chg="addSp modSp add mod">
        <pc:chgData name="Yousuf, Arsalan" userId="1f742cd1-60f2-4cc5-8102-e09412e517e3" providerId="ADAL" clId="{15464559-230C-484E-9C98-D7B9D3FDBA96}" dt="2024-01-11T16:40:01.344" v="7725" actId="20577"/>
        <pc:sldMkLst>
          <pc:docMk/>
          <pc:sldMk cId="3594927481" sldId="2147479609"/>
        </pc:sldMkLst>
        <pc:spChg chg="add mod">
          <ac:chgData name="Yousuf, Arsalan" userId="1f742cd1-60f2-4cc5-8102-e09412e517e3" providerId="ADAL" clId="{15464559-230C-484E-9C98-D7B9D3FDBA96}" dt="2024-01-11T16:37:38.697" v="7690"/>
          <ac:spMkLst>
            <pc:docMk/>
            <pc:sldMk cId="3594927481" sldId="2147479609"/>
            <ac:spMk id="2" creationId="{B0839FA4-A46E-84DE-1D66-6A556A002646}"/>
          </ac:spMkLst>
        </pc:spChg>
        <pc:spChg chg="mod">
          <ac:chgData name="Yousuf, Arsalan" userId="1f742cd1-60f2-4cc5-8102-e09412e517e3" providerId="ADAL" clId="{15464559-230C-484E-9C98-D7B9D3FDBA96}" dt="2024-01-11T16:40:01.344" v="7725" actId="20577"/>
          <ac:spMkLst>
            <pc:docMk/>
            <pc:sldMk cId="3594927481" sldId="2147479609"/>
            <ac:spMk id="3" creationId="{6F914314-A01C-44E3-AC84-C79B490DD84B}"/>
          </ac:spMkLst>
        </pc:spChg>
      </pc:sldChg>
      <pc:sldChg chg="addSp modSp add mod">
        <pc:chgData name="Yousuf, Arsalan" userId="1f742cd1-60f2-4cc5-8102-e09412e517e3" providerId="ADAL" clId="{15464559-230C-484E-9C98-D7B9D3FDBA96}" dt="2024-01-11T16:40:04.189" v="7726" actId="20577"/>
        <pc:sldMkLst>
          <pc:docMk/>
          <pc:sldMk cId="2363872993" sldId="2147479610"/>
        </pc:sldMkLst>
        <pc:spChg chg="add mod">
          <ac:chgData name="Yousuf, Arsalan" userId="1f742cd1-60f2-4cc5-8102-e09412e517e3" providerId="ADAL" clId="{15464559-230C-484E-9C98-D7B9D3FDBA96}" dt="2024-01-11T16:37:55.541" v="7693"/>
          <ac:spMkLst>
            <pc:docMk/>
            <pc:sldMk cId="2363872993" sldId="2147479610"/>
            <ac:spMk id="2" creationId="{40D5AD68-61C8-D5C4-4A13-730A0F81F7C9}"/>
          </ac:spMkLst>
        </pc:spChg>
        <pc:spChg chg="mod">
          <ac:chgData name="Yousuf, Arsalan" userId="1f742cd1-60f2-4cc5-8102-e09412e517e3" providerId="ADAL" clId="{15464559-230C-484E-9C98-D7B9D3FDBA96}" dt="2024-01-11T16:40:04.189" v="7726" actId="20577"/>
          <ac:spMkLst>
            <pc:docMk/>
            <pc:sldMk cId="2363872993" sldId="2147479610"/>
            <ac:spMk id="3" creationId="{6F914314-A01C-44E3-AC84-C79B490DD84B}"/>
          </ac:spMkLst>
        </pc:spChg>
      </pc:sldChg>
      <pc:sldChg chg="add del">
        <pc:chgData name="Yousuf, Arsalan" userId="1f742cd1-60f2-4cc5-8102-e09412e517e3" providerId="ADAL" clId="{15464559-230C-484E-9C98-D7B9D3FDBA96}" dt="2024-01-11T16:35:40.708" v="7671"/>
        <pc:sldMkLst>
          <pc:docMk/>
          <pc:sldMk cId="841759342" sldId="2147479611"/>
        </pc:sldMkLst>
      </pc:sldChg>
      <pc:sldChg chg="addSp modSp add mod">
        <pc:chgData name="Yousuf, Arsalan" userId="1f742cd1-60f2-4cc5-8102-e09412e517e3" providerId="ADAL" clId="{15464559-230C-484E-9C98-D7B9D3FDBA96}" dt="2024-01-11T16:40:05.821" v="7727" actId="20577"/>
        <pc:sldMkLst>
          <pc:docMk/>
          <pc:sldMk cId="3991306445" sldId="2147479611"/>
        </pc:sldMkLst>
        <pc:spChg chg="add mod">
          <ac:chgData name="Yousuf, Arsalan" userId="1f742cd1-60f2-4cc5-8102-e09412e517e3" providerId="ADAL" clId="{15464559-230C-484E-9C98-D7B9D3FDBA96}" dt="2024-01-11T16:38:00.552" v="7694"/>
          <ac:spMkLst>
            <pc:docMk/>
            <pc:sldMk cId="3991306445" sldId="2147479611"/>
            <ac:spMk id="2" creationId="{DF740298-85D1-1DC6-CEC2-9F1B7E199CF3}"/>
          </ac:spMkLst>
        </pc:spChg>
        <pc:spChg chg="mod">
          <ac:chgData name="Yousuf, Arsalan" userId="1f742cd1-60f2-4cc5-8102-e09412e517e3" providerId="ADAL" clId="{15464559-230C-484E-9C98-D7B9D3FDBA96}" dt="2024-01-11T16:40:05.821" v="7727" actId="20577"/>
          <ac:spMkLst>
            <pc:docMk/>
            <pc:sldMk cId="3991306445" sldId="2147479611"/>
            <ac:spMk id="3" creationId="{6F914314-A01C-44E3-AC84-C79B490DD84B}"/>
          </ac:spMkLst>
        </pc:spChg>
      </pc:sldChg>
      <pc:sldChg chg="addSp modSp add mod">
        <pc:chgData name="Yousuf, Arsalan" userId="1f742cd1-60f2-4cc5-8102-e09412e517e3" providerId="ADAL" clId="{15464559-230C-484E-9C98-D7B9D3FDBA96}" dt="2024-01-11T16:40:07.743" v="7728" actId="20577"/>
        <pc:sldMkLst>
          <pc:docMk/>
          <pc:sldMk cId="1758561628" sldId="2147479612"/>
        </pc:sldMkLst>
        <pc:spChg chg="add mod">
          <ac:chgData name="Yousuf, Arsalan" userId="1f742cd1-60f2-4cc5-8102-e09412e517e3" providerId="ADAL" clId="{15464559-230C-484E-9C98-D7B9D3FDBA96}" dt="2024-01-11T16:38:05.282" v="7695"/>
          <ac:spMkLst>
            <pc:docMk/>
            <pc:sldMk cId="1758561628" sldId="2147479612"/>
            <ac:spMk id="2" creationId="{DE080E2E-572D-D34E-70FD-515636D767FC}"/>
          </ac:spMkLst>
        </pc:spChg>
        <pc:spChg chg="mod">
          <ac:chgData name="Yousuf, Arsalan" userId="1f742cd1-60f2-4cc5-8102-e09412e517e3" providerId="ADAL" clId="{15464559-230C-484E-9C98-D7B9D3FDBA96}" dt="2024-01-11T16:40:07.743" v="7728" actId="20577"/>
          <ac:spMkLst>
            <pc:docMk/>
            <pc:sldMk cId="1758561628" sldId="2147479612"/>
            <ac:spMk id="3" creationId="{6F914314-A01C-44E3-AC84-C79B490DD84B}"/>
          </ac:spMkLst>
        </pc:spChg>
      </pc:sldChg>
      <pc:sldMasterChg chg="modSp mod delSldLayout modSldLayout">
        <pc:chgData name="Yousuf, Arsalan" userId="1f742cd1-60f2-4cc5-8102-e09412e517e3" providerId="ADAL" clId="{15464559-230C-484E-9C98-D7B9D3FDBA96}" dt="2024-01-11T16:45:12.173" v="7817" actId="20577"/>
        <pc:sldMasterMkLst>
          <pc:docMk/>
          <pc:sldMasterMk cId="3564118489" sldId="2147483689"/>
        </pc:sldMasterMkLst>
        <pc:spChg chg="mod">
          <ac:chgData name="Yousuf, Arsalan" userId="1f742cd1-60f2-4cc5-8102-e09412e517e3" providerId="ADAL" clId="{15464559-230C-484E-9C98-D7B9D3FDBA96}" dt="2024-01-11T16:45:02.673" v="7811" actId="20577"/>
          <ac:spMkLst>
            <pc:docMk/>
            <pc:sldMasterMk cId="3564118489" sldId="2147483689"/>
            <ac:spMk id="10" creationId="{161B543E-1C98-40D1-8FE2-8B80F1326F87}"/>
          </ac:spMkLst>
        </pc:spChg>
        <pc:sldLayoutChg chg="del">
          <pc:chgData name="Yousuf, Arsalan" userId="1f742cd1-60f2-4cc5-8102-e09412e517e3" providerId="ADAL" clId="{15464559-230C-484E-9C98-D7B9D3FDBA96}" dt="2024-01-11T10:15:19.410" v="93" actId="47"/>
          <pc:sldLayoutMkLst>
            <pc:docMk/>
            <pc:sldMasterMk cId="3564118489" sldId="2147483689"/>
            <pc:sldLayoutMk cId="2871566608" sldId="2147483691"/>
          </pc:sldLayoutMkLst>
        </pc:sldLayoutChg>
        <pc:sldLayoutChg chg="delSp modSp mod">
          <pc:chgData name="Yousuf, Arsalan" userId="1f742cd1-60f2-4cc5-8102-e09412e517e3" providerId="ADAL" clId="{15464559-230C-484E-9C98-D7B9D3FDBA96}" dt="2024-01-11T16:44:55.044" v="7809" actId="20577"/>
          <pc:sldLayoutMkLst>
            <pc:docMk/>
            <pc:sldMasterMk cId="3564118489" sldId="2147483689"/>
            <pc:sldLayoutMk cId="3023982902" sldId="2147483694"/>
          </pc:sldLayoutMkLst>
          <pc:spChg chg="mod">
            <ac:chgData name="Yousuf, Arsalan" userId="1f742cd1-60f2-4cc5-8102-e09412e517e3" providerId="ADAL" clId="{15464559-230C-484E-9C98-D7B9D3FDBA96}" dt="2024-01-11T16:44:55.044" v="7809" actId="20577"/>
            <ac:spMkLst>
              <pc:docMk/>
              <pc:sldMasterMk cId="3564118489" sldId="2147483689"/>
              <pc:sldLayoutMk cId="3023982902" sldId="2147483694"/>
              <ac:spMk id="38" creationId="{00000000-0000-0000-0000-000000000000}"/>
            </ac:spMkLst>
          </pc:spChg>
          <pc:spChg chg="mod">
            <ac:chgData name="Yousuf, Arsalan" userId="1f742cd1-60f2-4cc5-8102-e09412e517e3" providerId="ADAL" clId="{15464559-230C-484E-9C98-D7B9D3FDBA96}" dt="2024-01-11T16:43:38.371" v="7760" actId="20577"/>
            <ac:spMkLst>
              <pc:docMk/>
              <pc:sldMasterMk cId="3564118489" sldId="2147483689"/>
              <pc:sldLayoutMk cId="3023982902" sldId="2147483694"/>
              <ac:spMk id="39" creationId="{00000000-0000-0000-0000-000000000000}"/>
            </ac:spMkLst>
          </pc:spChg>
          <pc:spChg chg="del">
            <ac:chgData name="Yousuf, Arsalan" userId="1f742cd1-60f2-4cc5-8102-e09412e517e3" providerId="ADAL" clId="{15464559-230C-484E-9C98-D7B9D3FDBA96}" dt="2024-01-11T16:43:16.645" v="7734" actId="478"/>
            <ac:spMkLst>
              <pc:docMk/>
              <pc:sldMasterMk cId="3564118489" sldId="2147483689"/>
              <pc:sldLayoutMk cId="3023982902" sldId="2147483694"/>
              <ac:spMk id="40" creationId="{00000000-0000-0000-0000-000000000000}"/>
            </ac:spMkLst>
          </pc:spChg>
        </pc:sldLayoutChg>
        <pc:sldLayoutChg chg="addSp delSp modSp mod">
          <pc:chgData name="Yousuf, Arsalan" userId="1f742cd1-60f2-4cc5-8102-e09412e517e3" providerId="ADAL" clId="{15464559-230C-484E-9C98-D7B9D3FDBA96}" dt="2024-01-11T16:45:06.805" v="7813" actId="20577"/>
          <pc:sldLayoutMkLst>
            <pc:docMk/>
            <pc:sldMasterMk cId="3564118489" sldId="2147483689"/>
            <pc:sldLayoutMk cId="1113107971" sldId="2147483695"/>
          </pc:sldLayoutMkLst>
          <pc:spChg chg="add mod">
            <ac:chgData name="Yousuf, Arsalan" userId="1f742cd1-60f2-4cc5-8102-e09412e517e3" providerId="ADAL" clId="{15464559-230C-484E-9C98-D7B9D3FDBA96}" dt="2024-01-11T16:45:06.805" v="7813" actId="20577"/>
            <ac:spMkLst>
              <pc:docMk/>
              <pc:sldMasterMk cId="3564118489" sldId="2147483689"/>
              <pc:sldLayoutMk cId="1113107971" sldId="2147483695"/>
              <ac:spMk id="2" creationId="{3C9DCEED-734E-7314-CCF7-BBBB901C9CF1}"/>
            </ac:spMkLst>
          </pc:spChg>
          <pc:spChg chg="del">
            <ac:chgData name="Yousuf, Arsalan" userId="1f742cd1-60f2-4cc5-8102-e09412e517e3" providerId="ADAL" clId="{15464559-230C-484E-9C98-D7B9D3FDBA96}" dt="2024-01-11T10:40:53.484" v="540" actId="478"/>
            <ac:spMkLst>
              <pc:docMk/>
              <pc:sldMasterMk cId="3564118489" sldId="2147483689"/>
              <pc:sldLayoutMk cId="1113107971" sldId="2147483695"/>
              <ac:spMk id="3" creationId="{57D78D68-6E88-419B-9ADA-2A1EC754B6C6}"/>
            </ac:spMkLst>
          </pc:spChg>
          <pc:spChg chg="del">
            <ac:chgData name="Yousuf, Arsalan" userId="1f742cd1-60f2-4cc5-8102-e09412e517e3" providerId="ADAL" clId="{15464559-230C-484E-9C98-D7B9D3FDBA96}" dt="2024-01-11T10:40:53.484" v="540" actId="478"/>
            <ac:spMkLst>
              <pc:docMk/>
              <pc:sldMasterMk cId="3564118489" sldId="2147483689"/>
              <pc:sldLayoutMk cId="1113107971" sldId="2147483695"/>
              <ac:spMk id="12" creationId="{5539B983-5F19-4A31-9108-69ACE639A084}"/>
            </ac:spMkLst>
          </pc:spChg>
        </pc:sldLayoutChg>
        <pc:sldLayoutChg chg="addSp delSp modSp mod">
          <pc:chgData name="Yousuf, Arsalan" userId="1f742cd1-60f2-4cc5-8102-e09412e517e3" providerId="ADAL" clId="{15464559-230C-484E-9C98-D7B9D3FDBA96}" dt="2024-01-11T16:45:08.946" v="7815" actId="20577"/>
          <pc:sldLayoutMkLst>
            <pc:docMk/>
            <pc:sldMasterMk cId="3564118489" sldId="2147483689"/>
            <pc:sldLayoutMk cId="3231307214" sldId="2147483696"/>
          </pc:sldLayoutMkLst>
          <pc:spChg chg="del">
            <ac:chgData name="Yousuf, Arsalan" userId="1f742cd1-60f2-4cc5-8102-e09412e517e3" providerId="ADAL" clId="{15464559-230C-484E-9C98-D7B9D3FDBA96}" dt="2024-01-11T10:40:57.126" v="542" actId="478"/>
            <ac:spMkLst>
              <pc:docMk/>
              <pc:sldMasterMk cId="3564118489" sldId="2147483689"/>
              <pc:sldLayoutMk cId="3231307214" sldId="2147483696"/>
              <ac:spMk id="2" creationId="{9B175C8D-A60F-49C1-D56F-EAE657FF3683}"/>
            </ac:spMkLst>
          </pc:spChg>
          <pc:spChg chg="add mod">
            <ac:chgData name="Yousuf, Arsalan" userId="1f742cd1-60f2-4cc5-8102-e09412e517e3" providerId="ADAL" clId="{15464559-230C-484E-9C98-D7B9D3FDBA96}" dt="2024-01-11T16:45:08.946" v="7815" actId="20577"/>
            <ac:spMkLst>
              <pc:docMk/>
              <pc:sldMasterMk cId="3564118489" sldId="2147483689"/>
              <pc:sldLayoutMk cId="3231307214" sldId="2147483696"/>
              <ac:spMk id="3" creationId="{270AAE54-DB83-BF32-09EA-7CA572F6D484}"/>
            </ac:spMkLst>
          </pc:spChg>
          <pc:spChg chg="del">
            <ac:chgData name="Yousuf, Arsalan" userId="1f742cd1-60f2-4cc5-8102-e09412e517e3" providerId="ADAL" clId="{15464559-230C-484E-9C98-D7B9D3FDBA96}" dt="2024-01-11T10:40:57.126" v="542" actId="478"/>
            <ac:spMkLst>
              <pc:docMk/>
              <pc:sldMasterMk cId="3564118489" sldId="2147483689"/>
              <pc:sldLayoutMk cId="3231307214" sldId="2147483696"/>
              <ac:spMk id="9" creationId="{D5AEFB60-C2AF-458F-AE5E-B5E36AB8ABDA}"/>
            </ac:spMkLst>
          </pc:spChg>
        </pc:sldLayoutChg>
        <pc:sldLayoutChg chg="addSp delSp modSp mod">
          <pc:chgData name="Yousuf, Arsalan" userId="1f742cd1-60f2-4cc5-8102-e09412e517e3" providerId="ADAL" clId="{15464559-230C-484E-9C98-D7B9D3FDBA96}" dt="2024-01-11T16:45:12.173" v="7817" actId="20577"/>
          <pc:sldLayoutMkLst>
            <pc:docMk/>
            <pc:sldMasterMk cId="3564118489" sldId="2147483689"/>
            <pc:sldLayoutMk cId="2357810075" sldId="2147483712"/>
          </pc:sldLayoutMkLst>
          <pc:spChg chg="add mod">
            <ac:chgData name="Yousuf, Arsalan" userId="1f742cd1-60f2-4cc5-8102-e09412e517e3" providerId="ADAL" clId="{15464559-230C-484E-9C98-D7B9D3FDBA96}" dt="2024-01-11T16:45:12.173" v="7817" actId="20577"/>
            <ac:spMkLst>
              <pc:docMk/>
              <pc:sldMasterMk cId="3564118489" sldId="2147483689"/>
              <pc:sldLayoutMk cId="2357810075" sldId="2147483712"/>
              <ac:spMk id="4" creationId="{AEF50FF2-62D0-3C3C-F804-653AF978AD84}"/>
            </ac:spMkLst>
          </pc:spChg>
          <pc:spChg chg="del">
            <ac:chgData name="Yousuf, Arsalan" userId="1f742cd1-60f2-4cc5-8102-e09412e517e3" providerId="ADAL" clId="{15464559-230C-484E-9C98-D7B9D3FDBA96}" dt="2024-01-11T10:41:03.508" v="544" actId="478"/>
            <ac:spMkLst>
              <pc:docMk/>
              <pc:sldMasterMk cId="3564118489" sldId="2147483689"/>
              <pc:sldLayoutMk cId="2357810075" sldId="2147483712"/>
              <ac:spMk id="5" creationId="{CD7E6950-3EA0-66DF-EAD5-4E07E789D698}"/>
            </ac:spMkLst>
          </pc:spChg>
          <pc:spChg chg="del">
            <ac:chgData name="Yousuf, Arsalan" userId="1f742cd1-60f2-4cc5-8102-e09412e517e3" providerId="ADAL" clId="{15464559-230C-484E-9C98-D7B9D3FDBA96}" dt="2024-01-11T10:41:03.508" v="544" actId="478"/>
            <ac:spMkLst>
              <pc:docMk/>
              <pc:sldMasterMk cId="3564118489" sldId="2147483689"/>
              <pc:sldLayoutMk cId="2357810075" sldId="2147483712"/>
              <ac:spMk id="17" creationId="{3EC824D2-5158-4117-9BE1-2738A732769F}"/>
            </ac:spMkLst>
          </pc:spChg>
        </pc:sldLayoutChg>
      </pc:sldMasterChg>
      <pc:sldMasterChg chg="addSp delSp modSp mod delSldLayout">
        <pc:chgData name="Yousuf, Arsalan" userId="1f742cd1-60f2-4cc5-8102-e09412e517e3" providerId="ADAL" clId="{15464559-230C-484E-9C98-D7B9D3FDBA96}" dt="2024-01-11T17:18:05.742" v="7999" actId="2696"/>
        <pc:sldMasterMkLst>
          <pc:docMk/>
          <pc:sldMasterMk cId="625659656" sldId="2147483713"/>
        </pc:sldMasterMkLst>
        <pc:spChg chg="add del mod">
          <ac:chgData name="Yousuf, Arsalan" userId="1f742cd1-60f2-4cc5-8102-e09412e517e3" providerId="ADAL" clId="{15464559-230C-484E-9C98-D7B9D3FDBA96}" dt="2024-01-11T10:41:25.172" v="548" actId="478"/>
          <ac:spMkLst>
            <pc:docMk/>
            <pc:sldMasterMk cId="625659656" sldId="2147483713"/>
            <ac:spMk id="3" creationId="{FA3C1D7F-CBF5-766C-97EE-F4D3146F8ABE}"/>
          </ac:spMkLst>
        </pc:spChg>
        <pc:spChg chg="add del mod">
          <ac:chgData name="Yousuf, Arsalan" userId="1f742cd1-60f2-4cc5-8102-e09412e517e3" providerId="ADAL" clId="{15464559-230C-484E-9C98-D7B9D3FDBA96}" dt="2024-01-11T10:41:26.361" v="550"/>
          <ac:spMkLst>
            <pc:docMk/>
            <pc:sldMasterMk cId="625659656" sldId="2147483713"/>
            <ac:spMk id="5" creationId="{3C6DDAC8-0D62-BBFF-AEAF-D7BA0293BC6F}"/>
          </ac:spMkLst>
        </pc:spChg>
        <pc:spChg chg="add mod">
          <ac:chgData name="Yousuf, Arsalan" userId="1f742cd1-60f2-4cc5-8102-e09412e517e3" providerId="ADAL" clId="{15464559-230C-484E-9C98-D7B9D3FDBA96}" dt="2024-01-11T16:45:17.726" v="7819" actId="20577"/>
          <ac:spMkLst>
            <pc:docMk/>
            <pc:sldMasterMk cId="625659656" sldId="2147483713"/>
            <ac:spMk id="6" creationId="{E7D5D29A-95B9-9492-5B4A-E5B63054DFEC}"/>
          </ac:spMkLst>
        </pc:spChg>
        <pc:spChg chg="del">
          <ac:chgData name="Yousuf, Arsalan" userId="1f742cd1-60f2-4cc5-8102-e09412e517e3" providerId="ADAL" clId="{15464559-230C-484E-9C98-D7B9D3FDBA96}" dt="2024-01-11T10:41:09.474" v="546" actId="478"/>
          <ac:spMkLst>
            <pc:docMk/>
            <pc:sldMasterMk cId="625659656" sldId="2147483713"/>
            <ac:spMk id="9" creationId="{3FF4EB8D-8975-42B4-BAFA-489021D1B417}"/>
          </ac:spMkLst>
        </pc:spChg>
        <pc:sldLayoutChg chg="del">
          <pc:chgData name="Yousuf, Arsalan" userId="1f742cd1-60f2-4cc5-8102-e09412e517e3" providerId="ADAL" clId="{15464559-230C-484E-9C98-D7B9D3FDBA96}" dt="2024-01-11T17:17:57.123" v="7990" actId="2696"/>
          <pc:sldLayoutMkLst>
            <pc:docMk/>
            <pc:sldMasterMk cId="625659656" sldId="2147483713"/>
            <pc:sldLayoutMk cId="3599041320" sldId="2147483718"/>
          </pc:sldLayoutMkLst>
        </pc:sldLayoutChg>
        <pc:sldLayoutChg chg="del">
          <pc:chgData name="Yousuf, Arsalan" userId="1f742cd1-60f2-4cc5-8102-e09412e517e3" providerId="ADAL" clId="{15464559-230C-484E-9C98-D7B9D3FDBA96}" dt="2024-01-11T17:17:57.127" v="7991" actId="2696"/>
          <pc:sldLayoutMkLst>
            <pc:docMk/>
            <pc:sldMasterMk cId="625659656" sldId="2147483713"/>
            <pc:sldLayoutMk cId="2794142112" sldId="2147483719"/>
          </pc:sldLayoutMkLst>
        </pc:sldLayoutChg>
        <pc:sldLayoutChg chg="del">
          <pc:chgData name="Yousuf, Arsalan" userId="1f742cd1-60f2-4cc5-8102-e09412e517e3" providerId="ADAL" clId="{15464559-230C-484E-9C98-D7B9D3FDBA96}" dt="2024-01-11T17:18:05.693" v="7992" actId="2696"/>
          <pc:sldLayoutMkLst>
            <pc:docMk/>
            <pc:sldMasterMk cId="625659656" sldId="2147483713"/>
            <pc:sldLayoutMk cId="570535864" sldId="2147483735"/>
          </pc:sldLayoutMkLst>
        </pc:sldLayoutChg>
        <pc:sldLayoutChg chg="del">
          <pc:chgData name="Yousuf, Arsalan" userId="1f742cd1-60f2-4cc5-8102-e09412e517e3" providerId="ADAL" clId="{15464559-230C-484E-9C98-D7B9D3FDBA96}" dt="2024-01-11T17:18:05.700" v="7993" actId="2696"/>
          <pc:sldLayoutMkLst>
            <pc:docMk/>
            <pc:sldMasterMk cId="625659656" sldId="2147483713"/>
            <pc:sldLayoutMk cId="2539033399" sldId="2147483736"/>
          </pc:sldLayoutMkLst>
        </pc:sldLayoutChg>
        <pc:sldLayoutChg chg="del">
          <pc:chgData name="Yousuf, Arsalan" userId="1f742cd1-60f2-4cc5-8102-e09412e517e3" providerId="ADAL" clId="{15464559-230C-484E-9C98-D7B9D3FDBA96}" dt="2024-01-11T17:18:05.707" v="7994" actId="2696"/>
          <pc:sldLayoutMkLst>
            <pc:docMk/>
            <pc:sldMasterMk cId="625659656" sldId="2147483713"/>
            <pc:sldLayoutMk cId="3214151518" sldId="2147483737"/>
          </pc:sldLayoutMkLst>
        </pc:sldLayoutChg>
        <pc:sldLayoutChg chg="del">
          <pc:chgData name="Yousuf, Arsalan" userId="1f742cd1-60f2-4cc5-8102-e09412e517e3" providerId="ADAL" clId="{15464559-230C-484E-9C98-D7B9D3FDBA96}" dt="2024-01-11T17:18:05.713" v="7995" actId="2696"/>
          <pc:sldLayoutMkLst>
            <pc:docMk/>
            <pc:sldMasterMk cId="625659656" sldId="2147483713"/>
            <pc:sldLayoutMk cId="668530779" sldId="2147483738"/>
          </pc:sldLayoutMkLst>
        </pc:sldLayoutChg>
        <pc:sldLayoutChg chg="del">
          <pc:chgData name="Yousuf, Arsalan" userId="1f742cd1-60f2-4cc5-8102-e09412e517e3" providerId="ADAL" clId="{15464559-230C-484E-9C98-D7B9D3FDBA96}" dt="2024-01-11T17:18:05.720" v="7996" actId="2696"/>
          <pc:sldLayoutMkLst>
            <pc:docMk/>
            <pc:sldMasterMk cId="625659656" sldId="2147483713"/>
            <pc:sldLayoutMk cId="39960750" sldId="2147483739"/>
          </pc:sldLayoutMkLst>
        </pc:sldLayoutChg>
        <pc:sldLayoutChg chg="del">
          <pc:chgData name="Yousuf, Arsalan" userId="1f742cd1-60f2-4cc5-8102-e09412e517e3" providerId="ADAL" clId="{15464559-230C-484E-9C98-D7B9D3FDBA96}" dt="2024-01-11T17:18:05.726" v="7997" actId="2696"/>
          <pc:sldLayoutMkLst>
            <pc:docMk/>
            <pc:sldMasterMk cId="625659656" sldId="2147483713"/>
            <pc:sldLayoutMk cId="3620218863" sldId="2147483740"/>
          </pc:sldLayoutMkLst>
        </pc:sldLayoutChg>
        <pc:sldLayoutChg chg="del">
          <pc:chgData name="Yousuf, Arsalan" userId="1f742cd1-60f2-4cc5-8102-e09412e517e3" providerId="ADAL" clId="{15464559-230C-484E-9C98-D7B9D3FDBA96}" dt="2024-01-11T17:18:05.734" v="7998" actId="2696"/>
          <pc:sldLayoutMkLst>
            <pc:docMk/>
            <pc:sldMasterMk cId="625659656" sldId="2147483713"/>
            <pc:sldLayoutMk cId="3503580216" sldId="2147483741"/>
          </pc:sldLayoutMkLst>
        </pc:sldLayoutChg>
        <pc:sldLayoutChg chg="del">
          <pc:chgData name="Yousuf, Arsalan" userId="1f742cd1-60f2-4cc5-8102-e09412e517e3" providerId="ADAL" clId="{15464559-230C-484E-9C98-D7B9D3FDBA96}" dt="2024-01-11T17:18:05.742" v="7999" actId="2696"/>
          <pc:sldLayoutMkLst>
            <pc:docMk/>
            <pc:sldMasterMk cId="625659656" sldId="2147483713"/>
            <pc:sldLayoutMk cId="4094416175" sldId="2147483742"/>
          </pc:sldLayoutMkLst>
        </pc:sldLayoutChg>
      </pc:sldMasterChg>
      <pc:sldMasterChg chg="modSp mod delSldLayout modSldLayout">
        <pc:chgData name="Yousuf, Arsalan" userId="1f742cd1-60f2-4cc5-8102-e09412e517e3" providerId="ADAL" clId="{15464559-230C-484E-9C98-D7B9D3FDBA96}" dt="2024-01-11T17:18:20.133" v="8032" actId="2696"/>
        <pc:sldMasterMkLst>
          <pc:docMk/>
          <pc:sldMasterMk cId="2690335100" sldId="2147483745"/>
        </pc:sldMasterMkLst>
        <pc:spChg chg="mod">
          <ac:chgData name="Yousuf, Arsalan" userId="1f742cd1-60f2-4cc5-8102-e09412e517e3" providerId="ADAL" clId="{15464559-230C-484E-9C98-D7B9D3FDBA96}" dt="2024-01-11T16:45:31.666" v="7821" actId="20577"/>
          <ac:spMkLst>
            <pc:docMk/>
            <pc:sldMasterMk cId="2690335100" sldId="2147483745"/>
            <ac:spMk id="83" creationId="{00000000-0000-0000-0000-000000000000}"/>
          </ac:spMkLst>
        </pc:spChg>
        <pc:sldLayoutChg chg="modSp del mod">
          <pc:chgData name="Yousuf, Arsalan" userId="1f742cd1-60f2-4cc5-8102-e09412e517e3" providerId="ADAL" clId="{15464559-230C-484E-9C98-D7B9D3FDBA96}" dt="2024-01-11T17:18:16.977" v="8000" actId="2696"/>
          <pc:sldLayoutMkLst>
            <pc:docMk/>
            <pc:sldMasterMk cId="2690335100" sldId="2147483745"/>
            <pc:sldLayoutMk cId="1271230317" sldId="2147483750"/>
          </pc:sldLayoutMkLst>
          <pc:spChg chg="mod">
            <ac:chgData name="Yousuf, Arsalan" userId="1f742cd1-60f2-4cc5-8102-e09412e517e3" providerId="ADAL" clId="{15464559-230C-484E-9C98-D7B9D3FDBA96}" dt="2024-01-11T16:45:37.822" v="7823" actId="20577"/>
            <ac:spMkLst>
              <pc:docMk/>
              <pc:sldMasterMk cId="2690335100" sldId="2147483745"/>
              <pc:sldLayoutMk cId="1271230317" sldId="2147483750"/>
              <ac:spMk id="73" creationId="{B6B2A55B-A000-4DAF-A3AE-2E539A729602}"/>
            </ac:spMkLst>
          </pc:spChg>
        </pc:sldLayoutChg>
        <pc:sldLayoutChg chg="del">
          <pc:chgData name="Yousuf, Arsalan" userId="1f742cd1-60f2-4cc5-8102-e09412e517e3" providerId="ADAL" clId="{15464559-230C-484E-9C98-D7B9D3FDBA96}" dt="2024-01-11T17:18:16.991" v="8001" actId="2696"/>
          <pc:sldLayoutMkLst>
            <pc:docMk/>
            <pc:sldMasterMk cId="2690335100" sldId="2147483745"/>
            <pc:sldLayoutMk cId="2143472289" sldId="2147483751"/>
          </pc:sldLayoutMkLst>
        </pc:sldLayoutChg>
        <pc:sldLayoutChg chg="del">
          <pc:chgData name="Yousuf, Arsalan" userId="1f742cd1-60f2-4cc5-8102-e09412e517e3" providerId="ADAL" clId="{15464559-230C-484E-9C98-D7B9D3FDBA96}" dt="2024-01-11T16:45:43.026" v="7824" actId="2696"/>
          <pc:sldLayoutMkLst>
            <pc:docMk/>
            <pc:sldMasterMk cId="2690335100" sldId="2147483745"/>
            <pc:sldLayoutMk cId="1069433573" sldId="2147483752"/>
          </pc:sldLayoutMkLst>
        </pc:sldLayoutChg>
        <pc:sldLayoutChg chg="del">
          <pc:chgData name="Yousuf, Arsalan" userId="1f742cd1-60f2-4cc5-8102-e09412e517e3" providerId="ADAL" clId="{15464559-230C-484E-9C98-D7B9D3FDBA96}" dt="2024-01-11T16:45:44.308" v="7825" actId="2696"/>
          <pc:sldLayoutMkLst>
            <pc:docMk/>
            <pc:sldMasterMk cId="2690335100" sldId="2147483745"/>
            <pc:sldLayoutMk cId="1805580164" sldId="2147483753"/>
          </pc:sldLayoutMkLst>
        </pc:sldLayoutChg>
        <pc:sldLayoutChg chg="del">
          <pc:chgData name="Yousuf, Arsalan" userId="1f742cd1-60f2-4cc5-8102-e09412e517e3" providerId="ADAL" clId="{15464559-230C-484E-9C98-D7B9D3FDBA96}" dt="2024-01-11T17:18:17" v="8002" actId="2696"/>
          <pc:sldLayoutMkLst>
            <pc:docMk/>
            <pc:sldMasterMk cId="2690335100" sldId="2147483745"/>
            <pc:sldLayoutMk cId="2206255801" sldId="2147483754"/>
          </pc:sldLayoutMkLst>
        </pc:sldLayoutChg>
        <pc:sldLayoutChg chg="del">
          <pc:chgData name="Yousuf, Arsalan" userId="1f742cd1-60f2-4cc5-8102-e09412e517e3" providerId="ADAL" clId="{15464559-230C-484E-9C98-D7B9D3FDBA96}" dt="2024-01-11T17:18:17.014" v="8003" actId="2696"/>
          <pc:sldLayoutMkLst>
            <pc:docMk/>
            <pc:sldMasterMk cId="2690335100" sldId="2147483745"/>
            <pc:sldLayoutMk cId="1479657140" sldId="2147483755"/>
          </pc:sldLayoutMkLst>
        </pc:sldLayoutChg>
        <pc:sldLayoutChg chg="del">
          <pc:chgData name="Yousuf, Arsalan" userId="1f742cd1-60f2-4cc5-8102-e09412e517e3" providerId="ADAL" clId="{15464559-230C-484E-9C98-D7B9D3FDBA96}" dt="2024-01-11T17:18:17.034" v="8004" actId="2696"/>
          <pc:sldLayoutMkLst>
            <pc:docMk/>
            <pc:sldMasterMk cId="2690335100" sldId="2147483745"/>
            <pc:sldLayoutMk cId="2139258084" sldId="2147483756"/>
          </pc:sldLayoutMkLst>
        </pc:sldLayoutChg>
        <pc:sldLayoutChg chg="del">
          <pc:chgData name="Yousuf, Arsalan" userId="1f742cd1-60f2-4cc5-8102-e09412e517e3" providerId="ADAL" clId="{15464559-230C-484E-9C98-D7B9D3FDBA96}" dt="2024-01-11T17:18:17.051" v="8005" actId="2696"/>
          <pc:sldLayoutMkLst>
            <pc:docMk/>
            <pc:sldMasterMk cId="2690335100" sldId="2147483745"/>
            <pc:sldLayoutMk cId="482628617" sldId="2147483757"/>
          </pc:sldLayoutMkLst>
        </pc:sldLayoutChg>
        <pc:sldLayoutChg chg="del">
          <pc:chgData name="Yousuf, Arsalan" userId="1f742cd1-60f2-4cc5-8102-e09412e517e3" providerId="ADAL" clId="{15464559-230C-484E-9C98-D7B9D3FDBA96}" dt="2024-01-11T17:18:17.062" v="8006" actId="2696"/>
          <pc:sldLayoutMkLst>
            <pc:docMk/>
            <pc:sldMasterMk cId="2690335100" sldId="2147483745"/>
            <pc:sldLayoutMk cId="3844724381" sldId="2147483758"/>
          </pc:sldLayoutMkLst>
        </pc:sldLayoutChg>
        <pc:sldLayoutChg chg="del">
          <pc:chgData name="Yousuf, Arsalan" userId="1f742cd1-60f2-4cc5-8102-e09412e517e3" providerId="ADAL" clId="{15464559-230C-484E-9C98-D7B9D3FDBA96}" dt="2024-01-11T17:18:17.074" v="8007" actId="2696"/>
          <pc:sldLayoutMkLst>
            <pc:docMk/>
            <pc:sldMasterMk cId="2690335100" sldId="2147483745"/>
            <pc:sldLayoutMk cId="2544824787" sldId="2147483759"/>
          </pc:sldLayoutMkLst>
        </pc:sldLayoutChg>
        <pc:sldLayoutChg chg="del">
          <pc:chgData name="Yousuf, Arsalan" userId="1f742cd1-60f2-4cc5-8102-e09412e517e3" providerId="ADAL" clId="{15464559-230C-484E-9C98-D7B9D3FDBA96}" dt="2024-01-11T17:18:17.084" v="8008" actId="2696"/>
          <pc:sldLayoutMkLst>
            <pc:docMk/>
            <pc:sldMasterMk cId="2690335100" sldId="2147483745"/>
            <pc:sldLayoutMk cId="4090590909" sldId="2147483760"/>
          </pc:sldLayoutMkLst>
        </pc:sldLayoutChg>
        <pc:sldLayoutChg chg="del">
          <pc:chgData name="Yousuf, Arsalan" userId="1f742cd1-60f2-4cc5-8102-e09412e517e3" providerId="ADAL" clId="{15464559-230C-484E-9C98-D7B9D3FDBA96}" dt="2024-01-11T17:18:17.094" v="8009" actId="2696"/>
          <pc:sldLayoutMkLst>
            <pc:docMk/>
            <pc:sldMasterMk cId="2690335100" sldId="2147483745"/>
            <pc:sldLayoutMk cId="2322967131" sldId="2147483761"/>
          </pc:sldLayoutMkLst>
        </pc:sldLayoutChg>
        <pc:sldLayoutChg chg="del">
          <pc:chgData name="Yousuf, Arsalan" userId="1f742cd1-60f2-4cc5-8102-e09412e517e3" providerId="ADAL" clId="{15464559-230C-484E-9C98-D7B9D3FDBA96}" dt="2024-01-11T17:18:17.108" v="8010" actId="2696"/>
          <pc:sldLayoutMkLst>
            <pc:docMk/>
            <pc:sldMasterMk cId="2690335100" sldId="2147483745"/>
            <pc:sldLayoutMk cId="762375468" sldId="2147483762"/>
          </pc:sldLayoutMkLst>
        </pc:sldLayoutChg>
        <pc:sldLayoutChg chg="del">
          <pc:chgData name="Yousuf, Arsalan" userId="1f742cd1-60f2-4cc5-8102-e09412e517e3" providerId="ADAL" clId="{15464559-230C-484E-9C98-D7B9D3FDBA96}" dt="2024-01-11T17:18:17.126" v="8011" actId="2696"/>
          <pc:sldLayoutMkLst>
            <pc:docMk/>
            <pc:sldMasterMk cId="2690335100" sldId="2147483745"/>
            <pc:sldLayoutMk cId="1026664684" sldId="2147483763"/>
          </pc:sldLayoutMkLst>
        </pc:sldLayoutChg>
        <pc:sldLayoutChg chg="del">
          <pc:chgData name="Yousuf, Arsalan" userId="1f742cd1-60f2-4cc5-8102-e09412e517e3" providerId="ADAL" clId="{15464559-230C-484E-9C98-D7B9D3FDBA96}" dt="2024-01-11T17:18:17.141" v="8012" actId="2696"/>
          <pc:sldLayoutMkLst>
            <pc:docMk/>
            <pc:sldMasterMk cId="2690335100" sldId="2147483745"/>
            <pc:sldLayoutMk cId="2928359178" sldId="2147483764"/>
          </pc:sldLayoutMkLst>
        </pc:sldLayoutChg>
        <pc:sldLayoutChg chg="del">
          <pc:chgData name="Yousuf, Arsalan" userId="1f742cd1-60f2-4cc5-8102-e09412e517e3" providerId="ADAL" clId="{15464559-230C-484E-9C98-D7B9D3FDBA96}" dt="2024-01-11T17:18:17.154" v="8013" actId="2696"/>
          <pc:sldLayoutMkLst>
            <pc:docMk/>
            <pc:sldMasterMk cId="2690335100" sldId="2147483745"/>
            <pc:sldLayoutMk cId="3199027369" sldId="2147483765"/>
          </pc:sldLayoutMkLst>
        </pc:sldLayoutChg>
        <pc:sldLayoutChg chg="del">
          <pc:chgData name="Yousuf, Arsalan" userId="1f742cd1-60f2-4cc5-8102-e09412e517e3" providerId="ADAL" clId="{15464559-230C-484E-9C98-D7B9D3FDBA96}" dt="2024-01-11T17:18:17.167" v="8014" actId="2696"/>
          <pc:sldLayoutMkLst>
            <pc:docMk/>
            <pc:sldMasterMk cId="2690335100" sldId="2147483745"/>
            <pc:sldLayoutMk cId="408165873" sldId="2147483766"/>
          </pc:sldLayoutMkLst>
        </pc:sldLayoutChg>
        <pc:sldLayoutChg chg="del">
          <pc:chgData name="Yousuf, Arsalan" userId="1f742cd1-60f2-4cc5-8102-e09412e517e3" providerId="ADAL" clId="{15464559-230C-484E-9C98-D7B9D3FDBA96}" dt="2024-01-11T17:18:17.183" v="8015" actId="2696"/>
          <pc:sldLayoutMkLst>
            <pc:docMk/>
            <pc:sldMasterMk cId="2690335100" sldId="2147483745"/>
            <pc:sldLayoutMk cId="327577067" sldId="2147483767"/>
          </pc:sldLayoutMkLst>
        </pc:sldLayoutChg>
        <pc:sldLayoutChg chg="del">
          <pc:chgData name="Yousuf, Arsalan" userId="1f742cd1-60f2-4cc5-8102-e09412e517e3" providerId="ADAL" clId="{15464559-230C-484E-9C98-D7B9D3FDBA96}" dt="2024-01-11T17:18:17.201" v="8016" actId="2696"/>
          <pc:sldLayoutMkLst>
            <pc:docMk/>
            <pc:sldMasterMk cId="2690335100" sldId="2147483745"/>
            <pc:sldLayoutMk cId="3305522216" sldId="2147483768"/>
          </pc:sldLayoutMkLst>
        </pc:sldLayoutChg>
        <pc:sldLayoutChg chg="del">
          <pc:chgData name="Yousuf, Arsalan" userId="1f742cd1-60f2-4cc5-8102-e09412e517e3" providerId="ADAL" clId="{15464559-230C-484E-9C98-D7B9D3FDBA96}" dt="2024-01-11T17:18:17.215" v="8017" actId="2696"/>
          <pc:sldLayoutMkLst>
            <pc:docMk/>
            <pc:sldMasterMk cId="2690335100" sldId="2147483745"/>
            <pc:sldLayoutMk cId="2273380832" sldId="2147483769"/>
          </pc:sldLayoutMkLst>
        </pc:sldLayoutChg>
        <pc:sldLayoutChg chg="del">
          <pc:chgData name="Yousuf, Arsalan" userId="1f742cd1-60f2-4cc5-8102-e09412e517e3" providerId="ADAL" clId="{15464559-230C-484E-9C98-D7B9D3FDBA96}" dt="2024-01-11T17:18:17.236" v="8018" actId="2696"/>
          <pc:sldLayoutMkLst>
            <pc:docMk/>
            <pc:sldMasterMk cId="2690335100" sldId="2147483745"/>
            <pc:sldLayoutMk cId="1843126372" sldId="2147483770"/>
          </pc:sldLayoutMkLst>
        </pc:sldLayoutChg>
        <pc:sldLayoutChg chg="del">
          <pc:chgData name="Yousuf, Arsalan" userId="1f742cd1-60f2-4cc5-8102-e09412e517e3" providerId="ADAL" clId="{15464559-230C-484E-9C98-D7B9D3FDBA96}" dt="2024-01-11T17:18:17.245" v="8019" actId="2696"/>
          <pc:sldLayoutMkLst>
            <pc:docMk/>
            <pc:sldMasterMk cId="2690335100" sldId="2147483745"/>
            <pc:sldLayoutMk cId="1659738341" sldId="2147483771"/>
          </pc:sldLayoutMkLst>
        </pc:sldLayoutChg>
        <pc:sldLayoutChg chg="del">
          <pc:chgData name="Yousuf, Arsalan" userId="1f742cd1-60f2-4cc5-8102-e09412e517e3" providerId="ADAL" clId="{15464559-230C-484E-9C98-D7B9D3FDBA96}" dt="2024-01-11T17:18:17.259" v="8020" actId="2696"/>
          <pc:sldLayoutMkLst>
            <pc:docMk/>
            <pc:sldMasterMk cId="2690335100" sldId="2147483745"/>
            <pc:sldLayoutMk cId="2047769197" sldId="2147483772"/>
          </pc:sldLayoutMkLst>
        </pc:sldLayoutChg>
        <pc:sldLayoutChg chg="del">
          <pc:chgData name="Yousuf, Arsalan" userId="1f742cd1-60f2-4cc5-8102-e09412e517e3" providerId="ADAL" clId="{15464559-230C-484E-9C98-D7B9D3FDBA96}" dt="2024-01-11T17:18:17.280" v="8021" actId="2696"/>
          <pc:sldLayoutMkLst>
            <pc:docMk/>
            <pc:sldMasterMk cId="2690335100" sldId="2147483745"/>
            <pc:sldLayoutMk cId="751094016" sldId="2147483773"/>
          </pc:sldLayoutMkLst>
        </pc:sldLayoutChg>
        <pc:sldLayoutChg chg="del">
          <pc:chgData name="Yousuf, Arsalan" userId="1f742cd1-60f2-4cc5-8102-e09412e517e3" providerId="ADAL" clId="{15464559-230C-484E-9C98-D7B9D3FDBA96}" dt="2024-01-11T17:18:17.295" v="8022" actId="2696"/>
          <pc:sldLayoutMkLst>
            <pc:docMk/>
            <pc:sldMasterMk cId="2690335100" sldId="2147483745"/>
            <pc:sldLayoutMk cId="1491998007" sldId="2147483774"/>
          </pc:sldLayoutMkLst>
        </pc:sldLayoutChg>
        <pc:sldLayoutChg chg="del">
          <pc:chgData name="Yousuf, Arsalan" userId="1f742cd1-60f2-4cc5-8102-e09412e517e3" providerId="ADAL" clId="{15464559-230C-484E-9C98-D7B9D3FDBA96}" dt="2024-01-11T17:18:17.317" v="8023" actId="2696"/>
          <pc:sldLayoutMkLst>
            <pc:docMk/>
            <pc:sldMasterMk cId="2690335100" sldId="2147483745"/>
            <pc:sldLayoutMk cId="2948623878" sldId="2147483775"/>
          </pc:sldLayoutMkLst>
        </pc:sldLayoutChg>
        <pc:sldLayoutChg chg="del">
          <pc:chgData name="Yousuf, Arsalan" userId="1f742cd1-60f2-4cc5-8102-e09412e517e3" providerId="ADAL" clId="{15464559-230C-484E-9C98-D7B9D3FDBA96}" dt="2024-01-11T17:18:17.335" v="8024" actId="2696"/>
          <pc:sldLayoutMkLst>
            <pc:docMk/>
            <pc:sldMasterMk cId="2690335100" sldId="2147483745"/>
            <pc:sldLayoutMk cId="1522759818" sldId="2147483776"/>
          </pc:sldLayoutMkLst>
        </pc:sldLayoutChg>
        <pc:sldLayoutChg chg="del">
          <pc:chgData name="Yousuf, Arsalan" userId="1f742cd1-60f2-4cc5-8102-e09412e517e3" providerId="ADAL" clId="{15464559-230C-484E-9C98-D7B9D3FDBA96}" dt="2024-01-11T17:18:17.353" v="8025" actId="2696"/>
          <pc:sldLayoutMkLst>
            <pc:docMk/>
            <pc:sldMasterMk cId="2690335100" sldId="2147483745"/>
            <pc:sldLayoutMk cId="959748810" sldId="2147483777"/>
          </pc:sldLayoutMkLst>
        </pc:sldLayoutChg>
        <pc:sldLayoutChg chg="del">
          <pc:chgData name="Yousuf, Arsalan" userId="1f742cd1-60f2-4cc5-8102-e09412e517e3" providerId="ADAL" clId="{15464559-230C-484E-9C98-D7B9D3FDBA96}" dt="2024-01-11T17:18:17.365" v="8026" actId="2696"/>
          <pc:sldLayoutMkLst>
            <pc:docMk/>
            <pc:sldMasterMk cId="2690335100" sldId="2147483745"/>
            <pc:sldLayoutMk cId="3902905737" sldId="2147483778"/>
          </pc:sldLayoutMkLst>
        </pc:sldLayoutChg>
        <pc:sldLayoutChg chg="del">
          <pc:chgData name="Yousuf, Arsalan" userId="1f742cd1-60f2-4cc5-8102-e09412e517e3" providerId="ADAL" clId="{15464559-230C-484E-9C98-D7B9D3FDBA96}" dt="2024-01-11T17:18:17.377" v="8027" actId="2696"/>
          <pc:sldLayoutMkLst>
            <pc:docMk/>
            <pc:sldMasterMk cId="2690335100" sldId="2147483745"/>
            <pc:sldLayoutMk cId="520083325" sldId="2147483779"/>
          </pc:sldLayoutMkLst>
        </pc:sldLayoutChg>
        <pc:sldLayoutChg chg="del">
          <pc:chgData name="Yousuf, Arsalan" userId="1f742cd1-60f2-4cc5-8102-e09412e517e3" providerId="ADAL" clId="{15464559-230C-484E-9C98-D7B9D3FDBA96}" dt="2024-01-11T17:18:17.383" v="8028" actId="2696"/>
          <pc:sldLayoutMkLst>
            <pc:docMk/>
            <pc:sldMasterMk cId="2690335100" sldId="2147483745"/>
            <pc:sldLayoutMk cId="1135678016" sldId="2147483780"/>
          </pc:sldLayoutMkLst>
        </pc:sldLayoutChg>
        <pc:sldLayoutChg chg="del">
          <pc:chgData name="Yousuf, Arsalan" userId="1f742cd1-60f2-4cc5-8102-e09412e517e3" providerId="ADAL" clId="{15464559-230C-484E-9C98-D7B9D3FDBA96}" dt="2024-01-11T17:18:17.397" v="8029" actId="2696"/>
          <pc:sldLayoutMkLst>
            <pc:docMk/>
            <pc:sldMasterMk cId="2690335100" sldId="2147483745"/>
            <pc:sldLayoutMk cId="2674639011" sldId="2147483781"/>
          </pc:sldLayoutMkLst>
        </pc:sldLayoutChg>
        <pc:sldLayoutChg chg="modSp del mod">
          <pc:chgData name="Yousuf, Arsalan" userId="1f742cd1-60f2-4cc5-8102-e09412e517e3" providerId="ADAL" clId="{15464559-230C-484E-9C98-D7B9D3FDBA96}" dt="2024-01-11T17:18:17.480" v="8030" actId="2696"/>
          <pc:sldLayoutMkLst>
            <pc:docMk/>
            <pc:sldMasterMk cId="2690335100" sldId="2147483745"/>
            <pc:sldLayoutMk cId="1502337471" sldId="2147483782"/>
          </pc:sldLayoutMkLst>
          <pc:spChg chg="mod">
            <ac:chgData name="Yousuf, Arsalan" userId="1f742cd1-60f2-4cc5-8102-e09412e517e3" providerId="ADAL" clId="{15464559-230C-484E-9C98-D7B9D3FDBA96}" dt="2024-01-11T16:46:53.396" v="7881" actId="1037"/>
            <ac:spMkLst>
              <pc:docMk/>
              <pc:sldMasterMk cId="2690335100" sldId="2147483745"/>
              <pc:sldLayoutMk cId="1502337471" sldId="2147483782"/>
              <ac:spMk id="29" creationId="{A2C0DA78-A9D2-4E2A-AB24-FEE0EA8A5E32}"/>
            </ac:spMkLst>
          </pc:spChg>
          <pc:spChg chg="mod">
            <ac:chgData name="Yousuf, Arsalan" userId="1f742cd1-60f2-4cc5-8102-e09412e517e3" providerId="ADAL" clId="{15464559-230C-484E-9C98-D7B9D3FDBA96}" dt="2024-01-11T16:46:53.396" v="7881" actId="1037"/>
            <ac:spMkLst>
              <pc:docMk/>
              <pc:sldMasterMk cId="2690335100" sldId="2147483745"/>
              <pc:sldLayoutMk cId="1502337471" sldId="2147483782"/>
              <ac:spMk id="30" creationId="{2A50C8F6-47B7-40F1-A6FD-C1CED8DA6D9B}"/>
            </ac:spMkLst>
          </pc:spChg>
          <pc:spChg chg="mod">
            <ac:chgData name="Yousuf, Arsalan" userId="1f742cd1-60f2-4cc5-8102-e09412e517e3" providerId="ADAL" clId="{15464559-230C-484E-9C98-D7B9D3FDBA96}" dt="2024-01-11T16:46:53.396" v="7881" actId="1037"/>
            <ac:spMkLst>
              <pc:docMk/>
              <pc:sldMasterMk cId="2690335100" sldId="2147483745"/>
              <pc:sldLayoutMk cId="1502337471" sldId="2147483782"/>
              <ac:spMk id="31" creationId="{2346FAA0-3214-43BF-A6AC-D5627B1F33DC}"/>
            </ac:spMkLst>
          </pc:spChg>
          <pc:spChg chg="mod">
            <ac:chgData name="Yousuf, Arsalan" userId="1f742cd1-60f2-4cc5-8102-e09412e517e3" providerId="ADAL" clId="{15464559-230C-484E-9C98-D7B9D3FDBA96}" dt="2024-01-11T16:46:53.396" v="7881" actId="1037"/>
            <ac:spMkLst>
              <pc:docMk/>
              <pc:sldMasterMk cId="2690335100" sldId="2147483745"/>
              <pc:sldLayoutMk cId="1502337471" sldId="2147483782"/>
              <ac:spMk id="32" creationId="{5BDD68AB-5BAC-43B7-9AA1-04BA10DDA9F9}"/>
            </ac:spMkLst>
          </pc:spChg>
          <pc:spChg chg="mod">
            <ac:chgData name="Yousuf, Arsalan" userId="1f742cd1-60f2-4cc5-8102-e09412e517e3" providerId="ADAL" clId="{15464559-230C-484E-9C98-D7B9D3FDBA96}" dt="2024-01-11T16:46:53.396" v="7881" actId="1037"/>
            <ac:spMkLst>
              <pc:docMk/>
              <pc:sldMasterMk cId="2690335100" sldId="2147483745"/>
              <pc:sldLayoutMk cId="1502337471" sldId="2147483782"/>
              <ac:spMk id="33" creationId="{03938126-BA6E-490A-B1E4-4D48DC4CA438}"/>
            </ac:spMkLst>
          </pc:spChg>
          <pc:spChg chg="mod">
            <ac:chgData name="Yousuf, Arsalan" userId="1f742cd1-60f2-4cc5-8102-e09412e517e3" providerId="ADAL" clId="{15464559-230C-484E-9C98-D7B9D3FDBA96}" dt="2024-01-11T16:46:53.396" v="7881" actId="1037"/>
            <ac:spMkLst>
              <pc:docMk/>
              <pc:sldMasterMk cId="2690335100" sldId="2147483745"/>
              <pc:sldLayoutMk cId="1502337471" sldId="2147483782"/>
              <ac:spMk id="34" creationId="{913CD895-5093-44E2-A9E6-E94247DCCFE1}"/>
            </ac:spMkLst>
          </pc:spChg>
          <pc:spChg chg="mod">
            <ac:chgData name="Yousuf, Arsalan" userId="1f742cd1-60f2-4cc5-8102-e09412e517e3" providerId="ADAL" clId="{15464559-230C-484E-9C98-D7B9D3FDBA96}" dt="2024-01-11T16:46:53.396" v="7881" actId="1037"/>
            <ac:spMkLst>
              <pc:docMk/>
              <pc:sldMasterMk cId="2690335100" sldId="2147483745"/>
              <pc:sldLayoutMk cId="1502337471" sldId="2147483782"/>
              <ac:spMk id="35" creationId="{1DFEEDF8-5FA9-4A12-B601-A8014E140655}"/>
            </ac:spMkLst>
          </pc:spChg>
          <pc:spChg chg="mod">
            <ac:chgData name="Yousuf, Arsalan" userId="1f742cd1-60f2-4cc5-8102-e09412e517e3" providerId="ADAL" clId="{15464559-230C-484E-9C98-D7B9D3FDBA96}" dt="2024-01-11T16:46:53.396" v="7881" actId="1037"/>
            <ac:spMkLst>
              <pc:docMk/>
              <pc:sldMasterMk cId="2690335100" sldId="2147483745"/>
              <pc:sldLayoutMk cId="1502337471" sldId="2147483782"/>
              <ac:spMk id="36" creationId="{49B8F881-582E-4375-B785-3EE38D6365E3}"/>
            </ac:spMkLst>
          </pc:spChg>
          <pc:spChg chg="mod">
            <ac:chgData name="Yousuf, Arsalan" userId="1f742cd1-60f2-4cc5-8102-e09412e517e3" providerId="ADAL" clId="{15464559-230C-484E-9C98-D7B9D3FDBA96}" dt="2024-01-11T16:46:53.396" v="7881" actId="1037"/>
            <ac:spMkLst>
              <pc:docMk/>
              <pc:sldMasterMk cId="2690335100" sldId="2147483745"/>
              <pc:sldLayoutMk cId="1502337471" sldId="2147483782"/>
              <ac:spMk id="37" creationId="{FB663936-7596-4134-B23E-B42594752542}"/>
            </ac:spMkLst>
          </pc:spChg>
          <pc:spChg chg="mod">
            <ac:chgData name="Yousuf, Arsalan" userId="1f742cd1-60f2-4cc5-8102-e09412e517e3" providerId="ADAL" clId="{15464559-230C-484E-9C98-D7B9D3FDBA96}" dt="2024-01-11T16:46:53.396" v="7881" actId="1037"/>
            <ac:spMkLst>
              <pc:docMk/>
              <pc:sldMasterMk cId="2690335100" sldId="2147483745"/>
              <pc:sldLayoutMk cId="1502337471" sldId="2147483782"/>
              <ac:spMk id="38" creationId="{56E00BA3-8DD2-4318-977F-9ACE8BD04368}"/>
            </ac:spMkLst>
          </pc:spChg>
          <pc:spChg chg="mod">
            <ac:chgData name="Yousuf, Arsalan" userId="1f742cd1-60f2-4cc5-8102-e09412e517e3" providerId="ADAL" clId="{15464559-230C-484E-9C98-D7B9D3FDBA96}" dt="2024-01-11T16:46:49.578" v="7871" actId="1038"/>
            <ac:spMkLst>
              <pc:docMk/>
              <pc:sldMasterMk cId="2690335100" sldId="2147483745"/>
              <pc:sldLayoutMk cId="1502337471" sldId="2147483782"/>
              <ac:spMk id="39" creationId="{07636CF0-59B6-413A-9B3F-BF1E217D8AFC}"/>
            </ac:spMkLst>
          </pc:spChg>
          <pc:spChg chg="mod">
            <ac:chgData name="Yousuf, Arsalan" userId="1f742cd1-60f2-4cc5-8102-e09412e517e3" providerId="ADAL" clId="{15464559-230C-484E-9C98-D7B9D3FDBA96}" dt="2024-01-11T16:45:57.951" v="7827" actId="20577"/>
            <ac:spMkLst>
              <pc:docMk/>
              <pc:sldMasterMk cId="2690335100" sldId="2147483745"/>
              <pc:sldLayoutMk cId="1502337471" sldId="2147483782"/>
              <ac:spMk id="40" creationId="{6B373C1C-A7A4-4604-AB8A-C67E0E0279C1}"/>
            </ac:spMkLst>
          </pc:spChg>
          <pc:grpChg chg="mod">
            <ac:chgData name="Yousuf, Arsalan" userId="1f742cd1-60f2-4cc5-8102-e09412e517e3" providerId="ADAL" clId="{15464559-230C-484E-9C98-D7B9D3FDBA96}" dt="2024-01-11T16:46:53.396" v="7881" actId="1037"/>
            <ac:grpSpMkLst>
              <pc:docMk/>
              <pc:sldMasterMk cId="2690335100" sldId="2147483745"/>
              <pc:sldLayoutMk cId="1502337471" sldId="2147483782"/>
              <ac:grpSpMk id="28" creationId="{2E928F29-341C-40B9-BD01-0CE02B1158E6}"/>
            </ac:grpSpMkLst>
          </pc:grpChg>
        </pc:sldLayoutChg>
        <pc:sldLayoutChg chg="del">
          <pc:chgData name="Yousuf, Arsalan" userId="1f742cd1-60f2-4cc5-8102-e09412e517e3" providerId="ADAL" clId="{15464559-230C-484E-9C98-D7B9D3FDBA96}" dt="2024-01-11T17:18:20.122" v="8031" actId="2696"/>
          <pc:sldLayoutMkLst>
            <pc:docMk/>
            <pc:sldMasterMk cId="2690335100" sldId="2147483745"/>
            <pc:sldLayoutMk cId="414130914" sldId="2147483783"/>
          </pc:sldLayoutMkLst>
        </pc:sldLayoutChg>
        <pc:sldLayoutChg chg="del">
          <pc:chgData name="Yousuf, Arsalan" userId="1f742cd1-60f2-4cc5-8102-e09412e517e3" providerId="ADAL" clId="{15464559-230C-484E-9C98-D7B9D3FDBA96}" dt="2024-01-11T17:18:20.133" v="8032" actId="2696"/>
          <pc:sldLayoutMkLst>
            <pc:docMk/>
            <pc:sldMasterMk cId="2690335100" sldId="2147483745"/>
            <pc:sldLayoutMk cId="58083945" sldId="2147483784"/>
          </pc:sldLayoutMkLst>
        </pc:sldLayoutChg>
      </pc:sldMasterChg>
    </pc:docChg>
  </pc:docChgLst>
  <pc:docChgLst>
    <pc:chgData name="Perretti, Ilaria" userId="aaf0d85c-e107-4cbf-8743-b9285e44fae2" providerId="ADAL" clId="{7583EF0B-CAB9-47ED-B3AB-DE1E2A432881}"/>
    <pc:docChg chg="undo custSel addSld delSld modSld sldOrd modSection">
      <pc:chgData name="Perretti, Ilaria" userId="aaf0d85c-e107-4cbf-8743-b9285e44fae2" providerId="ADAL" clId="{7583EF0B-CAB9-47ED-B3AB-DE1E2A432881}" dt="2023-12-11T05:51:59.879" v="1427" actId="20577"/>
      <pc:docMkLst>
        <pc:docMk/>
      </pc:docMkLst>
      <pc:sldChg chg="add del">
        <pc:chgData name="Perretti, Ilaria" userId="aaf0d85c-e107-4cbf-8743-b9285e44fae2" providerId="ADAL" clId="{7583EF0B-CAB9-47ED-B3AB-DE1E2A432881}" dt="2023-12-11T05:25:51.814" v="405" actId="47"/>
        <pc:sldMkLst>
          <pc:docMk/>
          <pc:sldMk cId="3727506170" sldId="2147376918"/>
        </pc:sldMkLst>
      </pc:sldChg>
      <pc:sldChg chg="modSp mod">
        <pc:chgData name="Perretti, Ilaria" userId="aaf0d85c-e107-4cbf-8743-b9285e44fae2" providerId="ADAL" clId="{7583EF0B-CAB9-47ED-B3AB-DE1E2A432881}" dt="2023-12-11T05:50:56.284" v="1401" actId="20577"/>
        <pc:sldMkLst>
          <pc:docMk/>
          <pc:sldMk cId="3715117950" sldId="2147469514"/>
        </pc:sldMkLst>
        <pc:spChg chg="mod">
          <ac:chgData name="Perretti, Ilaria" userId="aaf0d85c-e107-4cbf-8743-b9285e44fae2" providerId="ADAL" clId="{7583EF0B-CAB9-47ED-B3AB-DE1E2A432881}" dt="2023-12-11T05:50:56.284" v="1401" actId="20577"/>
          <ac:spMkLst>
            <pc:docMk/>
            <pc:sldMk cId="3715117950" sldId="2147469514"/>
            <ac:spMk id="752" creationId="{00000000-0000-0000-0000-000000000000}"/>
          </ac:spMkLst>
        </pc:spChg>
      </pc:sldChg>
      <pc:sldChg chg="del">
        <pc:chgData name="Perretti, Ilaria" userId="aaf0d85c-e107-4cbf-8743-b9285e44fae2" providerId="ADAL" clId="{7583EF0B-CAB9-47ED-B3AB-DE1E2A432881}" dt="2023-12-11T05:44:12.799" v="1079" actId="47"/>
        <pc:sldMkLst>
          <pc:docMk/>
          <pc:sldMk cId="573789204" sldId="2147472040"/>
        </pc:sldMkLst>
      </pc:sldChg>
      <pc:sldChg chg="modSp mod">
        <pc:chgData name="Perretti, Ilaria" userId="aaf0d85c-e107-4cbf-8743-b9285e44fae2" providerId="ADAL" clId="{7583EF0B-CAB9-47ED-B3AB-DE1E2A432881}" dt="2023-12-11T05:51:59.879" v="1427" actId="20577"/>
        <pc:sldMkLst>
          <pc:docMk/>
          <pc:sldMk cId="3043470878" sldId="2147472171"/>
        </pc:sldMkLst>
        <pc:spChg chg="mod">
          <ac:chgData name="Perretti, Ilaria" userId="aaf0d85c-e107-4cbf-8743-b9285e44fae2" providerId="ADAL" clId="{7583EF0B-CAB9-47ED-B3AB-DE1E2A432881}" dt="2023-12-11T05:51:59.879" v="1427" actId="20577"/>
          <ac:spMkLst>
            <pc:docMk/>
            <pc:sldMk cId="3043470878" sldId="2147472171"/>
            <ac:spMk id="20" creationId="{0F659923-B5A2-773B-12F3-35FA175E3E21}"/>
          </ac:spMkLst>
        </pc:spChg>
        <pc:graphicFrameChg chg="mod modGraphic">
          <ac:chgData name="Perretti, Ilaria" userId="aaf0d85c-e107-4cbf-8743-b9285e44fae2" providerId="ADAL" clId="{7583EF0B-CAB9-47ED-B3AB-DE1E2A432881}" dt="2023-12-11T05:43:12.133" v="1064" actId="14100"/>
          <ac:graphicFrameMkLst>
            <pc:docMk/>
            <pc:sldMk cId="3043470878" sldId="2147472171"/>
            <ac:graphicFrameMk id="4" creationId="{8F73AE33-156D-48F2-7633-0C4AB5141029}"/>
          </ac:graphicFrameMkLst>
        </pc:graphicFrameChg>
      </pc:sldChg>
      <pc:sldChg chg="modSp mod">
        <pc:chgData name="Perretti, Ilaria" userId="aaf0d85c-e107-4cbf-8743-b9285e44fae2" providerId="ADAL" clId="{7583EF0B-CAB9-47ED-B3AB-DE1E2A432881}" dt="2023-12-11T05:13:09.118" v="39" actId="20577"/>
        <pc:sldMkLst>
          <pc:docMk/>
          <pc:sldMk cId="2457903236" sldId="2147472189"/>
        </pc:sldMkLst>
        <pc:spChg chg="mod">
          <ac:chgData name="Perretti, Ilaria" userId="aaf0d85c-e107-4cbf-8743-b9285e44fae2" providerId="ADAL" clId="{7583EF0B-CAB9-47ED-B3AB-DE1E2A432881}" dt="2023-12-11T05:13:09.118" v="39" actId="20577"/>
          <ac:spMkLst>
            <pc:docMk/>
            <pc:sldMk cId="2457903236" sldId="2147472189"/>
            <ac:spMk id="10" creationId="{DB954C8E-C1B7-4154-AD04-8F98C7352546}"/>
          </ac:spMkLst>
        </pc:spChg>
        <pc:spChg chg="mod">
          <ac:chgData name="Perretti, Ilaria" userId="aaf0d85c-e107-4cbf-8743-b9285e44fae2" providerId="ADAL" clId="{7583EF0B-CAB9-47ED-B3AB-DE1E2A432881}" dt="2023-12-11T05:13:04.703" v="31" actId="20577"/>
          <ac:spMkLst>
            <pc:docMk/>
            <pc:sldMk cId="2457903236" sldId="2147472189"/>
            <ac:spMk id="14" creationId="{F10227DE-8C1F-199B-621C-AC0EA778471D}"/>
          </ac:spMkLst>
        </pc:spChg>
      </pc:sldChg>
      <pc:sldChg chg="delSp modSp mod">
        <pc:chgData name="Perretti, Ilaria" userId="aaf0d85c-e107-4cbf-8743-b9285e44fae2" providerId="ADAL" clId="{7583EF0B-CAB9-47ED-B3AB-DE1E2A432881}" dt="2023-12-11T05:47:05.118" v="1314" actId="20577"/>
        <pc:sldMkLst>
          <pc:docMk/>
          <pc:sldMk cId="1828999297" sldId="2147472197"/>
        </pc:sldMkLst>
        <pc:spChg chg="mod">
          <ac:chgData name="Perretti, Ilaria" userId="aaf0d85c-e107-4cbf-8743-b9285e44fae2" providerId="ADAL" clId="{7583EF0B-CAB9-47ED-B3AB-DE1E2A432881}" dt="2023-12-11T05:47:05.118" v="1314" actId="20577"/>
          <ac:spMkLst>
            <pc:docMk/>
            <pc:sldMk cId="1828999297" sldId="2147472197"/>
            <ac:spMk id="10" creationId="{1F7DB244-02B0-10C9-FA3B-98DF03FB98E6}"/>
          </ac:spMkLst>
        </pc:spChg>
        <pc:spChg chg="mod">
          <ac:chgData name="Perretti, Ilaria" userId="aaf0d85c-e107-4cbf-8743-b9285e44fae2" providerId="ADAL" clId="{7583EF0B-CAB9-47ED-B3AB-DE1E2A432881}" dt="2023-12-11T05:39:23.899" v="601" actId="20577"/>
          <ac:spMkLst>
            <pc:docMk/>
            <pc:sldMk cId="1828999297" sldId="2147472197"/>
            <ac:spMk id="11" creationId="{58FB33F6-3268-2CDB-B922-209AE5D174A5}"/>
          </ac:spMkLst>
        </pc:spChg>
        <pc:spChg chg="del">
          <ac:chgData name="Perretti, Ilaria" userId="aaf0d85c-e107-4cbf-8743-b9285e44fae2" providerId="ADAL" clId="{7583EF0B-CAB9-47ED-B3AB-DE1E2A432881}" dt="2023-12-11T05:36:59.090" v="570" actId="478"/>
          <ac:spMkLst>
            <pc:docMk/>
            <pc:sldMk cId="1828999297" sldId="2147472197"/>
            <ac:spMk id="12" creationId="{DFF99BF4-3D4F-3108-9504-40D8E49C040F}"/>
          </ac:spMkLst>
        </pc:spChg>
      </pc:sldChg>
      <pc:sldChg chg="modSp mod">
        <pc:chgData name="Perretti, Ilaria" userId="aaf0d85c-e107-4cbf-8743-b9285e44fae2" providerId="ADAL" clId="{7583EF0B-CAB9-47ED-B3AB-DE1E2A432881}" dt="2023-12-11T05:42:26.056" v="966" actId="313"/>
        <pc:sldMkLst>
          <pc:docMk/>
          <pc:sldMk cId="2197289722" sldId="2147472198"/>
        </pc:sldMkLst>
        <pc:spChg chg="mod">
          <ac:chgData name="Perretti, Ilaria" userId="aaf0d85c-e107-4cbf-8743-b9285e44fae2" providerId="ADAL" clId="{7583EF0B-CAB9-47ED-B3AB-DE1E2A432881}" dt="2023-12-11T05:42:20.465" v="965" actId="20577"/>
          <ac:spMkLst>
            <pc:docMk/>
            <pc:sldMk cId="2197289722" sldId="2147472198"/>
            <ac:spMk id="10" creationId="{2FE600E1-4DB7-B3F2-41A9-8C14B1EE826F}"/>
          </ac:spMkLst>
        </pc:spChg>
        <pc:spChg chg="mod">
          <ac:chgData name="Perretti, Ilaria" userId="aaf0d85c-e107-4cbf-8743-b9285e44fae2" providerId="ADAL" clId="{7583EF0B-CAB9-47ED-B3AB-DE1E2A432881}" dt="2023-12-11T05:42:26.056" v="966" actId="313"/>
          <ac:spMkLst>
            <pc:docMk/>
            <pc:sldMk cId="2197289722" sldId="2147472198"/>
            <ac:spMk id="11" creationId="{196927F8-D599-0D53-F130-21C837637033}"/>
          </ac:spMkLst>
        </pc:spChg>
      </pc:sldChg>
      <pc:sldChg chg="modSp mod">
        <pc:chgData name="Perretti, Ilaria" userId="aaf0d85c-e107-4cbf-8743-b9285e44fae2" providerId="ADAL" clId="{7583EF0B-CAB9-47ED-B3AB-DE1E2A432881}" dt="2023-12-11T05:40:12.640" v="642" actId="20577"/>
        <pc:sldMkLst>
          <pc:docMk/>
          <pc:sldMk cId="3234539576" sldId="2147472199"/>
        </pc:sldMkLst>
        <pc:spChg chg="mod">
          <ac:chgData name="Perretti, Ilaria" userId="aaf0d85c-e107-4cbf-8743-b9285e44fae2" providerId="ADAL" clId="{7583EF0B-CAB9-47ED-B3AB-DE1E2A432881}" dt="2023-12-11T05:40:07.121" v="639" actId="20577"/>
          <ac:spMkLst>
            <pc:docMk/>
            <pc:sldMk cId="3234539576" sldId="2147472199"/>
            <ac:spMk id="10" creationId="{AE4746F4-B724-2713-9FD3-C4C413941735}"/>
          </ac:spMkLst>
        </pc:spChg>
        <pc:spChg chg="mod">
          <ac:chgData name="Perretti, Ilaria" userId="aaf0d85c-e107-4cbf-8743-b9285e44fae2" providerId="ADAL" clId="{7583EF0B-CAB9-47ED-B3AB-DE1E2A432881}" dt="2023-12-11T05:40:12.640" v="642" actId="20577"/>
          <ac:spMkLst>
            <pc:docMk/>
            <pc:sldMk cId="3234539576" sldId="2147472199"/>
            <ac:spMk id="11" creationId="{393457C2-C9BC-A043-40AA-5C5E933D158C}"/>
          </ac:spMkLst>
        </pc:spChg>
      </pc:sldChg>
      <pc:sldChg chg="modSp mod">
        <pc:chgData name="Perretti, Ilaria" userId="aaf0d85c-e107-4cbf-8743-b9285e44fae2" providerId="ADAL" clId="{7583EF0B-CAB9-47ED-B3AB-DE1E2A432881}" dt="2023-12-11T05:41:08.039" v="773" actId="20577"/>
        <pc:sldMkLst>
          <pc:docMk/>
          <pc:sldMk cId="3627460361" sldId="2147472200"/>
        </pc:sldMkLst>
        <pc:spChg chg="mod">
          <ac:chgData name="Perretti, Ilaria" userId="aaf0d85c-e107-4cbf-8743-b9285e44fae2" providerId="ADAL" clId="{7583EF0B-CAB9-47ED-B3AB-DE1E2A432881}" dt="2023-12-11T05:40:37.289" v="671" actId="20577"/>
          <ac:spMkLst>
            <pc:docMk/>
            <pc:sldMk cId="3627460361" sldId="2147472200"/>
            <ac:spMk id="10" creationId="{F1526A7C-6BAB-60AC-A2A3-B86B06D5AAD6}"/>
          </ac:spMkLst>
        </pc:spChg>
        <pc:spChg chg="mod">
          <ac:chgData name="Perretti, Ilaria" userId="aaf0d85c-e107-4cbf-8743-b9285e44fae2" providerId="ADAL" clId="{7583EF0B-CAB9-47ED-B3AB-DE1E2A432881}" dt="2023-12-11T05:41:08.039" v="773" actId="20577"/>
          <ac:spMkLst>
            <pc:docMk/>
            <pc:sldMk cId="3627460361" sldId="2147472200"/>
            <ac:spMk id="11" creationId="{85F8F49E-8474-8A18-57F5-135FAD0E6B14}"/>
          </ac:spMkLst>
        </pc:spChg>
      </pc:sldChg>
      <pc:sldChg chg="modSp mod">
        <pc:chgData name="Perretti, Ilaria" userId="aaf0d85c-e107-4cbf-8743-b9285e44fae2" providerId="ADAL" clId="{7583EF0B-CAB9-47ED-B3AB-DE1E2A432881}" dt="2023-12-11T05:41:46.209" v="865" actId="20577"/>
        <pc:sldMkLst>
          <pc:docMk/>
          <pc:sldMk cId="3489560597" sldId="2147472201"/>
        </pc:sldMkLst>
        <pc:spChg chg="mod">
          <ac:chgData name="Perretti, Ilaria" userId="aaf0d85c-e107-4cbf-8743-b9285e44fae2" providerId="ADAL" clId="{7583EF0B-CAB9-47ED-B3AB-DE1E2A432881}" dt="2023-12-11T05:41:46.209" v="865" actId="20577"/>
          <ac:spMkLst>
            <pc:docMk/>
            <pc:sldMk cId="3489560597" sldId="2147472201"/>
            <ac:spMk id="10" creationId="{1C49C03B-2AED-2CE1-923A-EB37BC8916C5}"/>
          </ac:spMkLst>
        </pc:spChg>
        <pc:spChg chg="mod">
          <ac:chgData name="Perretti, Ilaria" userId="aaf0d85c-e107-4cbf-8743-b9285e44fae2" providerId="ADAL" clId="{7583EF0B-CAB9-47ED-B3AB-DE1E2A432881}" dt="2023-12-11T05:41:43.212" v="861" actId="20577"/>
          <ac:spMkLst>
            <pc:docMk/>
            <pc:sldMk cId="3489560597" sldId="2147472201"/>
            <ac:spMk id="11" creationId="{18316A99-F272-294B-2DDC-F696B1DD9C07}"/>
          </ac:spMkLst>
        </pc:spChg>
      </pc:sldChg>
      <pc:sldChg chg="delSp del mod">
        <pc:chgData name="Perretti, Ilaria" userId="aaf0d85c-e107-4cbf-8743-b9285e44fae2" providerId="ADAL" clId="{7583EF0B-CAB9-47ED-B3AB-DE1E2A432881}" dt="2023-12-11T05:13:37.156" v="41" actId="47"/>
        <pc:sldMkLst>
          <pc:docMk/>
          <pc:sldMk cId="1527260166" sldId="2147479535"/>
        </pc:sldMkLst>
        <pc:spChg chg="del">
          <ac:chgData name="Perretti, Ilaria" userId="aaf0d85c-e107-4cbf-8743-b9285e44fae2" providerId="ADAL" clId="{7583EF0B-CAB9-47ED-B3AB-DE1E2A432881}" dt="2023-12-11T05:13:35.552" v="40" actId="478"/>
          <ac:spMkLst>
            <pc:docMk/>
            <pc:sldMk cId="1527260166" sldId="2147479535"/>
            <ac:spMk id="2" creationId="{7FDFD2DD-D28A-B3A0-B2D5-5F6708FC393D}"/>
          </ac:spMkLst>
        </pc:spChg>
      </pc:sldChg>
      <pc:sldChg chg="delSp modSp mod">
        <pc:chgData name="Perretti, Ilaria" userId="aaf0d85c-e107-4cbf-8743-b9285e44fae2" providerId="ADAL" clId="{7583EF0B-CAB9-47ED-B3AB-DE1E2A432881}" dt="2023-12-11T05:51:16.333" v="1415" actId="20577"/>
        <pc:sldMkLst>
          <pc:docMk/>
          <pc:sldMk cId="3106695573" sldId="2147479536"/>
        </pc:sldMkLst>
        <pc:spChg chg="del">
          <ac:chgData name="Perretti, Ilaria" userId="aaf0d85c-e107-4cbf-8743-b9285e44fae2" providerId="ADAL" clId="{7583EF0B-CAB9-47ED-B3AB-DE1E2A432881}" dt="2023-12-11T05:27:53.604" v="471" actId="478"/>
          <ac:spMkLst>
            <pc:docMk/>
            <pc:sldMk cId="3106695573" sldId="2147479536"/>
            <ac:spMk id="15" creationId="{30DE0EDB-20FD-ADF0-7411-A3A242B2E5C2}"/>
          </ac:spMkLst>
        </pc:spChg>
        <pc:spChg chg="mod">
          <ac:chgData name="Perretti, Ilaria" userId="aaf0d85c-e107-4cbf-8743-b9285e44fae2" providerId="ADAL" clId="{7583EF0B-CAB9-47ED-B3AB-DE1E2A432881}" dt="2023-12-11T05:50:32.072" v="1387" actId="20577"/>
          <ac:spMkLst>
            <pc:docMk/>
            <pc:sldMk cId="3106695573" sldId="2147479536"/>
            <ac:spMk id="29" creationId="{B5D3DD2D-1180-C0D1-4D0C-126ECACFE470}"/>
          </ac:spMkLst>
        </pc:spChg>
        <pc:spChg chg="del">
          <ac:chgData name="Perretti, Ilaria" userId="aaf0d85c-e107-4cbf-8743-b9285e44fae2" providerId="ADAL" clId="{7583EF0B-CAB9-47ED-B3AB-DE1E2A432881}" dt="2023-12-11T05:50:34.390" v="1388" actId="478"/>
          <ac:spMkLst>
            <pc:docMk/>
            <pc:sldMk cId="3106695573" sldId="2147479536"/>
            <ac:spMk id="30" creationId="{E5259E7E-EE27-EDC7-B3AE-817C959B6C77}"/>
          </ac:spMkLst>
        </pc:spChg>
        <pc:spChg chg="mod">
          <ac:chgData name="Perretti, Ilaria" userId="aaf0d85c-e107-4cbf-8743-b9285e44fae2" providerId="ADAL" clId="{7583EF0B-CAB9-47ED-B3AB-DE1E2A432881}" dt="2023-12-11T05:50:37.370" v="1389" actId="1076"/>
          <ac:spMkLst>
            <pc:docMk/>
            <pc:sldMk cId="3106695573" sldId="2147479536"/>
            <ac:spMk id="33" creationId="{228F53B1-FF0D-71E1-002C-C3E81070C97F}"/>
          </ac:spMkLst>
        </pc:spChg>
        <pc:spChg chg="mod">
          <ac:chgData name="Perretti, Ilaria" userId="aaf0d85c-e107-4cbf-8743-b9285e44fae2" providerId="ADAL" clId="{7583EF0B-CAB9-47ED-B3AB-DE1E2A432881}" dt="2023-12-11T05:49:20.021" v="1349" actId="20577"/>
          <ac:spMkLst>
            <pc:docMk/>
            <pc:sldMk cId="3106695573" sldId="2147479536"/>
            <ac:spMk id="54" creationId="{4D4282BB-E346-FA83-1086-E576B24615BB}"/>
          </ac:spMkLst>
        </pc:spChg>
        <pc:spChg chg="mod">
          <ac:chgData name="Perretti, Ilaria" userId="aaf0d85c-e107-4cbf-8743-b9285e44fae2" providerId="ADAL" clId="{7583EF0B-CAB9-47ED-B3AB-DE1E2A432881}" dt="2023-12-11T05:30:35.707" v="528" actId="14100"/>
          <ac:spMkLst>
            <pc:docMk/>
            <pc:sldMk cId="3106695573" sldId="2147479536"/>
            <ac:spMk id="62" creationId="{A38C9148-6E4D-599B-4D15-39DB09BC144F}"/>
          </ac:spMkLst>
        </pc:spChg>
        <pc:spChg chg="mod">
          <ac:chgData name="Perretti, Ilaria" userId="aaf0d85c-e107-4cbf-8743-b9285e44fae2" providerId="ADAL" clId="{7583EF0B-CAB9-47ED-B3AB-DE1E2A432881}" dt="2023-12-11T05:30:48.167" v="543" actId="20577"/>
          <ac:spMkLst>
            <pc:docMk/>
            <pc:sldMk cId="3106695573" sldId="2147479536"/>
            <ac:spMk id="63" creationId="{748D6C60-899C-FB67-490D-49FCDF61C863}"/>
          </ac:spMkLst>
        </pc:spChg>
        <pc:spChg chg="mod">
          <ac:chgData name="Perretti, Ilaria" userId="aaf0d85c-e107-4cbf-8743-b9285e44fae2" providerId="ADAL" clId="{7583EF0B-CAB9-47ED-B3AB-DE1E2A432881}" dt="2023-12-11T05:31:02.950" v="556" actId="20577"/>
          <ac:spMkLst>
            <pc:docMk/>
            <pc:sldMk cId="3106695573" sldId="2147479536"/>
            <ac:spMk id="64" creationId="{43044D3B-5E2F-B177-0B8C-3B9A407D0A40}"/>
          </ac:spMkLst>
        </pc:spChg>
        <pc:spChg chg="mod">
          <ac:chgData name="Perretti, Ilaria" userId="aaf0d85c-e107-4cbf-8743-b9285e44fae2" providerId="ADAL" clId="{7583EF0B-CAB9-47ED-B3AB-DE1E2A432881}" dt="2023-12-11T05:51:16.333" v="1415" actId="20577"/>
          <ac:spMkLst>
            <pc:docMk/>
            <pc:sldMk cId="3106695573" sldId="2147479536"/>
            <ac:spMk id="65" creationId="{366963D1-B1C5-4ADE-A086-1A121A2FF2A2}"/>
          </ac:spMkLst>
        </pc:spChg>
        <pc:spChg chg="mod">
          <ac:chgData name="Perretti, Ilaria" userId="aaf0d85c-e107-4cbf-8743-b9285e44fae2" providerId="ADAL" clId="{7583EF0B-CAB9-47ED-B3AB-DE1E2A432881}" dt="2023-12-11T05:31:18.265" v="569" actId="14100"/>
          <ac:spMkLst>
            <pc:docMk/>
            <pc:sldMk cId="3106695573" sldId="2147479536"/>
            <ac:spMk id="66" creationId="{3FC5B420-FEA6-023D-EDA7-3DF3A6B3E701}"/>
          </ac:spMkLst>
        </pc:spChg>
        <pc:spChg chg="mod">
          <ac:chgData name="Perretti, Ilaria" userId="aaf0d85c-e107-4cbf-8743-b9285e44fae2" providerId="ADAL" clId="{7583EF0B-CAB9-47ED-B3AB-DE1E2A432881}" dt="2023-12-11T05:30:03.937" v="493" actId="1076"/>
          <ac:spMkLst>
            <pc:docMk/>
            <pc:sldMk cId="3106695573" sldId="2147479536"/>
            <ac:spMk id="67" creationId="{971D6624-A458-FAC2-761C-35855E2DB2D0}"/>
          </ac:spMkLst>
        </pc:spChg>
      </pc:sldChg>
      <pc:sldChg chg="addSp delSp modSp add mod ord">
        <pc:chgData name="Perretti, Ilaria" userId="aaf0d85c-e107-4cbf-8743-b9285e44fae2" providerId="ADAL" clId="{7583EF0B-CAB9-47ED-B3AB-DE1E2A432881}" dt="2023-12-11T05:49:55.556" v="1375" actId="20577"/>
        <pc:sldMkLst>
          <pc:docMk/>
          <pc:sldMk cId="2611364876" sldId="2147479537"/>
        </pc:sldMkLst>
        <pc:spChg chg="del">
          <ac:chgData name="Perretti, Ilaria" userId="aaf0d85c-e107-4cbf-8743-b9285e44fae2" providerId="ADAL" clId="{7583EF0B-CAB9-47ED-B3AB-DE1E2A432881}" dt="2023-12-11T05:17:23.565" v="67" actId="478"/>
          <ac:spMkLst>
            <pc:docMk/>
            <pc:sldMk cId="2611364876" sldId="2147479537"/>
            <ac:spMk id="2" creationId="{AE53B573-DB98-C420-EF5F-6BBC984B1B4B}"/>
          </ac:spMkLst>
        </pc:spChg>
        <pc:spChg chg="del">
          <ac:chgData name="Perretti, Ilaria" userId="aaf0d85c-e107-4cbf-8743-b9285e44fae2" providerId="ADAL" clId="{7583EF0B-CAB9-47ED-B3AB-DE1E2A432881}" dt="2023-12-11T05:17:08.620" v="60" actId="478"/>
          <ac:spMkLst>
            <pc:docMk/>
            <pc:sldMk cId="2611364876" sldId="2147479537"/>
            <ac:spMk id="3" creationId="{9EC3FBF7-51C7-B400-4F1C-DA8B9D55A141}"/>
          </ac:spMkLst>
        </pc:spChg>
        <pc:spChg chg="add del mod">
          <ac:chgData name="Perretti, Ilaria" userId="aaf0d85c-e107-4cbf-8743-b9285e44fae2" providerId="ADAL" clId="{7583EF0B-CAB9-47ED-B3AB-DE1E2A432881}" dt="2023-12-11T05:18:07.453" v="78" actId="478"/>
          <ac:spMkLst>
            <pc:docMk/>
            <pc:sldMk cId="2611364876" sldId="2147479537"/>
            <ac:spMk id="4" creationId="{33263A45-3BF0-D42B-D4D1-22246D451E2E}"/>
          </ac:spMkLst>
        </pc:spChg>
        <pc:spChg chg="del">
          <ac:chgData name="Perretti, Ilaria" userId="aaf0d85c-e107-4cbf-8743-b9285e44fae2" providerId="ADAL" clId="{7583EF0B-CAB9-47ED-B3AB-DE1E2A432881}" dt="2023-12-11T05:17:23.565" v="67" actId="478"/>
          <ac:spMkLst>
            <pc:docMk/>
            <pc:sldMk cId="2611364876" sldId="2147479537"/>
            <ac:spMk id="5" creationId="{29037C52-4401-1A00-DBA4-F5AD4646B601}"/>
          </ac:spMkLst>
        </pc:spChg>
        <pc:spChg chg="del">
          <ac:chgData name="Perretti, Ilaria" userId="aaf0d85c-e107-4cbf-8743-b9285e44fae2" providerId="ADAL" clId="{7583EF0B-CAB9-47ED-B3AB-DE1E2A432881}" dt="2023-12-11T05:17:23.565" v="67" actId="478"/>
          <ac:spMkLst>
            <pc:docMk/>
            <pc:sldMk cId="2611364876" sldId="2147479537"/>
            <ac:spMk id="6" creationId="{450E4877-A8EF-0BB7-8210-C713B00456A1}"/>
          </ac:spMkLst>
        </pc:spChg>
        <pc:spChg chg="del">
          <ac:chgData name="Perretti, Ilaria" userId="aaf0d85c-e107-4cbf-8743-b9285e44fae2" providerId="ADAL" clId="{7583EF0B-CAB9-47ED-B3AB-DE1E2A432881}" dt="2023-12-11T05:17:23.565" v="67" actId="478"/>
          <ac:spMkLst>
            <pc:docMk/>
            <pc:sldMk cId="2611364876" sldId="2147479537"/>
            <ac:spMk id="7" creationId="{44F47D46-64FE-0A30-0075-D7183FD9D86B}"/>
          </ac:spMkLst>
        </pc:spChg>
        <pc:spChg chg="add del mod">
          <ac:chgData name="Perretti, Ilaria" userId="aaf0d85c-e107-4cbf-8743-b9285e44fae2" providerId="ADAL" clId="{7583EF0B-CAB9-47ED-B3AB-DE1E2A432881}" dt="2023-12-11T05:18:40.838" v="87" actId="478"/>
          <ac:spMkLst>
            <pc:docMk/>
            <pc:sldMk cId="2611364876" sldId="2147479537"/>
            <ac:spMk id="8" creationId="{D697D1FE-FD9C-36D8-01FC-D66B19986298}"/>
          </ac:spMkLst>
        </pc:spChg>
        <pc:spChg chg="add mod">
          <ac:chgData name="Perretti, Ilaria" userId="aaf0d85c-e107-4cbf-8743-b9285e44fae2" providerId="ADAL" clId="{7583EF0B-CAB9-47ED-B3AB-DE1E2A432881}" dt="2023-12-11T05:18:21.467" v="81" actId="554"/>
          <ac:spMkLst>
            <pc:docMk/>
            <pc:sldMk cId="2611364876" sldId="2147479537"/>
            <ac:spMk id="9" creationId="{098CBBE5-A434-D9AD-8F29-09051A5B2830}"/>
          </ac:spMkLst>
        </pc:spChg>
        <pc:spChg chg="add mod">
          <ac:chgData name="Perretti, Ilaria" userId="aaf0d85c-e107-4cbf-8743-b9285e44fae2" providerId="ADAL" clId="{7583EF0B-CAB9-47ED-B3AB-DE1E2A432881}" dt="2023-12-11T05:18:21.467" v="81" actId="554"/>
          <ac:spMkLst>
            <pc:docMk/>
            <pc:sldMk cId="2611364876" sldId="2147479537"/>
            <ac:spMk id="10" creationId="{FE1E8723-D046-57EA-F628-141ECB7807D5}"/>
          </ac:spMkLst>
        </pc:spChg>
        <pc:spChg chg="add del mod">
          <ac:chgData name="Perretti, Ilaria" userId="aaf0d85c-e107-4cbf-8743-b9285e44fae2" providerId="ADAL" clId="{7583EF0B-CAB9-47ED-B3AB-DE1E2A432881}" dt="2023-12-11T05:19:15.867" v="92" actId="478"/>
          <ac:spMkLst>
            <pc:docMk/>
            <pc:sldMk cId="2611364876" sldId="2147479537"/>
            <ac:spMk id="11" creationId="{07AC7120-45E8-BC30-52B9-B762894B0EED}"/>
          </ac:spMkLst>
        </pc:spChg>
        <pc:spChg chg="add mod">
          <ac:chgData name="Perretti, Ilaria" userId="aaf0d85c-e107-4cbf-8743-b9285e44fae2" providerId="ADAL" clId="{7583EF0B-CAB9-47ED-B3AB-DE1E2A432881}" dt="2023-12-11T05:24:31.083" v="307" actId="1076"/>
          <ac:spMkLst>
            <pc:docMk/>
            <pc:sldMk cId="2611364876" sldId="2147479537"/>
            <ac:spMk id="12" creationId="{2352CAFB-E0C3-101A-E924-5A2D9C0D65AC}"/>
          </ac:spMkLst>
        </pc:spChg>
        <pc:spChg chg="del">
          <ac:chgData name="Perretti, Ilaria" userId="aaf0d85c-e107-4cbf-8743-b9285e44fae2" providerId="ADAL" clId="{7583EF0B-CAB9-47ED-B3AB-DE1E2A432881}" dt="2023-12-11T05:17:23.565" v="67" actId="478"/>
          <ac:spMkLst>
            <pc:docMk/>
            <pc:sldMk cId="2611364876" sldId="2147479537"/>
            <ac:spMk id="18" creationId="{D8954D76-65F7-ED57-5FC1-5A81A90CA6FA}"/>
          </ac:spMkLst>
        </pc:spChg>
        <pc:spChg chg="del">
          <ac:chgData name="Perretti, Ilaria" userId="aaf0d85c-e107-4cbf-8743-b9285e44fae2" providerId="ADAL" clId="{7583EF0B-CAB9-47ED-B3AB-DE1E2A432881}" dt="2023-12-11T05:17:23.565" v="67" actId="478"/>
          <ac:spMkLst>
            <pc:docMk/>
            <pc:sldMk cId="2611364876" sldId="2147479537"/>
            <ac:spMk id="20" creationId="{9A23DFC5-7454-57BE-8B56-8A01CBB1D97E}"/>
          </ac:spMkLst>
        </pc:spChg>
        <pc:spChg chg="del">
          <ac:chgData name="Perretti, Ilaria" userId="aaf0d85c-e107-4cbf-8743-b9285e44fae2" providerId="ADAL" clId="{7583EF0B-CAB9-47ED-B3AB-DE1E2A432881}" dt="2023-12-11T05:17:23.565" v="67" actId="478"/>
          <ac:spMkLst>
            <pc:docMk/>
            <pc:sldMk cId="2611364876" sldId="2147479537"/>
            <ac:spMk id="21" creationId="{FDB18CAD-2E16-3ED7-CF8F-05C1D17DEE45}"/>
          </ac:spMkLst>
        </pc:spChg>
        <pc:spChg chg="del">
          <ac:chgData name="Perretti, Ilaria" userId="aaf0d85c-e107-4cbf-8743-b9285e44fae2" providerId="ADAL" clId="{7583EF0B-CAB9-47ED-B3AB-DE1E2A432881}" dt="2023-12-11T05:17:23.565" v="67" actId="478"/>
          <ac:spMkLst>
            <pc:docMk/>
            <pc:sldMk cId="2611364876" sldId="2147479537"/>
            <ac:spMk id="22" creationId="{149C1146-FFBE-D31A-ACA3-F678BB585A01}"/>
          </ac:spMkLst>
        </pc:spChg>
        <pc:spChg chg="del">
          <ac:chgData name="Perretti, Ilaria" userId="aaf0d85c-e107-4cbf-8743-b9285e44fae2" providerId="ADAL" clId="{7583EF0B-CAB9-47ED-B3AB-DE1E2A432881}" dt="2023-12-11T05:17:23.565" v="67" actId="478"/>
          <ac:spMkLst>
            <pc:docMk/>
            <pc:sldMk cId="2611364876" sldId="2147479537"/>
            <ac:spMk id="23" creationId="{B98C5200-7AB5-1B2C-422B-331E03AC52B1}"/>
          </ac:spMkLst>
        </pc:spChg>
        <pc:spChg chg="mod">
          <ac:chgData name="Perretti, Ilaria" userId="aaf0d85c-e107-4cbf-8743-b9285e44fae2" providerId="ADAL" clId="{7583EF0B-CAB9-47ED-B3AB-DE1E2A432881}" dt="2023-12-11T05:20:28.268" v="108" actId="20577"/>
          <ac:spMkLst>
            <pc:docMk/>
            <pc:sldMk cId="2611364876" sldId="2147479537"/>
            <ac:spMk id="24" creationId="{00D0B51A-D405-5F27-CDA1-36A3907834D9}"/>
          </ac:spMkLst>
        </pc:spChg>
        <pc:spChg chg="del">
          <ac:chgData name="Perretti, Ilaria" userId="aaf0d85c-e107-4cbf-8743-b9285e44fae2" providerId="ADAL" clId="{7583EF0B-CAB9-47ED-B3AB-DE1E2A432881}" dt="2023-12-11T05:17:23.565" v="67" actId="478"/>
          <ac:spMkLst>
            <pc:docMk/>
            <pc:sldMk cId="2611364876" sldId="2147479537"/>
            <ac:spMk id="25" creationId="{EF013B84-B144-E1DD-25E5-768B988966C4}"/>
          </ac:spMkLst>
        </pc:spChg>
        <pc:spChg chg="mod">
          <ac:chgData name="Perretti, Ilaria" userId="aaf0d85c-e107-4cbf-8743-b9285e44fae2" providerId="ADAL" clId="{7583EF0B-CAB9-47ED-B3AB-DE1E2A432881}" dt="2023-12-11T05:19:16.360" v="93"/>
          <ac:spMkLst>
            <pc:docMk/>
            <pc:sldMk cId="2611364876" sldId="2147479537"/>
            <ac:spMk id="26" creationId="{DD0BA5B2-B0EC-12E7-609D-49289AF746F5}"/>
          </ac:spMkLst>
        </pc:spChg>
        <pc:spChg chg="mod">
          <ac:chgData name="Perretti, Ilaria" userId="aaf0d85c-e107-4cbf-8743-b9285e44fae2" providerId="ADAL" clId="{7583EF0B-CAB9-47ED-B3AB-DE1E2A432881}" dt="2023-12-11T05:19:16.360" v="93"/>
          <ac:spMkLst>
            <pc:docMk/>
            <pc:sldMk cId="2611364876" sldId="2147479537"/>
            <ac:spMk id="27" creationId="{00C023C9-53B4-5696-E23A-C86824B0D008}"/>
          </ac:spMkLst>
        </pc:spChg>
        <pc:spChg chg="mod">
          <ac:chgData name="Perretti, Ilaria" userId="aaf0d85c-e107-4cbf-8743-b9285e44fae2" providerId="ADAL" clId="{7583EF0B-CAB9-47ED-B3AB-DE1E2A432881}" dt="2023-12-11T05:19:16.360" v="93"/>
          <ac:spMkLst>
            <pc:docMk/>
            <pc:sldMk cId="2611364876" sldId="2147479537"/>
            <ac:spMk id="28" creationId="{5BB5D10B-9884-DEDB-62B0-8D3F93E131D7}"/>
          </ac:spMkLst>
        </pc:spChg>
        <pc:spChg chg="mod">
          <ac:chgData name="Perretti, Ilaria" userId="aaf0d85c-e107-4cbf-8743-b9285e44fae2" providerId="ADAL" clId="{7583EF0B-CAB9-47ED-B3AB-DE1E2A432881}" dt="2023-12-11T05:19:16.360" v="93"/>
          <ac:spMkLst>
            <pc:docMk/>
            <pc:sldMk cId="2611364876" sldId="2147479537"/>
            <ac:spMk id="29" creationId="{11E017C6-773C-A823-8E28-86B285EFC804}"/>
          </ac:spMkLst>
        </pc:spChg>
        <pc:spChg chg="mod">
          <ac:chgData name="Perretti, Ilaria" userId="aaf0d85c-e107-4cbf-8743-b9285e44fae2" providerId="ADAL" clId="{7583EF0B-CAB9-47ED-B3AB-DE1E2A432881}" dt="2023-12-11T05:19:16.360" v="93"/>
          <ac:spMkLst>
            <pc:docMk/>
            <pc:sldMk cId="2611364876" sldId="2147479537"/>
            <ac:spMk id="30" creationId="{3DE7E71D-F6FF-3EFB-D41A-5C640517EBB0}"/>
          </ac:spMkLst>
        </pc:spChg>
        <pc:spChg chg="mod">
          <ac:chgData name="Perretti, Ilaria" userId="aaf0d85c-e107-4cbf-8743-b9285e44fae2" providerId="ADAL" clId="{7583EF0B-CAB9-47ED-B3AB-DE1E2A432881}" dt="2023-12-11T05:19:16.360" v="93"/>
          <ac:spMkLst>
            <pc:docMk/>
            <pc:sldMk cId="2611364876" sldId="2147479537"/>
            <ac:spMk id="31" creationId="{24C3750E-CEE6-2F26-3B5A-903AB9310A76}"/>
          </ac:spMkLst>
        </pc:spChg>
        <pc:spChg chg="mod">
          <ac:chgData name="Perretti, Ilaria" userId="aaf0d85c-e107-4cbf-8743-b9285e44fae2" providerId="ADAL" clId="{7583EF0B-CAB9-47ED-B3AB-DE1E2A432881}" dt="2023-12-11T05:19:16.360" v="93"/>
          <ac:spMkLst>
            <pc:docMk/>
            <pc:sldMk cId="2611364876" sldId="2147479537"/>
            <ac:spMk id="32" creationId="{D040C99E-35F1-9688-074F-E487C0CCA9EE}"/>
          </ac:spMkLst>
        </pc:spChg>
        <pc:spChg chg="mod">
          <ac:chgData name="Perretti, Ilaria" userId="aaf0d85c-e107-4cbf-8743-b9285e44fae2" providerId="ADAL" clId="{7583EF0B-CAB9-47ED-B3AB-DE1E2A432881}" dt="2023-12-11T05:19:16.360" v="93"/>
          <ac:spMkLst>
            <pc:docMk/>
            <pc:sldMk cId="2611364876" sldId="2147479537"/>
            <ac:spMk id="33" creationId="{9B4883D5-3833-7DC1-081B-5CBE6307E0AC}"/>
          </ac:spMkLst>
        </pc:spChg>
        <pc:spChg chg="mod">
          <ac:chgData name="Perretti, Ilaria" userId="aaf0d85c-e107-4cbf-8743-b9285e44fae2" providerId="ADAL" clId="{7583EF0B-CAB9-47ED-B3AB-DE1E2A432881}" dt="2023-12-11T05:19:16.360" v="93"/>
          <ac:spMkLst>
            <pc:docMk/>
            <pc:sldMk cId="2611364876" sldId="2147479537"/>
            <ac:spMk id="34" creationId="{869F5EB9-4F1D-D794-619F-69A9A83E42E7}"/>
          </ac:spMkLst>
        </pc:spChg>
        <pc:spChg chg="mod">
          <ac:chgData name="Perretti, Ilaria" userId="aaf0d85c-e107-4cbf-8743-b9285e44fae2" providerId="ADAL" clId="{7583EF0B-CAB9-47ED-B3AB-DE1E2A432881}" dt="2023-12-11T05:20:03.902" v="101"/>
          <ac:spMkLst>
            <pc:docMk/>
            <pc:sldMk cId="2611364876" sldId="2147479537"/>
            <ac:spMk id="39" creationId="{20BD14AC-C120-D691-18F1-DE0738FD3516}"/>
          </ac:spMkLst>
        </pc:spChg>
        <pc:spChg chg="mod">
          <ac:chgData name="Perretti, Ilaria" userId="aaf0d85c-e107-4cbf-8743-b9285e44fae2" providerId="ADAL" clId="{7583EF0B-CAB9-47ED-B3AB-DE1E2A432881}" dt="2023-12-11T05:20:03.902" v="101"/>
          <ac:spMkLst>
            <pc:docMk/>
            <pc:sldMk cId="2611364876" sldId="2147479537"/>
            <ac:spMk id="40" creationId="{A3314E70-EEDC-5C5C-9E54-C5DC42502301}"/>
          </ac:spMkLst>
        </pc:spChg>
        <pc:spChg chg="mod">
          <ac:chgData name="Perretti, Ilaria" userId="aaf0d85c-e107-4cbf-8743-b9285e44fae2" providerId="ADAL" clId="{7583EF0B-CAB9-47ED-B3AB-DE1E2A432881}" dt="2023-12-11T05:20:03.902" v="101"/>
          <ac:spMkLst>
            <pc:docMk/>
            <pc:sldMk cId="2611364876" sldId="2147479537"/>
            <ac:spMk id="41" creationId="{C62483E5-4BAD-2038-A26F-5040633F5366}"/>
          </ac:spMkLst>
        </pc:spChg>
        <pc:spChg chg="mod">
          <ac:chgData name="Perretti, Ilaria" userId="aaf0d85c-e107-4cbf-8743-b9285e44fae2" providerId="ADAL" clId="{7583EF0B-CAB9-47ED-B3AB-DE1E2A432881}" dt="2023-12-11T05:20:03.902" v="101"/>
          <ac:spMkLst>
            <pc:docMk/>
            <pc:sldMk cId="2611364876" sldId="2147479537"/>
            <ac:spMk id="42" creationId="{0ADBCBF3-8ECC-AE3A-AD9E-3CECA30C2F09}"/>
          </ac:spMkLst>
        </pc:spChg>
        <pc:spChg chg="mod">
          <ac:chgData name="Perretti, Ilaria" userId="aaf0d85c-e107-4cbf-8743-b9285e44fae2" providerId="ADAL" clId="{7583EF0B-CAB9-47ED-B3AB-DE1E2A432881}" dt="2023-12-11T05:20:03.902" v="101"/>
          <ac:spMkLst>
            <pc:docMk/>
            <pc:sldMk cId="2611364876" sldId="2147479537"/>
            <ac:spMk id="43" creationId="{8880F6BE-4D5E-5644-0C4E-79B0B61F107A}"/>
          </ac:spMkLst>
        </pc:spChg>
        <pc:spChg chg="mod">
          <ac:chgData name="Perretti, Ilaria" userId="aaf0d85c-e107-4cbf-8743-b9285e44fae2" providerId="ADAL" clId="{7583EF0B-CAB9-47ED-B3AB-DE1E2A432881}" dt="2023-12-11T05:20:03.902" v="101"/>
          <ac:spMkLst>
            <pc:docMk/>
            <pc:sldMk cId="2611364876" sldId="2147479537"/>
            <ac:spMk id="44" creationId="{8C4F761C-C404-032F-8E10-503AAD511B7E}"/>
          </ac:spMkLst>
        </pc:spChg>
        <pc:spChg chg="mod">
          <ac:chgData name="Perretti, Ilaria" userId="aaf0d85c-e107-4cbf-8743-b9285e44fae2" providerId="ADAL" clId="{7583EF0B-CAB9-47ED-B3AB-DE1E2A432881}" dt="2023-12-11T05:20:03.902" v="101"/>
          <ac:spMkLst>
            <pc:docMk/>
            <pc:sldMk cId="2611364876" sldId="2147479537"/>
            <ac:spMk id="45" creationId="{C8460317-682F-AFAA-3017-508C94B67D74}"/>
          </ac:spMkLst>
        </pc:spChg>
        <pc:spChg chg="mod">
          <ac:chgData name="Perretti, Ilaria" userId="aaf0d85c-e107-4cbf-8743-b9285e44fae2" providerId="ADAL" clId="{7583EF0B-CAB9-47ED-B3AB-DE1E2A432881}" dt="2023-12-11T05:20:03.902" v="101"/>
          <ac:spMkLst>
            <pc:docMk/>
            <pc:sldMk cId="2611364876" sldId="2147479537"/>
            <ac:spMk id="46" creationId="{36582554-08F3-08BA-6020-9E187108CD43}"/>
          </ac:spMkLst>
        </pc:spChg>
        <pc:spChg chg="mod">
          <ac:chgData name="Perretti, Ilaria" userId="aaf0d85c-e107-4cbf-8743-b9285e44fae2" providerId="ADAL" clId="{7583EF0B-CAB9-47ED-B3AB-DE1E2A432881}" dt="2023-12-11T05:20:03.902" v="101"/>
          <ac:spMkLst>
            <pc:docMk/>
            <pc:sldMk cId="2611364876" sldId="2147479537"/>
            <ac:spMk id="47" creationId="{86190CAE-A997-2464-B9E2-49DDBC4F244B}"/>
          </ac:spMkLst>
        </pc:spChg>
        <pc:spChg chg="mod">
          <ac:chgData name="Perretti, Ilaria" userId="aaf0d85c-e107-4cbf-8743-b9285e44fae2" providerId="ADAL" clId="{7583EF0B-CAB9-47ED-B3AB-DE1E2A432881}" dt="2023-12-11T05:20:08.471" v="103"/>
          <ac:spMkLst>
            <pc:docMk/>
            <pc:sldMk cId="2611364876" sldId="2147479537"/>
            <ac:spMk id="52" creationId="{99D4B742-F529-A0BB-339D-52119F979BBD}"/>
          </ac:spMkLst>
        </pc:spChg>
        <pc:spChg chg="mod">
          <ac:chgData name="Perretti, Ilaria" userId="aaf0d85c-e107-4cbf-8743-b9285e44fae2" providerId="ADAL" clId="{7583EF0B-CAB9-47ED-B3AB-DE1E2A432881}" dt="2023-12-11T05:20:08.471" v="103"/>
          <ac:spMkLst>
            <pc:docMk/>
            <pc:sldMk cId="2611364876" sldId="2147479537"/>
            <ac:spMk id="53" creationId="{EE86086D-7900-7496-DED1-4C347EBD18E7}"/>
          </ac:spMkLst>
        </pc:spChg>
        <pc:spChg chg="mod">
          <ac:chgData name="Perretti, Ilaria" userId="aaf0d85c-e107-4cbf-8743-b9285e44fae2" providerId="ADAL" clId="{7583EF0B-CAB9-47ED-B3AB-DE1E2A432881}" dt="2023-12-11T05:20:08.471" v="103"/>
          <ac:spMkLst>
            <pc:docMk/>
            <pc:sldMk cId="2611364876" sldId="2147479537"/>
            <ac:spMk id="54" creationId="{7F6049DA-5CCB-9B96-D6D5-33302FBC07FC}"/>
          </ac:spMkLst>
        </pc:spChg>
        <pc:spChg chg="mod">
          <ac:chgData name="Perretti, Ilaria" userId="aaf0d85c-e107-4cbf-8743-b9285e44fae2" providerId="ADAL" clId="{7583EF0B-CAB9-47ED-B3AB-DE1E2A432881}" dt="2023-12-11T05:20:08.471" v="103"/>
          <ac:spMkLst>
            <pc:docMk/>
            <pc:sldMk cId="2611364876" sldId="2147479537"/>
            <ac:spMk id="55" creationId="{7C3814B0-BA2D-9535-3667-D379B71978D0}"/>
          </ac:spMkLst>
        </pc:spChg>
        <pc:spChg chg="mod">
          <ac:chgData name="Perretti, Ilaria" userId="aaf0d85c-e107-4cbf-8743-b9285e44fae2" providerId="ADAL" clId="{7583EF0B-CAB9-47ED-B3AB-DE1E2A432881}" dt="2023-12-11T05:20:08.471" v="103"/>
          <ac:spMkLst>
            <pc:docMk/>
            <pc:sldMk cId="2611364876" sldId="2147479537"/>
            <ac:spMk id="56" creationId="{1DFE9D19-9BB1-3385-1ED5-DC91195485AE}"/>
          </ac:spMkLst>
        </pc:spChg>
        <pc:spChg chg="mod">
          <ac:chgData name="Perretti, Ilaria" userId="aaf0d85c-e107-4cbf-8743-b9285e44fae2" providerId="ADAL" clId="{7583EF0B-CAB9-47ED-B3AB-DE1E2A432881}" dt="2023-12-11T05:20:08.471" v="103"/>
          <ac:spMkLst>
            <pc:docMk/>
            <pc:sldMk cId="2611364876" sldId="2147479537"/>
            <ac:spMk id="57" creationId="{F5A2615C-0553-DBFE-9A2E-46390694C135}"/>
          </ac:spMkLst>
        </pc:spChg>
        <pc:spChg chg="mod">
          <ac:chgData name="Perretti, Ilaria" userId="aaf0d85c-e107-4cbf-8743-b9285e44fae2" providerId="ADAL" clId="{7583EF0B-CAB9-47ED-B3AB-DE1E2A432881}" dt="2023-12-11T05:20:08.471" v="103"/>
          <ac:spMkLst>
            <pc:docMk/>
            <pc:sldMk cId="2611364876" sldId="2147479537"/>
            <ac:spMk id="58" creationId="{BD2C5B5E-5617-0B52-1704-72EE6F123136}"/>
          </ac:spMkLst>
        </pc:spChg>
        <pc:spChg chg="mod">
          <ac:chgData name="Perretti, Ilaria" userId="aaf0d85c-e107-4cbf-8743-b9285e44fae2" providerId="ADAL" clId="{7583EF0B-CAB9-47ED-B3AB-DE1E2A432881}" dt="2023-12-11T05:20:08.471" v="103"/>
          <ac:spMkLst>
            <pc:docMk/>
            <pc:sldMk cId="2611364876" sldId="2147479537"/>
            <ac:spMk id="59" creationId="{EEFC3545-7467-1FCD-8C56-CF2BDD2BF341}"/>
          </ac:spMkLst>
        </pc:spChg>
        <pc:spChg chg="mod">
          <ac:chgData name="Perretti, Ilaria" userId="aaf0d85c-e107-4cbf-8743-b9285e44fae2" providerId="ADAL" clId="{7583EF0B-CAB9-47ED-B3AB-DE1E2A432881}" dt="2023-12-11T05:20:08.471" v="103"/>
          <ac:spMkLst>
            <pc:docMk/>
            <pc:sldMk cId="2611364876" sldId="2147479537"/>
            <ac:spMk id="60" creationId="{484B7022-3511-2C08-79A6-7472592359AB}"/>
          </ac:spMkLst>
        </pc:spChg>
        <pc:spChg chg="mod">
          <ac:chgData name="Perretti, Ilaria" userId="aaf0d85c-e107-4cbf-8743-b9285e44fae2" providerId="ADAL" clId="{7583EF0B-CAB9-47ED-B3AB-DE1E2A432881}" dt="2023-12-11T05:20:14.225" v="105"/>
          <ac:spMkLst>
            <pc:docMk/>
            <pc:sldMk cId="2611364876" sldId="2147479537"/>
            <ac:spMk id="65" creationId="{654DBEC2-ACC9-E1C3-1A22-0BB59483AD0E}"/>
          </ac:spMkLst>
        </pc:spChg>
        <pc:spChg chg="mod">
          <ac:chgData name="Perretti, Ilaria" userId="aaf0d85c-e107-4cbf-8743-b9285e44fae2" providerId="ADAL" clId="{7583EF0B-CAB9-47ED-B3AB-DE1E2A432881}" dt="2023-12-11T05:20:14.225" v="105"/>
          <ac:spMkLst>
            <pc:docMk/>
            <pc:sldMk cId="2611364876" sldId="2147479537"/>
            <ac:spMk id="66" creationId="{54D94764-3641-A4A6-1A6E-A41B06E09CBA}"/>
          </ac:spMkLst>
        </pc:spChg>
        <pc:spChg chg="mod">
          <ac:chgData name="Perretti, Ilaria" userId="aaf0d85c-e107-4cbf-8743-b9285e44fae2" providerId="ADAL" clId="{7583EF0B-CAB9-47ED-B3AB-DE1E2A432881}" dt="2023-12-11T05:20:14.225" v="105"/>
          <ac:spMkLst>
            <pc:docMk/>
            <pc:sldMk cId="2611364876" sldId="2147479537"/>
            <ac:spMk id="67" creationId="{688C9C45-2256-CB8C-F28E-2CABCD4B7246}"/>
          </ac:spMkLst>
        </pc:spChg>
        <pc:spChg chg="mod">
          <ac:chgData name="Perretti, Ilaria" userId="aaf0d85c-e107-4cbf-8743-b9285e44fae2" providerId="ADAL" clId="{7583EF0B-CAB9-47ED-B3AB-DE1E2A432881}" dt="2023-12-11T05:20:14.225" v="105"/>
          <ac:spMkLst>
            <pc:docMk/>
            <pc:sldMk cId="2611364876" sldId="2147479537"/>
            <ac:spMk id="68" creationId="{D354990F-FFA1-2019-E885-E7B43C6B3874}"/>
          </ac:spMkLst>
        </pc:spChg>
        <pc:spChg chg="mod">
          <ac:chgData name="Perretti, Ilaria" userId="aaf0d85c-e107-4cbf-8743-b9285e44fae2" providerId="ADAL" clId="{7583EF0B-CAB9-47ED-B3AB-DE1E2A432881}" dt="2023-12-11T05:20:14.225" v="105"/>
          <ac:spMkLst>
            <pc:docMk/>
            <pc:sldMk cId="2611364876" sldId="2147479537"/>
            <ac:spMk id="69" creationId="{61D4B9ED-A0A4-D90A-5191-22E1F397EF92}"/>
          </ac:spMkLst>
        </pc:spChg>
        <pc:spChg chg="mod">
          <ac:chgData name="Perretti, Ilaria" userId="aaf0d85c-e107-4cbf-8743-b9285e44fae2" providerId="ADAL" clId="{7583EF0B-CAB9-47ED-B3AB-DE1E2A432881}" dt="2023-12-11T05:20:14.225" v="105"/>
          <ac:spMkLst>
            <pc:docMk/>
            <pc:sldMk cId="2611364876" sldId="2147479537"/>
            <ac:spMk id="70" creationId="{5421C7D8-1376-914C-8594-41B74CB925C1}"/>
          </ac:spMkLst>
        </pc:spChg>
        <pc:spChg chg="mod">
          <ac:chgData name="Perretti, Ilaria" userId="aaf0d85c-e107-4cbf-8743-b9285e44fae2" providerId="ADAL" clId="{7583EF0B-CAB9-47ED-B3AB-DE1E2A432881}" dt="2023-12-11T05:20:14.225" v="105"/>
          <ac:spMkLst>
            <pc:docMk/>
            <pc:sldMk cId="2611364876" sldId="2147479537"/>
            <ac:spMk id="71" creationId="{95248902-2E73-B316-2605-4B63717DE3A8}"/>
          </ac:spMkLst>
        </pc:spChg>
        <pc:spChg chg="mod">
          <ac:chgData name="Perretti, Ilaria" userId="aaf0d85c-e107-4cbf-8743-b9285e44fae2" providerId="ADAL" clId="{7583EF0B-CAB9-47ED-B3AB-DE1E2A432881}" dt="2023-12-11T05:20:14.225" v="105"/>
          <ac:spMkLst>
            <pc:docMk/>
            <pc:sldMk cId="2611364876" sldId="2147479537"/>
            <ac:spMk id="72" creationId="{1BD7B775-A0E5-AE36-C808-BD838FDAB860}"/>
          </ac:spMkLst>
        </pc:spChg>
        <pc:spChg chg="mod">
          <ac:chgData name="Perretti, Ilaria" userId="aaf0d85c-e107-4cbf-8743-b9285e44fae2" providerId="ADAL" clId="{7583EF0B-CAB9-47ED-B3AB-DE1E2A432881}" dt="2023-12-11T05:20:14.225" v="105"/>
          <ac:spMkLst>
            <pc:docMk/>
            <pc:sldMk cId="2611364876" sldId="2147479537"/>
            <ac:spMk id="73" creationId="{45D417E5-BCE1-7C7C-89A0-BA5838835137}"/>
          </ac:spMkLst>
        </pc:spChg>
        <pc:spChg chg="add mod">
          <ac:chgData name="Perretti, Ilaria" userId="aaf0d85c-e107-4cbf-8743-b9285e44fae2" providerId="ADAL" clId="{7583EF0B-CAB9-47ED-B3AB-DE1E2A432881}" dt="2023-12-11T05:23:55.184" v="303" actId="1076"/>
          <ac:spMkLst>
            <pc:docMk/>
            <pc:sldMk cId="2611364876" sldId="2147479537"/>
            <ac:spMk id="74" creationId="{EA64C507-BA15-00FD-5C0E-F923B3BBEB8B}"/>
          </ac:spMkLst>
        </pc:spChg>
        <pc:spChg chg="add del mod">
          <ac:chgData name="Perretti, Ilaria" userId="aaf0d85c-e107-4cbf-8743-b9285e44fae2" providerId="ADAL" clId="{7583EF0B-CAB9-47ED-B3AB-DE1E2A432881}" dt="2023-12-11T05:21:40.505" v="159" actId="478"/>
          <ac:spMkLst>
            <pc:docMk/>
            <pc:sldMk cId="2611364876" sldId="2147479537"/>
            <ac:spMk id="75" creationId="{8A213C79-65AE-7850-F3A8-AE96B688BAD4}"/>
          </ac:spMkLst>
        </pc:spChg>
        <pc:spChg chg="add mod ord">
          <ac:chgData name="Perretti, Ilaria" userId="aaf0d85c-e107-4cbf-8743-b9285e44fae2" providerId="ADAL" clId="{7583EF0B-CAB9-47ED-B3AB-DE1E2A432881}" dt="2023-12-11T05:44:55.978" v="1094" actId="313"/>
          <ac:spMkLst>
            <pc:docMk/>
            <pc:sldMk cId="2611364876" sldId="2147479537"/>
            <ac:spMk id="76" creationId="{982D0206-9357-68B2-35FD-CA7233F8ACD7}"/>
          </ac:spMkLst>
        </pc:spChg>
        <pc:spChg chg="add mod ord">
          <ac:chgData name="Perretti, Ilaria" userId="aaf0d85c-e107-4cbf-8743-b9285e44fae2" providerId="ADAL" clId="{7583EF0B-CAB9-47ED-B3AB-DE1E2A432881}" dt="2023-12-11T05:45:03.172" v="1108" actId="20577"/>
          <ac:spMkLst>
            <pc:docMk/>
            <pc:sldMk cId="2611364876" sldId="2147479537"/>
            <ac:spMk id="77" creationId="{8C015558-0247-C515-B2A1-5EE0A4D3C7B9}"/>
          </ac:spMkLst>
        </pc:spChg>
        <pc:spChg chg="add mod">
          <ac:chgData name="Perretti, Ilaria" userId="aaf0d85c-e107-4cbf-8743-b9285e44fae2" providerId="ADAL" clId="{7583EF0B-CAB9-47ED-B3AB-DE1E2A432881}" dt="2023-12-11T05:46:04.053" v="1216" actId="20577"/>
          <ac:spMkLst>
            <pc:docMk/>
            <pc:sldMk cId="2611364876" sldId="2147479537"/>
            <ac:spMk id="78" creationId="{4C6A9C0D-17D6-C288-0BAD-688BF6606070}"/>
          </ac:spMkLst>
        </pc:spChg>
        <pc:spChg chg="add mod">
          <ac:chgData name="Perretti, Ilaria" userId="aaf0d85c-e107-4cbf-8743-b9285e44fae2" providerId="ADAL" clId="{7583EF0B-CAB9-47ED-B3AB-DE1E2A432881}" dt="2023-12-11T05:47:34.638" v="1339" actId="20577"/>
          <ac:spMkLst>
            <pc:docMk/>
            <pc:sldMk cId="2611364876" sldId="2147479537"/>
            <ac:spMk id="79" creationId="{5243C41C-0B40-1D3E-F9B7-0132D01209CD}"/>
          </ac:spMkLst>
        </pc:spChg>
        <pc:spChg chg="add mod">
          <ac:chgData name="Perretti, Ilaria" userId="aaf0d85c-e107-4cbf-8743-b9285e44fae2" providerId="ADAL" clId="{7583EF0B-CAB9-47ED-B3AB-DE1E2A432881}" dt="2023-12-11T05:49:55.556" v="1375" actId="20577"/>
          <ac:spMkLst>
            <pc:docMk/>
            <pc:sldMk cId="2611364876" sldId="2147479537"/>
            <ac:spMk id="80" creationId="{763BDE60-ECFB-7F0F-9589-215C5BA99893}"/>
          </ac:spMkLst>
        </pc:spChg>
        <pc:grpChg chg="add mod">
          <ac:chgData name="Perretti, Ilaria" userId="aaf0d85c-e107-4cbf-8743-b9285e44fae2" providerId="ADAL" clId="{7583EF0B-CAB9-47ED-B3AB-DE1E2A432881}" dt="2023-12-11T05:19:55.102" v="99" actId="1076"/>
          <ac:grpSpMkLst>
            <pc:docMk/>
            <pc:sldMk cId="2611364876" sldId="2147479537"/>
            <ac:grpSpMk id="15" creationId="{73C5FBA3-8ACF-9189-2543-EBFAFF6E6F82}"/>
          </ac:grpSpMkLst>
        </pc:grpChg>
        <pc:grpChg chg="mod">
          <ac:chgData name="Perretti, Ilaria" userId="aaf0d85c-e107-4cbf-8743-b9285e44fae2" providerId="ADAL" clId="{7583EF0B-CAB9-47ED-B3AB-DE1E2A432881}" dt="2023-12-11T05:19:16.360" v="93"/>
          <ac:grpSpMkLst>
            <pc:docMk/>
            <pc:sldMk cId="2611364876" sldId="2147479537"/>
            <ac:grpSpMk id="16" creationId="{6B3634E5-73BA-BE89-4174-B19F4AC94E10}"/>
          </ac:grpSpMkLst>
        </pc:grpChg>
        <pc:grpChg chg="mod">
          <ac:chgData name="Perretti, Ilaria" userId="aaf0d85c-e107-4cbf-8743-b9285e44fae2" providerId="ADAL" clId="{7583EF0B-CAB9-47ED-B3AB-DE1E2A432881}" dt="2023-12-11T05:19:16.360" v="93"/>
          <ac:grpSpMkLst>
            <pc:docMk/>
            <pc:sldMk cId="2611364876" sldId="2147479537"/>
            <ac:grpSpMk id="17" creationId="{F794A688-1ECD-ED7F-3786-15665A20FAB8}"/>
          </ac:grpSpMkLst>
        </pc:grpChg>
        <pc:grpChg chg="mod">
          <ac:chgData name="Perretti, Ilaria" userId="aaf0d85c-e107-4cbf-8743-b9285e44fae2" providerId="ADAL" clId="{7583EF0B-CAB9-47ED-B3AB-DE1E2A432881}" dt="2023-12-11T05:19:16.360" v="93"/>
          <ac:grpSpMkLst>
            <pc:docMk/>
            <pc:sldMk cId="2611364876" sldId="2147479537"/>
            <ac:grpSpMk id="19" creationId="{BD71717C-B138-623B-68FA-169FDB045EDB}"/>
          </ac:grpSpMkLst>
        </pc:grpChg>
        <pc:grpChg chg="add mod">
          <ac:chgData name="Perretti, Ilaria" userId="aaf0d85c-e107-4cbf-8743-b9285e44fae2" providerId="ADAL" clId="{7583EF0B-CAB9-47ED-B3AB-DE1E2A432881}" dt="2023-12-11T05:20:18.844" v="106" actId="1076"/>
          <ac:grpSpMkLst>
            <pc:docMk/>
            <pc:sldMk cId="2611364876" sldId="2147479537"/>
            <ac:grpSpMk id="35" creationId="{A8B4A4D2-9CE9-15A8-7CB1-4FEF40AE3423}"/>
          </ac:grpSpMkLst>
        </pc:grpChg>
        <pc:grpChg chg="mod">
          <ac:chgData name="Perretti, Ilaria" userId="aaf0d85c-e107-4cbf-8743-b9285e44fae2" providerId="ADAL" clId="{7583EF0B-CAB9-47ED-B3AB-DE1E2A432881}" dt="2023-12-11T05:20:03.902" v="101"/>
          <ac:grpSpMkLst>
            <pc:docMk/>
            <pc:sldMk cId="2611364876" sldId="2147479537"/>
            <ac:grpSpMk id="36" creationId="{FBECA2A4-779C-BD0E-C51B-22F3AB19531A}"/>
          </ac:grpSpMkLst>
        </pc:grpChg>
        <pc:grpChg chg="mod">
          <ac:chgData name="Perretti, Ilaria" userId="aaf0d85c-e107-4cbf-8743-b9285e44fae2" providerId="ADAL" clId="{7583EF0B-CAB9-47ED-B3AB-DE1E2A432881}" dt="2023-12-11T05:20:03.902" v="101"/>
          <ac:grpSpMkLst>
            <pc:docMk/>
            <pc:sldMk cId="2611364876" sldId="2147479537"/>
            <ac:grpSpMk id="37" creationId="{317F2F69-F0BC-053C-5431-46BEBF983654}"/>
          </ac:grpSpMkLst>
        </pc:grpChg>
        <pc:grpChg chg="mod">
          <ac:chgData name="Perretti, Ilaria" userId="aaf0d85c-e107-4cbf-8743-b9285e44fae2" providerId="ADAL" clId="{7583EF0B-CAB9-47ED-B3AB-DE1E2A432881}" dt="2023-12-11T05:20:03.902" v="101"/>
          <ac:grpSpMkLst>
            <pc:docMk/>
            <pc:sldMk cId="2611364876" sldId="2147479537"/>
            <ac:grpSpMk id="38" creationId="{B576F03F-3365-8301-3329-C7B80F124134}"/>
          </ac:grpSpMkLst>
        </pc:grpChg>
        <pc:grpChg chg="add mod">
          <ac:chgData name="Perretti, Ilaria" userId="aaf0d85c-e107-4cbf-8743-b9285e44fae2" providerId="ADAL" clId="{7583EF0B-CAB9-47ED-B3AB-DE1E2A432881}" dt="2023-12-11T05:20:13.452" v="104" actId="1076"/>
          <ac:grpSpMkLst>
            <pc:docMk/>
            <pc:sldMk cId="2611364876" sldId="2147479537"/>
            <ac:grpSpMk id="48" creationId="{2FA3C6A6-5E46-3440-CE42-FA11E53AFC06}"/>
          </ac:grpSpMkLst>
        </pc:grpChg>
        <pc:grpChg chg="mod">
          <ac:chgData name="Perretti, Ilaria" userId="aaf0d85c-e107-4cbf-8743-b9285e44fae2" providerId="ADAL" clId="{7583EF0B-CAB9-47ED-B3AB-DE1E2A432881}" dt="2023-12-11T05:20:08.471" v="103"/>
          <ac:grpSpMkLst>
            <pc:docMk/>
            <pc:sldMk cId="2611364876" sldId="2147479537"/>
            <ac:grpSpMk id="49" creationId="{BCB9A811-22FF-0B86-6E57-EF81442882BE}"/>
          </ac:grpSpMkLst>
        </pc:grpChg>
        <pc:grpChg chg="mod">
          <ac:chgData name="Perretti, Ilaria" userId="aaf0d85c-e107-4cbf-8743-b9285e44fae2" providerId="ADAL" clId="{7583EF0B-CAB9-47ED-B3AB-DE1E2A432881}" dt="2023-12-11T05:20:08.471" v="103"/>
          <ac:grpSpMkLst>
            <pc:docMk/>
            <pc:sldMk cId="2611364876" sldId="2147479537"/>
            <ac:grpSpMk id="50" creationId="{DC56F5DF-370A-A0A2-7BA4-C77FCF7A0E41}"/>
          </ac:grpSpMkLst>
        </pc:grpChg>
        <pc:grpChg chg="mod">
          <ac:chgData name="Perretti, Ilaria" userId="aaf0d85c-e107-4cbf-8743-b9285e44fae2" providerId="ADAL" clId="{7583EF0B-CAB9-47ED-B3AB-DE1E2A432881}" dt="2023-12-11T05:20:08.471" v="103"/>
          <ac:grpSpMkLst>
            <pc:docMk/>
            <pc:sldMk cId="2611364876" sldId="2147479537"/>
            <ac:grpSpMk id="51" creationId="{BC849267-7DF1-B8EA-38F3-E886C77CD03D}"/>
          </ac:grpSpMkLst>
        </pc:grpChg>
        <pc:grpChg chg="add mod">
          <ac:chgData name="Perretti, Ilaria" userId="aaf0d85c-e107-4cbf-8743-b9285e44fae2" providerId="ADAL" clId="{7583EF0B-CAB9-47ED-B3AB-DE1E2A432881}" dt="2023-12-11T05:20:23.981" v="107" actId="1076"/>
          <ac:grpSpMkLst>
            <pc:docMk/>
            <pc:sldMk cId="2611364876" sldId="2147479537"/>
            <ac:grpSpMk id="61" creationId="{49B46C00-B172-E06E-4D47-94D682E325AD}"/>
          </ac:grpSpMkLst>
        </pc:grpChg>
        <pc:grpChg chg="mod">
          <ac:chgData name="Perretti, Ilaria" userId="aaf0d85c-e107-4cbf-8743-b9285e44fae2" providerId="ADAL" clId="{7583EF0B-CAB9-47ED-B3AB-DE1E2A432881}" dt="2023-12-11T05:20:14.225" v="105"/>
          <ac:grpSpMkLst>
            <pc:docMk/>
            <pc:sldMk cId="2611364876" sldId="2147479537"/>
            <ac:grpSpMk id="62" creationId="{9DAADEE0-31E8-532D-E9F4-8BF1230DB0FC}"/>
          </ac:grpSpMkLst>
        </pc:grpChg>
        <pc:grpChg chg="mod">
          <ac:chgData name="Perretti, Ilaria" userId="aaf0d85c-e107-4cbf-8743-b9285e44fae2" providerId="ADAL" clId="{7583EF0B-CAB9-47ED-B3AB-DE1E2A432881}" dt="2023-12-11T05:20:14.225" v="105"/>
          <ac:grpSpMkLst>
            <pc:docMk/>
            <pc:sldMk cId="2611364876" sldId="2147479537"/>
            <ac:grpSpMk id="63" creationId="{A245218E-C345-779D-A293-210D13DB0E7C}"/>
          </ac:grpSpMkLst>
        </pc:grpChg>
        <pc:grpChg chg="mod">
          <ac:chgData name="Perretti, Ilaria" userId="aaf0d85c-e107-4cbf-8743-b9285e44fae2" providerId="ADAL" clId="{7583EF0B-CAB9-47ED-B3AB-DE1E2A432881}" dt="2023-12-11T05:20:14.225" v="105"/>
          <ac:grpSpMkLst>
            <pc:docMk/>
            <pc:sldMk cId="2611364876" sldId="2147479537"/>
            <ac:grpSpMk id="64" creationId="{EDD1D551-E7A0-111E-E274-954D30C7F699}"/>
          </ac:grpSpMkLst>
        </pc:grpChg>
      </pc:sldChg>
      <pc:sldMasterChg chg="delSldLayout">
        <pc:chgData name="Perretti, Ilaria" userId="aaf0d85c-e107-4cbf-8743-b9285e44fae2" providerId="ADAL" clId="{7583EF0B-CAB9-47ED-B3AB-DE1E2A432881}" dt="2023-12-11T05:25:51.814" v="405" actId="47"/>
        <pc:sldMasterMkLst>
          <pc:docMk/>
          <pc:sldMasterMk cId="3564118489" sldId="2147483713"/>
        </pc:sldMasterMkLst>
        <pc:sldLayoutChg chg="del">
          <pc:chgData name="Perretti, Ilaria" userId="aaf0d85c-e107-4cbf-8743-b9285e44fae2" providerId="ADAL" clId="{7583EF0B-CAB9-47ED-B3AB-DE1E2A432881}" dt="2023-12-11T05:25:51.814" v="405" actId="47"/>
          <pc:sldLayoutMkLst>
            <pc:docMk/>
            <pc:sldMasterMk cId="3564118489" sldId="2147483713"/>
            <pc:sldLayoutMk cId="3194954958" sldId="2147483713"/>
          </pc:sldLayoutMkLst>
        </pc:sldLayoutChg>
      </pc:sldMasterChg>
    </pc:docChg>
  </pc:docChgLst>
  <pc:docChgLst>
    <pc:chgData name="Sastry, Varsha" userId="ac80d159-c352-438a-bc99-3a60547c55a8" providerId="ADAL" clId="{4E498032-DE11-4ADB-ADBE-A7A978F2511B}"/>
    <pc:docChg chg="undo custSel addSld delSld modSld sldOrd modSection">
      <pc:chgData name="Sastry, Varsha" userId="ac80d159-c352-438a-bc99-3a60547c55a8" providerId="ADAL" clId="{4E498032-DE11-4ADB-ADBE-A7A978F2511B}" dt="2023-12-11T18:28:17.270" v="6537" actId="20577"/>
      <pc:docMkLst>
        <pc:docMk/>
      </pc:docMkLst>
      <pc:sldChg chg="modSp mod">
        <pc:chgData name="Sastry, Varsha" userId="ac80d159-c352-438a-bc99-3a60547c55a8" providerId="ADAL" clId="{4E498032-DE11-4ADB-ADBE-A7A978F2511B}" dt="2023-12-11T18:03:12.826" v="6159" actId="2711"/>
        <pc:sldMkLst>
          <pc:docMk/>
          <pc:sldMk cId="618232867" sldId="2147469426"/>
        </pc:sldMkLst>
        <pc:spChg chg="mod">
          <ac:chgData name="Sastry, Varsha" userId="ac80d159-c352-438a-bc99-3a60547c55a8" providerId="ADAL" clId="{4E498032-DE11-4ADB-ADBE-A7A978F2511B}" dt="2023-12-11T18:03:12.826" v="6159" actId="2711"/>
          <ac:spMkLst>
            <pc:docMk/>
            <pc:sldMk cId="618232867" sldId="2147469426"/>
            <ac:spMk id="6" creationId="{F4C78F83-41B0-4965-B128-DA8A072FFA11}"/>
          </ac:spMkLst>
        </pc:spChg>
        <pc:spChg chg="mod">
          <ac:chgData name="Sastry, Varsha" userId="ac80d159-c352-438a-bc99-3a60547c55a8" providerId="ADAL" clId="{4E498032-DE11-4ADB-ADBE-A7A978F2511B}" dt="2023-12-11T18:03:12.826" v="6159" actId="2711"/>
          <ac:spMkLst>
            <pc:docMk/>
            <pc:sldMk cId="618232867" sldId="2147469426"/>
            <ac:spMk id="7" creationId="{F2A7DDB8-0B06-4AC0-B5E4-6683C7EF796E}"/>
          </ac:spMkLst>
        </pc:spChg>
      </pc:sldChg>
      <pc:sldChg chg="modSp mod addCm">
        <pc:chgData name="Sastry, Varsha" userId="ac80d159-c352-438a-bc99-3a60547c55a8" providerId="ADAL" clId="{4E498032-DE11-4ADB-ADBE-A7A978F2511B}" dt="2023-12-11T18:03:00.083" v="6158"/>
        <pc:sldMkLst>
          <pc:docMk/>
          <pc:sldMk cId="1833341781" sldId="2147469427"/>
        </pc:sldMkLst>
        <pc:spChg chg="mod">
          <ac:chgData name="Sastry, Varsha" userId="ac80d159-c352-438a-bc99-3a60547c55a8" providerId="ADAL" clId="{4E498032-DE11-4ADB-ADBE-A7A978F2511B}" dt="2023-12-11T18:02:40.131" v="6157" actId="255"/>
          <ac:spMkLst>
            <pc:docMk/>
            <pc:sldMk cId="1833341781" sldId="2147469427"/>
            <ac:spMk id="6" creationId="{F4C78F83-41B0-4965-B128-DA8A072FFA11}"/>
          </ac:spMkLst>
        </pc:spChg>
        <pc:spChg chg="mod">
          <ac:chgData name="Sastry, Varsha" userId="ac80d159-c352-438a-bc99-3a60547c55a8" providerId="ADAL" clId="{4E498032-DE11-4ADB-ADBE-A7A978F2511B}" dt="2023-12-11T18:02:40.131" v="6157" actId="255"/>
          <ac:spMkLst>
            <pc:docMk/>
            <pc:sldMk cId="1833341781" sldId="2147469427"/>
            <ac:spMk id="7" creationId="{F2A7DDB8-0B06-4AC0-B5E4-6683C7EF796E}"/>
          </ac:spMkLst>
        </pc:spChg>
      </pc:sldChg>
      <pc:sldChg chg="modSp mod">
        <pc:chgData name="Sastry, Varsha" userId="ac80d159-c352-438a-bc99-3a60547c55a8" providerId="ADAL" clId="{4E498032-DE11-4ADB-ADBE-A7A978F2511B}" dt="2023-12-11T18:02:11.984" v="6155" actId="255"/>
        <pc:sldMkLst>
          <pc:docMk/>
          <pc:sldMk cId="893027299" sldId="2147469428"/>
        </pc:sldMkLst>
        <pc:spChg chg="mod">
          <ac:chgData name="Sastry, Varsha" userId="ac80d159-c352-438a-bc99-3a60547c55a8" providerId="ADAL" clId="{4E498032-DE11-4ADB-ADBE-A7A978F2511B}" dt="2023-12-11T18:02:11.984" v="6155" actId="255"/>
          <ac:spMkLst>
            <pc:docMk/>
            <pc:sldMk cId="893027299" sldId="2147469428"/>
            <ac:spMk id="6" creationId="{F4C78F83-41B0-4965-B128-DA8A072FFA11}"/>
          </ac:spMkLst>
        </pc:spChg>
        <pc:spChg chg="mod">
          <ac:chgData name="Sastry, Varsha" userId="ac80d159-c352-438a-bc99-3a60547c55a8" providerId="ADAL" clId="{4E498032-DE11-4ADB-ADBE-A7A978F2511B}" dt="2023-12-11T18:02:11.984" v="6155" actId="255"/>
          <ac:spMkLst>
            <pc:docMk/>
            <pc:sldMk cId="893027299" sldId="2147469428"/>
            <ac:spMk id="7" creationId="{F2A7DDB8-0B06-4AC0-B5E4-6683C7EF796E}"/>
          </ac:spMkLst>
        </pc:spChg>
      </pc:sldChg>
      <pc:sldChg chg="modSp mod addCm">
        <pc:chgData name="Sastry, Varsha" userId="ac80d159-c352-438a-bc99-3a60547c55a8" providerId="ADAL" clId="{4E498032-DE11-4ADB-ADBE-A7A978F2511B}" dt="2023-12-11T18:01:31.647" v="6152"/>
        <pc:sldMkLst>
          <pc:docMk/>
          <pc:sldMk cId="2877793751" sldId="2147469429"/>
        </pc:sldMkLst>
        <pc:spChg chg="mod">
          <ac:chgData name="Sastry, Varsha" userId="ac80d159-c352-438a-bc99-3a60547c55a8" providerId="ADAL" clId="{4E498032-DE11-4ADB-ADBE-A7A978F2511B}" dt="2023-12-11T18:01:10.523" v="6151" actId="255"/>
          <ac:spMkLst>
            <pc:docMk/>
            <pc:sldMk cId="2877793751" sldId="2147469429"/>
            <ac:spMk id="6" creationId="{F4C78F83-41B0-4965-B128-DA8A072FFA11}"/>
          </ac:spMkLst>
        </pc:spChg>
        <pc:spChg chg="mod">
          <ac:chgData name="Sastry, Varsha" userId="ac80d159-c352-438a-bc99-3a60547c55a8" providerId="ADAL" clId="{4E498032-DE11-4ADB-ADBE-A7A978F2511B}" dt="2023-12-11T18:01:10.523" v="6151" actId="255"/>
          <ac:spMkLst>
            <pc:docMk/>
            <pc:sldMk cId="2877793751" sldId="2147469429"/>
            <ac:spMk id="7" creationId="{F2A7DDB8-0B06-4AC0-B5E4-6683C7EF796E}"/>
          </ac:spMkLst>
        </pc:spChg>
      </pc:sldChg>
      <pc:sldChg chg="modSp mod">
        <pc:chgData name="Sastry, Varsha" userId="ac80d159-c352-438a-bc99-3a60547c55a8" providerId="ADAL" clId="{4E498032-DE11-4ADB-ADBE-A7A978F2511B}" dt="2023-12-11T18:00:54.466" v="6148" actId="2711"/>
        <pc:sldMkLst>
          <pc:docMk/>
          <pc:sldMk cId="1086324409" sldId="2147469430"/>
        </pc:sldMkLst>
        <pc:spChg chg="mod">
          <ac:chgData name="Sastry, Varsha" userId="ac80d159-c352-438a-bc99-3a60547c55a8" providerId="ADAL" clId="{4E498032-DE11-4ADB-ADBE-A7A978F2511B}" dt="2023-12-11T18:00:54.466" v="6148" actId="2711"/>
          <ac:spMkLst>
            <pc:docMk/>
            <pc:sldMk cId="1086324409" sldId="2147469430"/>
            <ac:spMk id="6" creationId="{F4C78F83-41B0-4965-B128-DA8A072FFA11}"/>
          </ac:spMkLst>
        </pc:spChg>
        <pc:spChg chg="mod">
          <ac:chgData name="Sastry, Varsha" userId="ac80d159-c352-438a-bc99-3a60547c55a8" providerId="ADAL" clId="{4E498032-DE11-4ADB-ADBE-A7A978F2511B}" dt="2023-12-11T18:00:54.466" v="6148" actId="2711"/>
          <ac:spMkLst>
            <pc:docMk/>
            <pc:sldMk cId="1086324409" sldId="2147469430"/>
            <ac:spMk id="7" creationId="{F2A7DDB8-0B06-4AC0-B5E4-6683C7EF796E}"/>
          </ac:spMkLst>
        </pc:spChg>
      </pc:sldChg>
      <pc:sldChg chg="modSp mod">
        <pc:chgData name="Sastry, Varsha" userId="ac80d159-c352-438a-bc99-3a60547c55a8" providerId="ADAL" clId="{4E498032-DE11-4ADB-ADBE-A7A978F2511B}" dt="2023-12-11T17:59:39.833" v="6142" actId="2711"/>
        <pc:sldMkLst>
          <pc:docMk/>
          <pc:sldMk cId="1941732062" sldId="2147469431"/>
        </pc:sldMkLst>
        <pc:spChg chg="mod">
          <ac:chgData name="Sastry, Varsha" userId="ac80d159-c352-438a-bc99-3a60547c55a8" providerId="ADAL" clId="{4E498032-DE11-4ADB-ADBE-A7A978F2511B}" dt="2023-12-11T17:59:39.833" v="6142" actId="2711"/>
          <ac:spMkLst>
            <pc:docMk/>
            <pc:sldMk cId="1941732062" sldId="2147469431"/>
            <ac:spMk id="6" creationId="{F4C78F83-41B0-4965-B128-DA8A072FFA11}"/>
          </ac:spMkLst>
        </pc:spChg>
        <pc:spChg chg="mod">
          <ac:chgData name="Sastry, Varsha" userId="ac80d159-c352-438a-bc99-3a60547c55a8" providerId="ADAL" clId="{4E498032-DE11-4ADB-ADBE-A7A978F2511B}" dt="2023-12-11T17:59:39.833" v="6142" actId="2711"/>
          <ac:spMkLst>
            <pc:docMk/>
            <pc:sldMk cId="1941732062" sldId="2147469431"/>
            <ac:spMk id="7" creationId="{F2A7DDB8-0B06-4AC0-B5E4-6683C7EF796E}"/>
          </ac:spMkLst>
        </pc:spChg>
      </pc:sldChg>
      <pc:sldChg chg="modSp mod">
        <pc:chgData name="Sastry, Varsha" userId="ac80d159-c352-438a-bc99-3a60547c55a8" providerId="ADAL" clId="{4E498032-DE11-4ADB-ADBE-A7A978F2511B}" dt="2023-12-11T17:59:28.055" v="6141" actId="2711"/>
        <pc:sldMkLst>
          <pc:docMk/>
          <pc:sldMk cId="1638462135" sldId="2147469433"/>
        </pc:sldMkLst>
        <pc:spChg chg="mod">
          <ac:chgData name="Sastry, Varsha" userId="ac80d159-c352-438a-bc99-3a60547c55a8" providerId="ADAL" clId="{4E498032-DE11-4ADB-ADBE-A7A978F2511B}" dt="2023-12-11T17:59:28.055" v="6141" actId="2711"/>
          <ac:spMkLst>
            <pc:docMk/>
            <pc:sldMk cId="1638462135" sldId="2147469433"/>
            <ac:spMk id="6" creationId="{F4C78F83-41B0-4965-B128-DA8A072FFA11}"/>
          </ac:spMkLst>
        </pc:spChg>
      </pc:sldChg>
      <pc:sldChg chg="modSp mod addCm">
        <pc:chgData name="Sastry, Varsha" userId="ac80d159-c352-438a-bc99-3a60547c55a8" providerId="ADAL" clId="{4E498032-DE11-4ADB-ADBE-A7A978F2511B}" dt="2023-12-11T18:00:47.005" v="6147"/>
        <pc:sldMkLst>
          <pc:docMk/>
          <pc:sldMk cId="1950388612" sldId="2147469442"/>
        </pc:sldMkLst>
        <pc:spChg chg="mod">
          <ac:chgData name="Sastry, Varsha" userId="ac80d159-c352-438a-bc99-3a60547c55a8" providerId="ADAL" clId="{4E498032-DE11-4ADB-ADBE-A7A978F2511B}" dt="2023-12-11T18:00:05.952" v="6146" actId="255"/>
          <ac:spMkLst>
            <pc:docMk/>
            <pc:sldMk cId="1950388612" sldId="2147469442"/>
            <ac:spMk id="6" creationId="{F4C78F83-41B0-4965-B128-DA8A072FFA11}"/>
          </ac:spMkLst>
        </pc:spChg>
        <pc:spChg chg="mod">
          <ac:chgData name="Sastry, Varsha" userId="ac80d159-c352-438a-bc99-3a60547c55a8" providerId="ADAL" clId="{4E498032-DE11-4ADB-ADBE-A7A978F2511B}" dt="2023-12-11T18:00:05.952" v="6146" actId="255"/>
          <ac:spMkLst>
            <pc:docMk/>
            <pc:sldMk cId="1950388612" sldId="2147469442"/>
            <ac:spMk id="7" creationId="{F2A7DDB8-0B06-4AC0-B5E4-6683C7EF796E}"/>
          </ac:spMkLst>
        </pc:spChg>
      </pc:sldChg>
      <pc:sldChg chg="modSp mod">
        <pc:chgData name="Sastry, Varsha" userId="ac80d159-c352-438a-bc99-3a60547c55a8" providerId="ADAL" clId="{4E498032-DE11-4ADB-ADBE-A7A978F2511B}" dt="2023-12-11T11:15:03.106" v="146" actId="20577"/>
        <pc:sldMkLst>
          <pc:docMk/>
          <pc:sldMk cId="0" sldId="2147469492"/>
        </pc:sldMkLst>
        <pc:spChg chg="mod">
          <ac:chgData name="Sastry, Varsha" userId="ac80d159-c352-438a-bc99-3a60547c55a8" providerId="ADAL" clId="{4E498032-DE11-4ADB-ADBE-A7A978F2511B}" dt="2023-12-11T11:15:03.106" v="146" actId="20577"/>
          <ac:spMkLst>
            <pc:docMk/>
            <pc:sldMk cId="0" sldId="2147469492"/>
            <ac:spMk id="400" creationId="{00000000-0000-0000-0000-000000000000}"/>
          </ac:spMkLst>
        </pc:spChg>
      </pc:sldChg>
      <pc:sldChg chg="modSp mod addCm">
        <pc:chgData name="Sastry, Varsha" userId="ac80d159-c352-438a-bc99-3a60547c55a8" providerId="ADAL" clId="{4E498032-DE11-4ADB-ADBE-A7A978F2511B}" dt="2023-12-11T13:56:18.739" v="3009" actId="20577"/>
        <pc:sldMkLst>
          <pc:docMk/>
          <pc:sldMk cId="2120408574" sldId="2147469533"/>
        </pc:sldMkLst>
        <pc:spChg chg="mod">
          <ac:chgData name="Sastry, Varsha" userId="ac80d159-c352-438a-bc99-3a60547c55a8" providerId="ADAL" clId="{4E498032-DE11-4ADB-ADBE-A7A978F2511B}" dt="2023-12-11T12:25:23.081" v="1612" actId="6549"/>
          <ac:spMkLst>
            <pc:docMk/>
            <pc:sldMk cId="2120408574" sldId="2147469533"/>
            <ac:spMk id="75" creationId="{0B00487E-9A8E-46E0-B60F-BB884C23310C}"/>
          </ac:spMkLst>
        </pc:spChg>
        <pc:spChg chg="mod">
          <ac:chgData name="Sastry, Varsha" userId="ac80d159-c352-438a-bc99-3a60547c55a8" providerId="ADAL" clId="{4E498032-DE11-4ADB-ADBE-A7A978F2511B}" dt="2023-12-11T12:24:40.522" v="1607" actId="20577"/>
          <ac:spMkLst>
            <pc:docMk/>
            <pc:sldMk cId="2120408574" sldId="2147469533"/>
            <ac:spMk id="76" creationId="{11F95CE4-70DC-4FF6-9740-A5C6EC6923E7}"/>
          </ac:spMkLst>
        </pc:spChg>
        <pc:spChg chg="mod">
          <ac:chgData name="Sastry, Varsha" userId="ac80d159-c352-438a-bc99-3a60547c55a8" providerId="ADAL" clId="{4E498032-DE11-4ADB-ADBE-A7A978F2511B}" dt="2023-12-11T13:56:18.739" v="3009" actId="20577"/>
          <ac:spMkLst>
            <pc:docMk/>
            <pc:sldMk cId="2120408574" sldId="2147469533"/>
            <ac:spMk id="102" creationId="{55B879C1-E8E4-4904-AE1A-DAAF52A79DD4}"/>
          </ac:spMkLst>
        </pc:spChg>
        <pc:spChg chg="mod">
          <ac:chgData name="Sastry, Varsha" userId="ac80d159-c352-438a-bc99-3a60547c55a8" providerId="ADAL" clId="{4E498032-DE11-4ADB-ADBE-A7A978F2511B}" dt="2023-12-11T12:21:30.728" v="1590" actId="20577"/>
          <ac:spMkLst>
            <pc:docMk/>
            <pc:sldMk cId="2120408574" sldId="2147469533"/>
            <ac:spMk id="296" creationId="{83EA401D-4DDA-4011-9CE2-94CEFE88C18F}"/>
          </ac:spMkLst>
        </pc:spChg>
      </pc:sldChg>
      <pc:sldChg chg="modSp mod">
        <pc:chgData name="Sastry, Varsha" userId="ac80d159-c352-438a-bc99-3a60547c55a8" providerId="ADAL" clId="{4E498032-DE11-4ADB-ADBE-A7A978F2511B}" dt="2023-12-11T12:15:23.677" v="1220" actId="108"/>
        <pc:sldMkLst>
          <pc:docMk/>
          <pc:sldMk cId="1060625888" sldId="2147469628"/>
        </pc:sldMkLst>
        <pc:spChg chg="mod">
          <ac:chgData name="Sastry, Varsha" userId="ac80d159-c352-438a-bc99-3a60547c55a8" providerId="ADAL" clId="{4E498032-DE11-4ADB-ADBE-A7A978F2511B}" dt="2023-12-11T11:53:50.038" v="540" actId="20577"/>
          <ac:spMkLst>
            <pc:docMk/>
            <pc:sldMk cId="1060625888" sldId="2147469628"/>
            <ac:spMk id="76" creationId="{11F95CE4-70DC-4FF6-9740-A5C6EC6923E7}"/>
          </ac:spMkLst>
        </pc:spChg>
        <pc:spChg chg="mod">
          <ac:chgData name="Sastry, Varsha" userId="ac80d159-c352-438a-bc99-3a60547c55a8" providerId="ADAL" clId="{4E498032-DE11-4ADB-ADBE-A7A978F2511B}" dt="2023-12-11T12:15:23.677" v="1220" actId="108"/>
          <ac:spMkLst>
            <pc:docMk/>
            <pc:sldMk cId="1060625888" sldId="2147469628"/>
            <ac:spMk id="507" creationId="{42A25287-6DDF-D975-7AAE-33B629EF2BC8}"/>
          </ac:spMkLst>
        </pc:spChg>
      </pc:sldChg>
      <pc:sldChg chg="modSp mod">
        <pc:chgData name="Sastry, Varsha" userId="ac80d159-c352-438a-bc99-3a60547c55a8" providerId="ADAL" clId="{4E498032-DE11-4ADB-ADBE-A7A978F2511B}" dt="2023-12-11T17:44:29.496" v="6079" actId="404"/>
        <pc:sldMkLst>
          <pc:docMk/>
          <pc:sldMk cId="402931147" sldId="2147472039"/>
        </pc:sldMkLst>
        <pc:spChg chg="mod">
          <ac:chgData name="Sastry, Varsha" userId="ac80d159-c352-438a-bc99-3a60547c55a8" providerId="ADAL" clId="{4E498032-DE11-4ADB-ADBE-A7A978F2511B}" dt="2023-12-11T17:44:20.414" v="6078" actId="2711"/>
          <ac:spMkLst>
            <pc:docMk/>
            <pc:sldMk cId="402931147" sldId="2147472039"/>
            <ac:spMk id="4" creationId="{B8847112-E272-B01C-33D5-1C358CCED3BB}"/>
          </ac:spMkLst>
        </pc:spChg>
        <pc:spChg chg="mod">
          <ac:chgData name="Sastry, Varsha" userId="ac80d159-c352-438a-bc99-3a60547c55a8" providerId="ADAL" clId="{4E498032-DE11-4ADB-ADBE-A7A978F2511B}" dt="2023-12-11T17:44:20.414" v="6078" actId="2711"/>
          <ac:spMkLst>
            <pc:docMk/>
            <pc:sldMk cId="402931147" sldId="2147472039"/>
            <ac:spMk id="5" creationId="{7F5ECB98-61A1-AAE7-5C45-B8F0553A145A}"/>
          </ac:spMkLst>
        </pc:spChg>
        <pc:spChg chg="mod">
          <ac:chgData name="Sastry, Varsha" userId="ac80d159-c352-438a-bc99-3a60547c55a8" providerId="ADAL" clId="{4E498032-DE11-4ADB-ADBE-A7A978F2511B}" dt="2023-12-11T17:44:20.414" v="6078" actId="2711"/>
          <ac:spMkLst>
            <pc:docMk/>
            <pc:sldMk cId="402931147" sldId="2147472039"/>
            <ac:spMk id="71" creationId="{71235CA4-C717-8AA5-50C6-1A738661FD9B}"/>
          </ac:spMkLst>
        </pc:spChg>
        <pc:spChg chg="mod">
          <ac:chgData name="Sastry, Varsha" userId="ac80d159-c352-438a-bc99-3a60547c55a8" providerId="ADAL" clId="{4E498032-DE11-4ADB-ADBE-A7A978F2511B}" dt="2023-12-11T17:44:20.414" v="6078" actId="2711"/>
          <ac:spMkLst>
            <pc:docMk/>
            <pc:sldMk cId="402931147" sldId="2147472039"/>
            <ac:spMk id="73" creationId="{666E9D38-D49C-AE9C-98C8-EB36781AFC3B}"/>
          </ac:spMkLst>
        </pc:spChg>
        <pc:spChg chg="mod">
          <ac:chgData name="Sastry, Varsha" userId="ac80d159-c352-438a-bc99-3a60547c55a8" providerId="ADAL" clId="{4E498032-DE11-4ADB-ADBE-A7A978F2511B}" dt="2023-12-11T17:44:20.414" v="6078" actId="2711"/>
          <ac:spMkLst>
            <pc:docMk/>
            <pc:sldMk cId="402931147" sldId="2147472039"/>
            <ac:spMk id="82" creationId="{53E90770-A92C-B8D8-63CB-ABA580F003B6}"/>
          </ac:spMkLst>
        </pc:spChg>
        <pc:spChg chg="mod">
          <ac:chgData name="Sastry, Varsha" userId="ac80d159-c352-438a-bc99-3a60547c55a8" providerId="ADAL" clId="{4E498032-DE11-4ADB-ADBE-A7A978F2511B}" dt="2023-12-11T17:44:29.496" v="6079" actId="404"/>
          <ac:spMkLst>
            <pc:docMk/>
            <pc:sldMk cId="402931147" sldId="2147472039"/>
            <ac:spMk id="83" creationId="{959BDE06-EB81-AF33-C504-1508D05B34C0}"/>
          </ac:spMkLst>
        </pc:spChg>
        <pc:spChg chg="mod">
          <ac:chgData name="Sastry, Varsha" userId="ac80d159-c352-438a-bc99-3a60547c55a8" providerId="ADAL" clId="{4E498032-DE11-4ADB-ADBE-A7A978F2511B}" dt="2023-12-11T17:44:29.496" v="6079" actId="404"/>
          <ac:spMkLst>
            <pc:docMk/>
            <pc:sldMk cId="402931147" sldId="2147472039"/>
            <ac:spMk id="84" creationId="{F019605D-C0F6-0D8C-6D9A-844874CB7CF9}"/>
          </ac:spMkLst>
        </pc:spChg>
      </pc:sldChg>
      <pc:sldChg chg="modSp mod">
        <pc:chgData name="Sastry, Varsha" userId="ac80d159-c352-438a-bc99-3a60547c55a8" providerId="ADAL" clId="{4E498032-DE11-4ADB-ADBE-A7A978F2511B}" dt="2023-12-11T14:52:48.961" v="3144" actId="6549"/>
        <pc:sldMkLst>
          <pc:docMk/>
          <pc:sldMk cId="122339857" sldId="2147472107"/>
        </pc:sldMkLst>
        <pc:spChg chg="mod">
          <ac:chgData name="Sastry, Varsha" userId="ac80d159-c352-438a-bc99-3a60547c55a8" providerId="ADAL" clId="{4E498032-DE11-4ADB-ADBE-A7A978F2511B}" dt="2023-12-11T14:52:48.961" v="3144" actId="6549"/>
          <ac:spMkLst>
            <pc:docMk/>
            <pc:sldMk cId="122339857" sldId="2147472107"/>
            <ac:spMk id="10" creationId="{FD52CFFD-35A4-4819-BEFA-A216D384E824}"/>
          </ac:spMkLst>
        </pc:spChg>
        <pc:spChg chg="mod">
          <ac:chgData name="Sastry, Varsha" userId="ac80d159-c352-438a-bc99-3a60547c55a8" providerId="ADAL" clId="{4E498032-DE11-4ADB-ADBE-A7A978F2511B}" dt="2023-12-11T14:35:47.982" v="3143" actId="20577"/>
          <ac:spMkLst>
            <pc:docMk/>
            <pc:sldMk cId="122339857" sldId="2147472107"/>
            <ac:spMk id="12" creationId="{8016CE3C-690F-45FC-8079-361E167CB5D0}"/>
          </ac:spMkLst>
        </pc:spChg>
        <pc:spChg chg="mod">
          <ac:chgData name="Sastry, Varsha" userId="ac80d159-c352-438a-bc99-3a60547c55a8" providerId="ADAL" clId="{4E498032-DE11-4ADB-ADBE-A7A978F2511B}" dt="2023-12-11T14:13:45.571" v="3048" actId="20577"/>
          <ac:spMkLst>
            <pc:docMk/>
            <pc:sldMk cId="122339857" sldId="2147472107"/>
            <ac:spMk id="21" creationId="{B499CC86-FE6E-45EE-BB9C-523792A2D04A}"/>
          </ac:spMkLst>
        </pc:spChg>
      </pc:sldChg>
      <pc:sldChg chg="delSp modSp mod addCm">
        <pc:chgData name="Sastry, Varsha" userId="ac80d159-c352-438a-bc99-3a60547c55a8" providerId="ADAL" clId="{4E498032-DE11-4ADB-ADBE-A7A978F2511B}" dt="2023-12-11T11:26:36.021" v="286"/>
        <pc:sldMkLst>
          <pc:docMk/>
          <pc:sldMk cId="1696513067" sldId="2147472113"/>
        </pc:sldMkLst>
        <pc:spChg chg="mod">
          <ac:chgData name="Sastry, Varsha" userId="ac80d159-c352-438a-bc99-3a60547c55a8" providerId="ADAL" clId="{4E498032-DE11-4ADB-ADBE-A7A978F2511B}" dt="2023-12-11T11:04:50.852" v="107" actId="20577"/>
          <ac:spMkLst>
            <pc:docMk/>
            <pc:sldMk cId="1696513067" sldId="2147472113"/>
            <ac:spMk id="2" creationId="{5DC71B97-E601-1664-91C6-B155737380CC}"/>
          </ac:spMkLst>
        </pc:spChg>
        <pc:spChg chg="mod">
          <ac:chgData name="Sastry, Varsha" userId="ac80d159-c352-438a-bc99-3a60547c55a8" providerId="ADAL" clId="{4E498032-DE11-4ADB-ADBE-A7A978F2511B}" dt="2023-12-11T11:26:36.021" v="286"/>
          <ac:spMkLst>
            <pc:docMk/>
            <pc:sldMk cId="1696513067" sldId="2147472113"/>
            <ac:spMk id="3" creationId="{8206A077-9530-FDD8-9DDE-2CD4F58CE829}"/>
          </ac:spMkLst>
        </pc:spChg>
        <pc:spChg chg="del mod">
          <ac:chgData name="Sastry, Varsha" userId="ac80d159-c352-438a-bc99-3a60547c55a8" providerId="ADAL" clId="{4E498032-DE11-4ADB-ADBE-A7A978F2511B}" dt="2023-12-11T11:25:37.129" v="282" actId="478"/>
          <ac:spMkLst>
            <pc:docMk/>
            <pc:sldMk cId="1696513067" sldId="2147472113"/>
            <ac:spMk id="19" creationId="{43A7A239-1E3E-0920-3F8C-FF0ACAA30362}"/>
          </ac:spMkLst>
        </pc:spChg>
        <pc:graphicFrameChg chg="mod modGraphic">
          <ac:chgData name="Sastry, Varsha" userId="ac80d159-c352-438a-bc99-3a60547c55a8" providerId="ADAL" clId="{4E498032-DE11-4ADB-ADBE-A7A978F2511B}" dt="2023-12-11T11:25:12.366" v="281" actId="6549"/>
          <ac:graphicFrameMkLst>
            <pc:docMk/>
            <pc:sldMk cId="1696513067" sldId="2147472113"/>
            <ac:graphicFrameMk id="5" creationId="{7103F971-4A93-2F70-F6A0-619401FC13D9}"/>
          </ac:graphicFrameMkLst>
        </pc:graphicFrameChg>
      </pc:sldChg>
      <pc:sldChg chg="addSp delSp modSp mod ord">
        <pc:chgData name="Sastry, Varsha" userId="ac80d159-c352-438a-bc99-3a60547c55a8" providerId="ADAL" clId="{4E498032-DE11-4ADB-ADBE-A7A978F2511B}" dt="2023-12-11T11:52:22.978" v="523" actId="12788"/>
        <pc:sldMkLst>
          <pc:docMk/>
          <pc:sldMk cId="2880389519" sldId="2147472117"/>
        </pc:sldMkLst>
        <pc:spChg chg="mod">
          <ac:chgData name="Sastry, Varsha" userId="ac80d159-c352-438a-bc99-3a60547c55a8" providerId="ADAL" clId="{4E498032-DE11-4ADB-ADBE-A7A978F2511B}" dt="2023-12-11T11:38:15.739" v="421" actId="164"/>
          <ac:spMkLst>
            <pc:docMk/>
            <pc:sldMk cId="2880389519" sldId="2147472117"/>
            <ac:spMk id="2" creationId="{8DAB7A1E-FAD5-63F6-1941-2934C5A8A3E8}"/>
          </ac:spMkLst>
        </pc:spChg>
        <pc:spChg chg="mod">
          <ac:chgData name="Sastry, Varsha" userId="ac80d159-c352-438a-bc99-3a60547c55a8" providerId="ADAL" clId="{4E498032-DE11-4ADB-ADBE-A7A978F2511B}" dt="2023-12-11T11:38:21.949" v="423" actId="164"/>
          <ac:spMkLst>
            <pc:docMk/>
            <pc:sldMk cId="2880389519" sldId="2147472117"/>
            <ac:spMk id="3" creationId="{BFD9CAE3-DFF1-0772-1A44-766B60B57115}"/>
          </ac:spMkLst>
        </pc:spChg>
        <pc:spChg chg="mod">
          <ac:chgData name="Sastry, Varsha" userId="ac80d159-c352-438a-bc99-3a60547c55a8" providerId="ADAL" clId="{4E498032-DE11-4ADB-ADBE-A7A978F2511B}" dt="2023-12-11T11:38:15.739" v="421" actId="164"/>
          <ac:spMkLst>
            <pc:docMk/>
            <pc:sldMk cId="2880389519" sldId="2147472117"/>
            <ac:spMk id="4" creationId="{1CDE2912-910F-C6F8-3582-AFB28F4DBB4B}"/>
          </ac:spMkLst>
        </pc:spChg>
        <pc:spChg chg="mod">
          <ac:chgData name="Sastry, Varsha" userId="ac80d159-c352-438a-bc99-3a60547c55a8" providerId="ADAL" clId="{4E498032-DE11-4ADB-ADBE-A7A978F2511B}" dt="2023-12-11T11:38:21.949" v="423" actId="164"/>
          <ac:spMkLst>
            <pc:docMk/>
            <pc:sldMk cId="2880389519" sldId="2147472117"/>
            <ac:spMk id="5" creationId="{4C3421BE-7DEC-EB84-EC44-0EF7CA85C895}"/>
          </ac:spMkLst>
        </pc:spChg>
        <pc:spChg chg="mod">
          <ac:chgData name="Sastry, Varsha" userId="ac80d159-c352-438a-bc99-3a60547c55a8" providerId="ADAL" clId="{4E498032-DE11-4ADB-ADBE-A7A978F2511B}" dt="2023-12-11T11:38:50.027" v="425" actId="164"/>
          <ac:spMkLst>
            <pc:docMk/>
            <pc:sldMk cId="2880389519" sldId="2147472117"/>
            <ac:spMk id="6" creationId="{2513D953-5A9C-B480-AC94-AE728A60C3C1}"/>
          </ac:spMkLst>
        </pc:spChg>
        <pc:spChg chg="mod">
          <ac:chgData name="Sastry, Varsha" userId="ac80d159-c352-438a-bc99-3a60547c55a8" providerId="ADAL" clId="{4E498032-DE11-4ADB-ADBE-A7A978F2511B}" dt="2023-12-11T11:38:50.027" v="425" actId="164"/>
          <ac:spMkLst>
            <pc:docMk/>
            <pc:sldMk cId="2880389519" sldId="2147472117"/>
            <ac:spMk id="7" creationId="{C2CBAE67-A811-BBF8-B428-B9225CE227C2}"/>
          </ac:spMkLst>
        </pc:spChg>
        <pc:spChg chg="mod">
          <ac:chgData name="Sastry, Varsha" userId="ac80d159-c352-438a-bc99-3a60547c55a8" providerId="ADAL" clId="{4E498032-DE11-4ADB-ADBE-A7A978F2511B}" dt="2023-12-11T11:38:56.058" v="427" actId="164"/>
          <ac:spMkLst>
            <pc:docMk/>
            <pc:sldMk cId="2880389519" sldId="2147472117"/>
            <ac:spMk id="8" creationId="{F6E19C2B-790C-D00C-4B07-D687BF94CA55}"/>
          </ac:spMkLst>
        </pc:spChg>
        <pc:spChg chg="del">
          <ac:chgData name="Sastry, Varsha" userId="ac80d159-c352-438a-bc99-3a60547c55a8" providerId="ADAL" clId="{4E498032-DE11-4ADB-ADBE-A7A978F2511B}" dt="2023-12-11T11:28:58.720" v="348" actId="478"/>
          <ac:spMkLst>
            <pc:docMk/>
            <pc:sldMk cId="2880389519" sldId="2147472117"/>
            <ac:spMk id="9" creationId="{ED0DFCF4-82F1-BB00-479C-F9EB7F866747}"/>
          </ac:spMkLst>
        </pc:spChg>
        <pc:spChg chg="del">
          <ac:chgData name="Sastry, Varsha" userId="ac80d159-c352-438a-bc99-3a60547c55a8" providerId="ADAL" clId="{4E498032-DE11-4ADB-ADBE-A7A978F2511B}" dt="2023-12-11T11:29:07.391" v="350" actId="478"/>
          <ac:spMkLst>
            <pc:docMk/>
            <pc:sldMk cId="2880389519" sldId="2147472117"/>
            <ac:spMk id="11" creationId="{5A5E7B8F-4ED5-91A9-6867-0EAC71CB2E12}"/>
          </ac:spMkLst>
        </pc:spChg>
        <pc:spChg chg="mod">
          <ac:chgData name="Sastry, Varsha" userId="ac80d159-c352-438a-bc99-3a60547c55a8" providerId="ADAL" clId="{4E498032-DE11-4ADB-ADBE-A7A978F2511B}" dt="2023-12-11T11:38:56.058" v="427" actId="164"/>
          <ac:spMkLst>
            <pc:docMk/>
            <pc:sldMk cId="2880389519" sldId="2147472117"/>
            <ac:spMk id="12" creationId="{A5B73F95-31BA-AA62-2EBC-2029EDBDD9D5}"/>
          </ac:spMkLst>
        </pc:spChg>
        <pc:spChg chg="add del mod">
          <ac:chgData name="Sastry, Varsha" userId="ac80d159-c352-438a-bc99-3a60547c55a8" providerId="ADAL" clId="{4E498032-DE11-4ADB-ADBE-A7A978F2511B}" dt="2023-12-11T11:29:33.510" v="352"/>
          <ac:spMkLst>
            <pc:docMk/>
            <pc:sldMk cId="2880389519" sldId="2147472117"/>
            <ac:spMk id="13" creationId="{171E524F-A2AB-43F6-1121-18735DECB173}"/>
          </ac:spMkLst>
        </pc:spChg>
        <pc:spChg chg="add del mod">
          <ac:chgData name="Sastry, Varsha" userId="ac80d159-c352-438a-bc99-3a60547c55a8" providerId="ADAL" clId="{4E498032-DE11-4ADB-ADBE-A7A978F2511B}" dt="2023-12-11T11:29:33.510" v="352"/>
          <ac:spMkLst>
            <pc:docMk/>
            <pc:sldMk cId="2880389519" sldId="2147472117"/>
            <ac:spMk id="15" creationId="{AC00A9D4-29FB-596F-9CD9-B561F25742DB}"/>
          </ac:spMkLst>
        </pc:spChg>
        <pc:spChg chg="add del mod">
          <ac:chgData name="Sastry, Varsha" userId="ac80d159-c352-438a-bc99-3a60547c55a8" providerId="ADAL" clId="{4E498032-DE11-4ADB-ADBE-A7A978F2511B}" dt="2023-12-11T11:29:33.510" v="352"/>
          <ac:spMkLst>
            <pc:docMk/>
            <pc:sldMk cId="2880389519" sldId="2147472117"/>
            <ac:spMk id="16" creationId="{37D09BB6-9BFB-AD7E-BE6B-60E7DC2DE17B}"/>
          </ac:spMkLst>
        </pc:spChg>
        <pc:spChg chg="add del mod">
          <ac:chgData name="Sastry, Varsha" userId="ac80d159-c352-438a-bc99-3a60547c55a8" providerId="ADAL" clId="{4E498032-DE11-4ADB-ADBE-A7A978F2511B}" dt="2023-12-11T11:29:33.510" v="352"/>
          <ac:spMkLst>
            <pc:docMk/>
            <pc:sldMk cId="2880389519" sldId="2147472117"/>
            <ac:spMk id="17" creationId="{5EF526EB-499D-2B04-38D8-1F200D3080F7}"/>
          </ac:spMkLst>
        </pc:spChg>
        <pc:spChg chg="add del mod">
          <ac:chgData name="Sastry, Varsha" userId="ac80d159-c352-438a-bc99-3a60547c55a8" providerId="ADAL" clId="{4E498032-DE11-4ADB-ADBE-A7A978F2511B}" dt="2023-12-11T11:29:33.510" v="352"/>
          <ac:spMkLst>
            <pc:docMk/>
            <pc:sldMk cId="2880389519" sldId="2147472117"/>
            <ac:spMk id="18" creationId="{A615153C-9D9C-7C92-9ABE-872987739517}"/>
          </ac:spMkLst>
        </pc:spChg>
        <pc:spChg chg="add del mod">
          <ac:chgData name="Sastry, Varsha" userId="ac80d159-c352-438a-bc99-3a60547c55a8" providerId="ADAL" clId="{4E498032-DE11-4ADB-ADBE-A7A978F2511B}" dt="2023-12-11T11:29:33.510" v="352"/>
          <ac:spMkLst>
            <pc:docMk/>
            <pc:sldMk cId="2880389519" sldId="2147472117"/>
            <ac:spMk id="19" creationId="{0498EA7A-4358-4790-51C8-BDCCDD16CF76}"/>
          </ac:spMkLst>
        </pc:spChg>
        <pc:spChg chg="add del mod">
          <ac:chgData name="Sastry, Varsha" userId="ac80d159-c352-438a-bc99-3a60547c55a8" providerId="ADAL" clId="{4E498032-DE11-4ADB-ADBE-A7A978F2511B}" dt="2023-12-11T11:29:33.510" v="352"/>
          <ac:spMkLst>
            <pc:docMk/>
            <pc:sldMk cId="2880389519" sldId="2147472117"/>
            <ac:spMk id="20" creationId="{4D657400-BC69-E287-ED34-C2C501A84C9E}"/>
          </ac:spMkLst>
        </pc:spChg>
        <pc:spChg chg="add del mod">
          <ac:chgData name="Sastry, Varsha" userId="ac80d159-c352-438a-bc99-3a60547c55a8" providerId="ADAL" clId="{4E498032-DE11-4ADB-ADBE-A7A978F2511B}" dt="2023-12-11T11:29:33.510" v="352"/>
          <ac:spMkLst>
            <pc:docMk/>
            <pc:sldMk cId="2880389519" sldId="2147472117"/>
            <ac:spMk id="21" creationId="{FF16EBD8-5533-D229-5BB1-69C23D51112A}"/>
          </ac:spMkLst>
        </pc:spChg>
        <pc:spChg chg="add del mod">
          <ac:chgData name="Sastry, Varsha" userId="ac80d159-c352-438a-bc99-3a60547c55a8" providerId="ADAL" clId="{4E498032-DE11-4ADB-ADBE-A7A978F2511B}" dt="2023-12-11T11:29:33.510" v="352"/>
          <ac:spMkLst>
            <pc:docMk/>
            <pc:sldMk cId="2880389519" sldId="2147472117"/>
            <ac:spMk id="22" creationId="{16C4F8E4-CFDE-4694-DCEA-109AA38A5CAD}"/>
          </ac:spMkLst>
        </pc:spChg>
        <pc:spChg chg="add mod">
          <ac:chgData name="Sastry, Varsha" userId="ac80d159-c352-438a-bc99-3a60547c55a8" providerId="ADAL" clId="{4E498032-DE11-4ADB-ADBE-A7A978F2511B}" dt="2023-12-11T11:51:19.257" v="505" actId="164"/>
          <ac:spMkLst>
            <pc:docMk/>
            <pc:sldMk cId="2880389519" sldId="2147472117"/>
            <ac:spMk id="23" creationId="{CB326109-4C80-1FC6-D72E-872998AC161A}"/>
          </ac:spMkLst>
        </pc:spChg>
        <pc:spChg chg="add mod">
          <ac:chgData name="Sastry, Varsha" userId="ac80d159-c352-438a-bc99-3a60547c55a8" providerId="ADAL" clId="{4E498032-DE11-4ADB-ADBE-A7A978F2511B}" dt="2023-12-11T11:51:14.590" v="504" actId="164"/>
          <ac:spMkLst>
            <pc:docMk/>
            <pc:sldMk cId="2880389519" sldId="2147472117"/>
            <ac:spMk id="24" creationId="{0E8134CB-90EF-263D-66A2-6A806CE8FD43}"/>
          </ac:spMkLst>
        </pc:spChg>
        <pc:spChg chg="add mod">
          <ac:chgData name="Sastry, Varsha" userId="ac80d159-c352-438a-bc99-3a60547c55a8" providerId="ADAL" clId="{4E498032-DE11-4ADB-ADBE-A7A978F2511B}" dt="2023-12-11T11:51:25.605" v="507" actId="164"/>
          <ac:spMkLst>
            <pc:docMk/>
            <pc:sldMk cId="2880389519" sldId="2147472117"/>
            <ac:spMk id="25" creationId="{B5FA7AD6-99D9-2D95-5781-A677EABDA559}"/>
          </ac:spMkLst>
        </pc:spChg>
        <pc:spChg chg="add mod">
          <ac:chgData name="Sastry, Varsha" userId="ac80d159-c352-438a-bc99-3a60547c55a8" providerId="ADAL" clId="{4E498032-DE11-4ADB-ADBE-A7A978F2511B}" dt="2023-12-11T11:51:31.583" v="509" actId="164"/>
          <ac:spMkLst>
            <pc:docMk/>
            <pc:sldMk cId="2880389519" sldId="2147472117"/>
            <ac:spMk id="26" creationId="{A7748D46-FEF8-F0DA-7BED-7AB7D5C2F8BC}"/>
          </ac:spMkLst>
        </pc:spChg>
        <pc:spChg chg="add mod">
          <ac:chgData name="Sastry, Varsha" userId="ac80d159-c352-438a-bc99-3a60547c55a8" providerId="ADAL" clId="{4E498032-DE11-4ADB-ADBE-A7A978F2511B}" dt="2023-12-11T11:51:41.104" v="511" actId="164"/>
          <ac:spMkLst>
            <pc:docMk/>
            <pc:sldMk cId="2880389519" sldId="2147472117"/>
            <ac:spMk id="27" creationId="{55AD987A-38B8-E9D9-0BBC-CD579D9FB308}"/>
          </ac:spMkLst>
        </pc:spChg>
        <pc:spChg chg="add mod">
          <ac:chgData name="Sastry, Varsha" userId="ac80d159-c352-438a-bc99-3a60547c55a8" providerId="ADAL" clId="{4E498032-DE11-4ADB-ADBE-A7A978F2511B}" dt="2023-12-11T11:51:47.023" v="513" actId="164"/>
          <ac:spMkLst>
            <pc:docMk/>
            <pc:sldMk cId="2880389519" sldId="2147472117"/>
            <ac:spMk id="28" creationId="{9585B66D-7837-E7FC-75D3-0FD8AF04272A}"/>
          </ac:spMkLst>
        </pc:spChg>
        <pc:spChg chg="add mod">
          <ac:chgData name="Sastry, Varsha" userId="ac80d159-c352-438a-bc99-3a60547c55a8" providerId="ADAL" clId="{4E498032-DE11-4ADB-ADBE-A7A978F2511B}" dt="2023-12-11T11:51:52.801" v="515" actId="164"/>
          <ac:spMkLst>
            <pc:docMk/>
            <pc:sldMk cId="2880389519" sldId="2147472117"/>
            <ac:spMk id="29" creationId="{DBBC7453-959F-4B88-128A-4049CDF73F67}"/>
          </ac:spMkLst>
        </pc:spChg>
        <pc:spChg chg="add mod">
          <ac:chgData name="Sastry, Varsha" userId="ac80d159-c352-438a-bc99-3a60547c55a8" providerId="ADAL" clId="{4E498032-DE11-4ADB-ADBE-A7A978F2511B}" dt="2023-12-11T11:51:58.521" v="517" actId="164"/>
          <ac:spMkLst>
            <pc:docMk/>
            <pc:sldMk cId="2880389519" sldId="2147472117"/>
            <ac:spMk id="30" creationId="{111A5797-4DB2-1B5C-DD0B-49A3B8E076D0}"/>
          </ac:spMkLst>
        </pc:spChg>
        <pc:spChg chg="add mod">
          <ac:chgData name="Sastry, Varsha" userId="ac80d159-c352-438a-bc99-3a60547c55a8" providerId="ADAL" clId="{4E498032-DE11-4ADB-ADBE-A7A978F2511B}" dt="2023-12-11T11:52:05.688" v="519" actId="164"/>
          <ac:spMkLst>
            <pc:docMk/>
            <pc:sldMk cId="2880389519" sldId="2147472117"/>
            <ac:spMk id="31" creationId="{268EA078-2FA3-F594-A220-E494FB468CDA}"/>
          </ac:spMkLst>
        </pc:spChg>
        <pc:spChg chg="mod">
          <ac:chgData name="Sastry, Varsha" userId="ac80d159-c352-438a-bc99-3a60547c55a8" providerId="ADAL" clId="{4E498032-DE11-4ADB-ADBE-A7A978F2511B}" dt="2023-12-11T11:38:10.403" v="419" actId="164"/>
          <ac:spMkLst>
            <pc:docMk/>
            <pc:sldMk cId="2880389519" sldId="2147472117"/>
            <ac:spMk id="50" creationId="{4457BD15-2EE6-41BD-8E12-C8AA6754970B}"/>
          </ac:spMkLst>
        </pc:spChg>
        <pc:spChg chg="mod">
          <ac:chgData name="Sastry, Varsha" userId="ac80d159-c352-438a-bc99-3a60547c55a8" providerId="ADAL" clId="{4E498032-DE11-4ADB-ADBE-A7A978F2511B}" dt="2023-12-11T11:38:10.403" v="419" actId="164"/>
          <ac:spMkLst>
            <pc:docMk/>
            <pc:sldMk cId="2880389519" sldId="2147472117"/>
            <ac:spMk id="52" creationId="{0591DDEE-AC9D-44E4-8E3A-45EA9543ADA4}"/>
          </ac:spMkLst>
        </pc:spChg>
        <pc:spChg chg="mod">
          <ac:chgData name="Sastry, Varsha" userId="ac80d159-c352-438a-bc99-3a60547c55a8" providerId="ADAL" clId="{4E498032-DE11-4ADB-ADBE-A7A978F2511B}" dt="2023-12-11T11:50:11.096" v="495" actId="1076"/>
          <ac:spMkLst>
            <pc:docMk/>
            <pc:sldMk cId="2880389519" sldId="2147472117"/>
            <ac:spMk id="419" creationId="{00000000-0000-0000-0000-000000000000}"/>
          </ac:spMkLst>
        </pc:spChg>
        <pc:spChg chg="mod topLvl">
          <ac:chgData name="Sastry, Varsha" userId="ac80d159-c352-438a-bc99-3a60547c55a8" providerId="ADAL" clId="{4E498032-DE11-4ADB-ADBE-A7A978F2511B}" dt="2023-12-11T11:37:44.935" v="412" actId="164"/>
          <ac:spMkLst>
            <pc:docMk/>
            <pc:sldMk cId="2880389519" sldId="2147472117"/>
            <ac:spMk id="420" creationId="{00000000-0000-0000-0000-000000000000}"/>
          </ac:spMkLst>
        </pc:spChg>
        <pc:spChg chg="mod topLvl">
          <ac:chgData name="Sastry, Varsha" userId="ac80d159-c352-438a-bc99-3a60547c55a8" providerId="ADAL" clId="{4E498032-DE11-4ADB-ADBE-A7A978F2511B}" dt="2023-12-11T11:37:44.935" v="412" actId="164"/>
          <ac:spMkLst>
            <pc:docMk/>
            <pc:sldMk cId="2880389519" sldId="2147472117"/>
            <ac:spMk id="422" creationId="{00000000-0000-0000-0000-000000000000}"/>
          </ac:spMkLst>
        </pc:spChg>
        <pc:spChg chg="mod topLvl">
          <ac:chgData name="Sastry, Varsha" userId="ac80d159-c352-438a-bc99-3a60547c55a8" providerId="ADAL" clId="{4E498032-DE11-4ADB-ADBE-A7A978F2511B}" dt="2023-12-11T11:37:47.965" v="413" actId="164"/>
          <ac:spMkLst>
            <pc:docMk/>
            <pc:sldMk cId="2880389519" sldId="2147472117"/>
            <ac:spMk id="424" creationId="{00000000-0000-0000-0000-000000000000}"/>
          </ac:spMkLst>
        </pc:spChg>
        <pc:spChg chg="mod topLvl">
          <ac:chgData name="Sastry, Varsha" userId="ac80d159-c352-438a-bc99-3a60547c55a8" providerId="ADAL" clId="{4E498032-DE11-4ADB-ADBE-A7A978F2511B}" dt="2023-12-11T11:37:47.965" v="413" actId="164"/>
          <ac:spMkLst>
            <pc:docMk/>
            <pc:sldMk cId="2880389519" sldId="2147472117"/>
            <ac:spMk id="425" creationId="{00000000-0000-0000-0000-000000000000}"/>
          </ac:spMkLst>
        </pc:spChg>
        <pc:spChg chg="mod topLvl">
          <ac:chgData name="Sastry, Varsha" userId="ac80d159-c352-438a-bc99-3a60547c55a8" providerId="ADAL" clId="{4E498032-DE11-4ADB-ADBE-A7A978F2511B}" dt="2023-12-11T11:37:55.180" v="415" actId="164"/>
          <ac:spMkLst>
            <pc:docMk/>
            <pc:sldMk cId="2880389519" sldId="2147472117"/>
            <ac:spMk id="426" creationId="{00000000-0000-0000-0000-000000000000}"/>
          </ac:spMkLst>
        </pc:spChg>
        <pc:spChg chg="mod topLvl">
          <ac:chgData name="Sastry, Varsha" userId="ac80d159-c352-438a-bc99-3a60547c55a8" providerId="ADAL" clId="{4E498032-DE11-4ADB-ADBE-A7A978F2511B}" dt="2023-12-11T11:37:55.180" v="415" actId="164"/>
          <ac:spMkLst>
            <pc:docMk/>
            <pc:sldMk cId="2880389519" sldId="2147472117"/>
            <ac:spMk id="427" creationId="{00000000-0000-0000-0000-000000000000}"/>
          </ac:spMkLst>
        </pc:spChg>
        <pc:spChg chg="mod">
          <ac:chgData name="Sastry, Varsha" userId="ac80d159-c352-438a-bc99-3a60547c55a8" providerId="ADAL" clId="{4E498032-DE11-4ADB-ADBE-A7A978F2511B}" dt="2023-12-11T11:38:02.862" v="417" actId="164"/>
          <ac:spMkLst>
            <pc:docMk/>
            <pc:sldMk cId="2880389519" sldId="2147472117"/>
            <ac:spMk id="428" creationId="{00000000-0000-0000-0000-000000000000}"/>
          </ac:spMkLst>
        </pc:spChg>
        <pc:spChg chg="mod">
          <ac:chgData name="Sastry, Varsha" userId="ac80d159-c352-438a-bc99-3a60547c55a8" providerId="ADAL" clId="{4E498032-DE11-4ADB-ADBE-A7A978F2511B}" dt="2023-12-11T11:38:02.862" v="417" actId="164"/>
          <ac:spMkLst>
            <pc:docMk/>
            <pc:sldMk cId="2880389519" sldId="2147472117"/>
            <ac:spMk id="429" creationId="{00000000-0000-0000-0000-000000000000}"/>
          </ac:spMkLst>
        </pc:spChg>
        <pc:grpChg chg="add del mod">
          <ac:chgData name="Sastry, Varsha" userId="ac80d159-c352-438a-bc99-3a60547c55a8" providerId="ADAL" clId="{4E498032-DE11-4ADB-ADBE-A7A978F2511B}" dt="2023-12-11T11:36:55.099" v="407" actId="165"/>
          <ac:grpSpMkLst>
            <pc:docMk/>
            <pc:sldMk cId="2880389519" sldId="2147472117"/>
            <ac:grpSpMk id="33" creationId="{298BABA2-CC07-7131-FCAE-D684F77A048E}"/>
          </ac:grpSpMkLst>
        </pc:grpChg>
        <pc:grpChg chg="add del mod">
          <ac:chgData name="Sastry, Varsha" userId="ac80d159-c352-438a-bc99-3a60547c55a8" providerId="ADAL" clId="{4E498032-DE11-4ADB-ADBE-A7A978F2511B}" dt="2023-12-11T11:36:55.099" v="407" actId="165"/>
          <ac:grpSpMkLst>
            <pc:docMk/>
            <pc:sldMk cId="2880389519" sldId="2147472117"/>
            <ac:grpSpMk id="34" creationId="{251A753B-0B26-77D0-252D-6EFC82385AFC}"/>
          </ac:grpSpMkLst>
        </pc:grpChg>
        <pc:grpChg chg="add del mod">
          <ac:chgData name="Sastry, Varsha" userId="ac80d159-c352-438a-bc99-3a60547c55a8" providerId="ADAL" clId="{4E498032-DE11-4ADB-ADBE-A7A978F2511B}" dt="2023-12-11T11:36:58.217" v="408" actId="165"/>
          <ac:grpSpMkLst>
            <pc:docMk/>
            <pc:sldMk cId="2880389519" sldId="2147472117"/>
            <ac:grpSpMk id="35" creationId="{9FB73116-923B-62B7-2969-09D1D8CE0F72}"/>
          </ac:grpSpMkLst>
        </pc:grpChg>
        <pc:grpChg chg="add mod">
          <ac:chgData name="Sastry, Varsha" userId="ac80d159-c352-438a-bc99-3a60547c55a8" providerId="ADAL" clId="{4E498032-DE11-4ADB-ADBE-A7A978F2511B}" dt="2023-12-11T11:51:19.257" v="505" actId="164"/>
          <ac:grpSpMkLst>
            <pc:docMk/>
            <pc:sldMk cId="2880389519" sldId="2147472117"/>
            <ac:grpSpMk id="36" creationId="{74FA3242-15F0-9B7F-3E86-F77D9A276982}"/>
          </ac:grpSpMkLst>
        </pc:grpChg>
        <pc:grpChg chg="add mod">
          <ac:chgData name="Sastry, Varsha" userId="ac80d159-c352-438a-bc99-3a60547c55a8" providerId="ADAL" clId="{4E498032-DE11-4ADB-ADBE-A7A978F2511B}" dt="2023-12-11T11:51:14.590" v="504" actId="164"/>
          <ac:grpSpMkLst>
            <pc:docMk/>
            <pc:sldMk cId="2880389519" sldId="2147472117"/>
            <ac:grpSpMk id="37" creationId="{00A2EF28-7A0E-B08C-8DB4-20A32B91E303}"/>
          </ac:grpSpMkLst>
        </pc:grpChg>
        <pc:grpChg chg="add mod">
          <ac:chgData name="Sastry, Varsha" userId="ac80d159-c352-438a-bc99-3a60547c55a8" providerId="ADAL" clId="{4E498032-DE11-4ADB-ADBE-A7A978F2511B}" dt="2023-12-11T11:51:25.605" v="507" actId="164"/>
          <ac:grpSpMkLst>
            <pc:docMk/>
            <pc:sldMk cId="2880389519" sldId="2147472117"/>
            <ac:grpSpMk id="38" creationId="{36E2E267-1BCC-371A-A4BE-8842EA9BDC38}"/>
          </ac:grpSpMkLst>
        </pc:grpChg>
        <pc:grpChg chg="add mod">
          <ac:chgData name="Sastry, Varsha" userId="ac80d159-c352-438a-bc99-3a60547c55a8" providerId="ADAL" clId="{4E498032-DE11-4ADB-ADBE-A7A978F2511B}" dt="2023-12-11T11:51:31.583" v="509" actId="164"/>
          <ac:grpSpMkLst>
            <pc:docMk/>
            <pc:sldMk cId="2880389519" sldId="2147472117"/>
            <ac:grpSpMk id="39" creationId="{A530BBD4-40F9-95EA-09B9-FA5E425E7C11}"/>
          </ac:grpSpMkLst>
        </pc:grpChg>
        <pc:grpChg chg="add mod">
          <ac:chgData name="Sastry, Varsha" userId="ac80d159-c352-438a-bc99-3a60547c55a8" providerId="ADAL" clId="{4E498032-DE11-4ADB-ADBE-A7A978F2511B}" dt="2023-12-11T11:51:41.104" v="511" actId="164"/>
          <ac:grpSpMkLst>
            <pc:docMk/>
            <pc:sldMk cId="2880389519" sldId="2147472117"/>
            <ac:grpSpMk id="40" creationId="{AC667E46-9FE6-6232-AA9C-EE1769F52CF1}"/>
          </ac:grpSpMkLst>
        </pc:grpChg>
        <pc:grpChg chg="add mod">
          <ac:chgData name="Sastry, Varsha" userId="ac80d159-c352-438a-bc99-3a60547c55a8" providerId="ADAL" clId="{4E498032-DE11-4ADB-ADBE-A7A978F2511B}" dt="2023-12-11T11:51:47.023" v="513" actId="164"/>
          <ac:grpSpMkLst>
            <pc:docMk/>
            <pc:sldMk cId="2880389519" sldId="2147472117"/>
            <ac:grpSpMk id="41" creationId="{ACBD9541-D2B9-8509-CDAA-0EB6B7BF48F2}"/>
          </ac:grpSpMkLst>
        </pc:grpChg>
        <pc:grpChg chg="add mod">
          <ac:chgData name="Sastry, Varsha" userId="ac80d159-c352-438a-bc99-3a60547c55a8" providerId="ADAL" clId="{4E498032-DE11-4ADB-ADBE-A7A978F2511B}" dt="2023-12-11T11:51:52.801" v="515" actId="164"/>
          <ac:grpSpMkLst>
            <pc:docMk/>
            <pc:sldMk cId="2880389519" sldId="2147472117"/>
            <ac:grpSpMk id="42" creationId="{ED633E07-80B8-DE92-F144-31E43FA8695C}"/>
          </ac:grpSpMkLst>
        </pc:grpChg>
        <pc:grpChg chg="add mod">
          <ac:chgData name="Sastry, Varsha" userId="ac80d159-c352-438a-bc99-3a60547c55a8" providerId="ADAL" clId="{4E498032-DE11-4ADB-ADBE-A7A978F2511B}" dt="2023-12-11T11:51:58.521" v="517" actId="164"/>
          <ac:grpSpMkLst>
            <pc:docMk/>
            <pc:sldMk cId="2880389519" sldId="2147472117"/>
            <ac:grpSpMk id="43" creationId="{378B8FDC-9E98-C987-52F5-3E15A2927660}"/>
          </ac:grpSpMkLst>
        </pc:grpChg>
        <pc:grpChg chg="add mod">
          <ac:chgData name="Sastry, Varsha" userId="ac80d159-c352-438a-bc99-3a60547c55a8" providerId="ADAL" clId="{4E498032-DE11-4ADB-ADBE-A7A978F2511B}" dt="2023-12-11T11:52:05.688" v="519" actId="164"/>
          <ac:grpSpMkLst>
            <pc:docMk/>
            <pc:sldMk cId="2880389519" sldId="2147472117"/>
            <ac:grpSpMk id="44" creationId="{7CC2D2F9-EE9B-7101-3A80-8ACFCD9186F3}"/>
          </ac:grpSpMkLst>
        </pc:grpChg>
        <pc:grpChg chg="add mod">
          <ac:chgData name="Sastry, Varsha" userId="ac80d159-c352-438a-bc99-3a60547c55a8" providerId="ADAL" clId="{4E498032-DE11-4ADB-ADBE-A7A978F2511B}" dt="2023-12-11T11:52:22.978" v="523" actId="12788"/>
          <ac:grpSpMkLst>
            <pc:docMk/>
            <pc:sldMk cId="2880389519" sldId="2147472117"/>
            <ac:grpSpMk id="45" creationId="{85295C40-784B-956B-9FC9-5CA0D683F97E}"/>
          </ac:grpSpMkLst>
        </pc:grpChg>
        <pc:grpChg chg="add mod">
          <ac:chgData name="Sastry, Varsha" userId="ac80d159-c352-438a-bc99-3a60547c55a8" providerId="ADAL" clId="{4E498032-DE11-4ADB-ADBE-A7A978F2511B}" dt="2023-12-11T11:52:22.978" v="523" actId="12788"/>
          <ac:grpSpMkLst>
            <pc:docMk/>
            <pc:sldMk cId="2880389519" sldId="2147472117"/>
            <ac:grpSpMk id="46" creationId="{96CBD73B-7EA5-3470-073C-910C365AC321}"/>
          </ac:grpSpMkLst>
        </pc:grpChg>
        <pc:grpChg chg="add mod">
          <ac:chgData name="Sastry, Varsha" userId="ac80d159-c352-438a-bc99-3a60547c55a8" providerId="ADAL" clId="{4E498032-DE11-4ADB-ADBE-A7A978F2511B}" dt="2023-12-11T11:52:22.978" v="523" actId="12788"/>
          <ac:grpSpMkLst>
            <pc:docMk/>
            <pc:sldMk cId="2880389519" sldId="2147472117"/>
            <ac:grpSpMk id="47" creationId="{B5421F1F-6533-CD31-22F1-EC6B6FF41E8F}"/>
          </ac:grpSpMkLst>
        </pc:grpChg>
        <pc:grpChg chg="add mod">
          <ac:chgData name="Sastry, Varsha" userId="ac80d159-c352-438a-bc99-3a60547c55a8" providerId="ADAL" clId="{4E498032-DE11-4ADB-ADBE-A7A978F2511B}" dt="2023-12-11T11:52:22.978" v="523" actId="12788"/>
          <ac:grpSpMkLst>
            <pc:docMk/>
            <pc:sldMk cId="2880389519" sldId="2147472117"/>
            <ac:grpSpMk id="48" creationId="{F7601518-B787-A425-AB9C-D3D842B29757}"/>
          </ac:grpSpMkLst>
        </pc:grpChg>
        <pc:grpChg chg="add mod">
          <ac:chgData name="Sastry, Varsha" userId="ac80d159-c352-438a-bc99-3a60547c55a8" providerId="ADAL" clId="{4E498032-DE11-4ADB-ADBE-A7A978F2511B}" dt="2023-12-11T11:52:22.978" v="523" actId="12788"/>
          <ac:grpSpMkLst>
            <pc:docMk/>
            <pc:sldMk cId="2880389519" sldId="2147472117"/>
            <ac:grpSpMk id="49" creationId="{4439FA2D-FE77-5B88-37BF-7CCE9A9B3E97}"/>
          </ac:grpSpMkLst>
        </pc:grpChg>
        <pc:grpChg chg="add mod">
          <ac:chgData name="Sastry, Varsha" userId="ac80d159-c352-438a-bc99-3a60547c55a8" providerId="ADAL" clId="{4E498032-DE11-4ADB-ADBE-A7A978F2511B}" dt="2023-12-11T11:52:22.978" v="523" actId="12788"/>
          <ac:grpSpMkLst>
            <pc:docMk/>
            <pc:sldMk cId="2880389519" sldId="2147472117"/>
            <ac:grpSpMk id="51" creationId="{6170CAA7-1233-96A6-FE18-84133CE00AA8}"/>
          </ac:grpSpMkLst>
        </pc:grpChg>
        <pc:grpChg chg="add mod">
          <ac:chgData name="Sastry, Varsha" userId="ac80d159-c352-438a-bc99-3a60547c55a8" providerId="ADAL" clId="{4E498032-DE11-4ADB-ADBE-A7A978F2511B}" dt="2023-12-11T11:52:22.978" v="523" actId="12788"/>
          <ac:grpSpMkLst>
            <pc:docMk/>
            <pc:sldMk cId="2880389519" sldId="2147472117"/>
            <ac:grpSpMk id="53" creationId="{9406CD84-AEB0-1222-321F-A227E7FA8F35}"/>
          </ac:grpSpMkLst>
        </pc:grpChg>
        <pc:grpChg chg="add mod">
          <ac:chgData name="Sastry, Varsha" userId="ac80d159-c352-438a-bc99-3a60547c55a8" providerId="ADAL" clId="{4E498032-DE11-4ADB-ADBE-A7A978F2511B}" dt="2023-12-11T11:52:22.978" v="523" actId="12788"/>
          <ac:grpSpMkLst>
            <pc:docMk/>
            <pc:sldMk cId="2880389519" sldId="2147472117"/>
            <ac:grpSpMk id="54" creationId="{C7AC3986-CB74-070F-5BEA-5E133727A38B}"/>
          </ac:grpSpMkLst>
        </pc:grpChg>
        <pc:grpChg chg="add mod">
          <ac:chgData name="Sastry, Varsha" userId="ac80d159-c352-438a-bc99-3a60547c55a8" providerId="ADAL" clId="{4E498032-DE11-4ADB-ADBE-A7A978F2511B}" dt="2023-12-11T11:52:22.978" v="523" actId="12788"/>
          <ac:grpSpMkLst>
            <pc:docMk/>
            <pc:sldMk cId="2880389519" sldId="2147472117"/>
            <ac:grpSpMk id="55" creationId="{EED0618C-3B59-416E-513E-A190B64CD2B8}"/>
          </ac:grpSpMkLst>
        </pc:grpChg>
        <pc:cxnChg chg="add mod ord">
          <ac:chgData name="Sastry, Varsha" userId="ac80d159-c352-438a-bc99-3a60547c55a8" providerId="ADAL" clId="{4E498032-DE11-4ADB-ADBE-A7A978F2511B}" dt="2023-12-11T11:32:34.430" v="380" actId="167"/>
          <ac:cxnSpMkLst>
            <pc:docMk/>
            <pc:sldMk cId="2880389519" sldId="2147472117"/>
            <ac:cxnSpMk id="32" creationId="{947632CC-A82B-02F1-E280-D5858B91374B}"/>
          </ac:cxnSpMkLst>
        </pc:cxnChg>
      </pc:sldChg>
      <pc:sldChg chg="modSp mod">
        <pc:chgData name="Sastry, Varsha" userId="ac80d159-c352-438a-bc99-3a60547c55a8" providerId="ADAL" clId="{4E498032-DE11-4ADB-ADBE-A7A978F2511B}" dt="2023-12-11T17:41:49.796" v="6077" actId="20577"/>
        <pc:sldMkLst>
          <pc:docMk/>
          <pc:sldMk cId="289734734" sldId="2147472121"/>
        </pc:sldMkLst>
        <pc:spChg chg="mod">
          <ac:chgData name="Sastry, Varsha" userId="ac80d159-c352-438a-bc99-3a60547c55a8" providerId="ADAL" clId="{4E498032-DE11-4ADB-ADBE-A7A978F2511B}" dt="2023-12-11T17:40:33.582" v="6067" actId="20577"/>
          <ac:spMkLst>
            <pc:docMk/>
            <pc:sldMk cId="289734734" sldId="2147472121"/>
            <ac:spMk id="2" creationId="{CC93B7E7-8D0A-1A99-7EF2-95F71E057368}"/>
          </ac:spMkLst>
        </pc:spChg>
        <pc:graphicFrameChg chg="mod modGraphic">
          <ac:chgData name="Sastry, Varsha" userId="ac80d159-c352-438a-bc99-3a60547c55a8" providerId="ADAL" clId="{4E498032-DE11-4ADB-ADBE-A7A978F2511B}" dt="2023-12-11T17:41:49.796" v="6077" actId="20577"/>
          <ac:graphicFrameMkLst>
            <pc:docMk/>
            <pc:sldMk cId="289734734" sldId="2147472121"/>
            <ac:graphicFrameMk id="5" creationId="{E9AE7BA3-E382-37AF-A4D7-457B619974F4}"/>
          </ac:graphicFrameMkLst>
        </pc:graphicFrameChg>
      </pc:sldChg>
      <pc:sldChg chg="modSp mod">
        <pc:chgData name="Sastry, Varsha" userId="ac80d159-c352-438a-bc99-3a60547c55a8" providerId="ADAL" clId="{4E498032-DE11-4ADB-ADBE-A7A978F2511B}" dt="2023-12-11T18:28:17.270" v="6537" actId="20577"/>
        <pc:sldMkLst>
          <pc:docMk/>
          <pc:sldMk cId="1863641052" sldId="2147472121"/>
        </pc:sldMkLst>
        <pc:graphicFrameChg chg="mod modGraphic">
          <ac:chgData name="Sastry, Varsha" userId="ac80d159-c352-438a-bc99-3a60547c55a8" providerId="ADAL" clId="{4E498032-DE11-4ADB-ADBE-A7A978F2511B}" dt="2023-12-11T18:28:17.270" v="6537" actId="20577"/>
          <ac:graphicFrameMkLst>
            <pc:docMk/>
            <pc:sldMk cId="1863641052" sldId="2147472121"/>
            <ac:graphicFrameMk id="5" creationId="{E9AE7BA3-E382-37AF-A4D7-457B619974F4}"/>
          </ac:graphicFrameMkLst>
        </pc:graphicFrameChg>
      </pc:sldChg>
      <pc:sldChg chg="modSp mod">
        <pc:chgData name="Sastry, Varsha" userId="ac80d159-c352-438a-bc99-3a60547c55a8" providerId="ADAL" clId="{4E498032-DE11-4ADB-ADBE-A7A978F2511B}" dt="2023-12-11T14:09:00.990" v="3037"/>
        <pc:sldMkLst>
          <pc:docMk/>
          <pc:sldMk cId="3332771343" sldId="2147472122"/>
        </pc:sldMkLst>
        <pc:spChg chg="mod">
          <ac:chgData name="Sastry, Varsha" userId="ac80d159-c352-438a-bc99-3a60547c55a8" providerId="ADAL" clId="{4E498032-DE11-4ADB-ADBE-A7A978F2511B}" dt="2023-12-11T14:09:00.990" v="3037"/>
          <ac:spMkLst>
            <pc:docMk/>
            <pc:sldMk cId="3332771343" sldId="2147472122"/>
            <ac:spMk id="76" creationId="{11F95CE4-70DC-4FF6-9740-A5C6EC6923E7}"/>
          </ac:spMkLst>
        </pc:spChg>
      </pc:sldChg>
      <pc:sldChg chg="modSp mod">
        <pc:chgData name="Sastry, Varsha" userId="ac80d159-c352-438a-bc99-3a60547c55a8" providerId="ADAL" clId="{4E498032-DE11-4ADB-ADBE-A7A978F2511B}" dt="2023-12-11T14:09:26.873" v="3038"/>
        <pc:sldMkLst>
          <pc:docMk/>
          <pc:sldMk cId="2854616059" sldId="2147472123"/>
        </pc:sldMkLst>
        <pc:spChg chg="mod">
          <ac:chgData name="Sastry, Varsha" userId="ac80d159-c352-438a-bc99-3a60547c55a8" providerId="ADAL" clId="{4E498032-DE11-4ADB-ADBE-A7A978F2511B}" dt="2023-12-11T14:09:26.873" v="3038"/>
          <ac:spMkLst>
            <pc:docMk/>
            <pc:sldMk cId="2854616059" sldId="2147472123"/>
            <ac:spMk id="6" creationId="{C7B9ACD8-1762-4A25-A9B6-CC87C6C58A77}"/>
          </ac:spMkLst>
        </pc:spChg>
      </pc:sldChg>
      <pc:sldChg chg="modSp mod">
        <pc:chgData name="Sastry, Varsha" userId="ac80d159-c352-438a-bc99-3a60547c55a8" providerId="ADAL" clId="{4E498032-DE11-4ADB-ADBE-A7A978F2511B}" dt="2023-12-11T14:09:52.381" v="3040"/>
        <pc:sldMkLst>
          <pc:docMk/>
          <pc:sldMk cId="1486479302" sldId="2147472127"/>
        </pc:sldMkLst>
        <pc:spChg chg="mod">
          <ac:chgData name="Sastry, Varsha" userId="ac80d159-c352-438a-bc99-3a60547c55a8" providerId="ADAL" clId="{4E498032-DE11-4ADB-ADBE-A7A978F2511B}" dt="2023-12-11T14:09:52.381" v="3040"/>
          <ac:spMkLst>
            <pc:docMk/>
            <pc:sldMk cId="1486479302" sldId="2147472127"/>
            <ac:spMk id="76" creationId="{11F95CE4-70DC-4FF6-9740-A5C6EC6923E7}"/>
          </ac:spMkLst>
        </pc:spChg>
      </pc:sldChg>
      <pc:sldChg chg="mod ord modShow">
        <pc:chgData name="Sastry, Varsha" userId="ac80d159-c352-438a-bc99-3a60547c55a8" providerId="ADAL" clId="{4E498032-DE11-4ADB-ADBE-A7A978F2511B}" dt="2023-12-11T13:57:13.651" v="3012" actId="729"/>
        <pc:sldMkLst>
          <pc:docMk/>
          <pc:sldMk cId="252821583" sldId="2147472130"/>
        </pc:sldMkLst>
      </pc:sldChg>
      <pc:sldChg chg="modSp mod ord">
        <pc:chgData name="Sastry, Varsha" userId="ac80d159-c352-438a-bc99-3a60547c55a8" providerId="ADAL" clId="{4E498032-DE11-4ADB-ADBE-A7A978F2511B}" dt="2023-12-11T17:41:13.266" v="6068"/>
        <pc:sldMkLst>
          <pc:docMk/>
          <pc:sldMk cId="2524185890" sldId="2147472156"/>
        </pc:sldMkLst>
        <pc:spChg chg="mod">
          <ac:chgData name="Sastry, Varsha" userId="ac80d159-c352-438a-bc99-3a60547c55a8" providerId="ADAL" clId="{4E498032-DE11-4ADB-ADBE-A7A978F2511B}" dt="2023-12-11T17:40:23.078" v="6061" actId="20577"/>
          <ac:spMkLst>
            <pc:docMk/>
            <pc:sldMk cId="2524185890" sldId="2147472156"/>
            <ac:spMk id="4" creationId="{31F259EA-1D67-1D14-71C2-8622C1CA83E8}"/>
          </ac:spMkLst>
        </pc:spChg>
        <pc:graphicFrameChg chg="mod modGraphic">
          <ac:chgData name="Sastry, Varsha" userId="ac80d159-c352-438a-bc99-3a60547c55a8" providerId="ADAL" clId="{4E498032-DE11-4ADB-ADBE-A7A978F2511B}" dt="2023-12-11T17:41:13.266" v="6068"/>
          <ac:graphicFrameMkLst>
            <pc:docMk/>
            <pc:sldMk cId="2524185890" sldId="2147472156"/>
            <ac:graphicFrameMk id="5" creationId="{E9AE7BA3-E382-37AF-A4D7-457B619974F4}"/>
          </ac:graphicFrameMkLst>
        </pc:graphicFrameChg>
      </pc:sldChg>
      <pc:sldChg chg="modSp mod">
        <pc:chgData name="Sastry, Varsha" userId="ac80d159-c352-438a-bc99-3a60547c55a8" providerId="ADAL" clId="{4E498032-DE11-4ADB-ADBE-A7A978F2511B}" dt="2023-12-11T17:28:08.212" v="5502" actId="20577"/>
        <pc:sldMkLst>
          <pc:docMk/>
          <pc:sldMk cId="4195177294" sldId="2147472168"/>
        </pc:sldMkLst>
        <pc:graphicFrameChg chg="modGraphic">
          <ac:chgData name="Sastry, Varsha" userId="ac80d159-c352-438a-bc99-3a60547c55a8" providerId="ADAL" clId="{4E498032-DE11-4ADB-ADBE-A7A978F2511B}" dt="2023-12-11T17:28:08.212" v="5502" actId="20577"/>
          <ac:graphicFrameMkLst>
            <pc:docMk/>
            <pc:sldMk cId="4195177294" sldId="2147472168"/>
            <ac:graphicFrameMk id="4" creationId="{8F73AE33-156D-48F2-7633-0C4AB5141029}"/>
          </ac:graphicFrameMkLst>
        </pc:graphicFrameChg>
      </pc:sldChg>
      <pc:sldChg chg="addSp modSp mod">
        <pc:chgData name="Sastry, Varsha" userId="ac80d159-c352-438a-bc99-3a60547c55a8" providerId="ADAL" clId="{4E498032-DE11-4ADB-ADBE-A7A978F2511B}" dt="2023-12-11T18:26:35.121" v="6531" actId="6549"/>
        <pc:sldMkLst>
          <pc:docMk/>
          <pc:sldMk cId="3043470878" sldId="2147472171"/>
        </pc:sldMkLst>
        <pc:spChg chg="mod">
          <ac:chgData name="Sastry, Varsha" userId="ac80d159-c352-438a-bc99-3a60547c55a8" providerId="ADAL" clId="{4E498032-DE11-4ADB-ADBE-A7A978F2511B}" dt="2023-12-11T17:53:08.248" v="6116" actId="2711"/>
          <ac:spMkLst>
            <pc:docMk/>
            <pc:sldMk cId="3043470878" sldId="2147472171"/>
            <ac:spMk id="2" creationId="{3BBBA3F9-107E-4D77-A0D3-745E831715EF}"/>
          </ac:spMkLst>
        </pc:spChg>
        <pc:spChg chg="mod">
          <ac:chgData name="Sastry, Varsha" userId="ac80d159-c352-438a-bc99-3a60547c55a8" providerId="ADAL" clId="{4E498032-DE11-4ADB-ADBE-A7A978F2511B}" dt="2023-12-11T17:53:08.248" v="6116" actId="2711"/>
          <ac:spMkLst>
            <pc:docMk/>
            <pc:sldMk cId="3043470878" sldId="2147472171"/>
            <ac:spMk id="3" creationId="{6182B964-A5BA-9B39-6022-3BA9E148A94E}"/>
          </ac:spMkLst>
        </pc:spChg>
        <pc:spChg chg="mod">
          <ac:chgData name="Sastry, Varsha" userId="ac80d159-c352-438a-bc99-3a60547c55a8" providerId="ADAL" clId="{4E498032-DE11-4ADB-ADBE-A7A978F2511B}" dt="2023-12-11T17:53:08.248" v="6116" actId="2711"/>
          <ac:spMkLst>
            <pc:docMk/>
            <pc:sldMk cId="3043470878" sldId="2147472171"/>
            <ac:spMk id="5" creationId="{3A2D222A-3C97-12C0-ED18-9BF0DF7BB7E8}"/>
          </ac:spMkLst>
        </pc:spChg>
        <pc:spChg chg="mod">
          <ac:chgData name="Sastry, Varsha" userId="ac80d159-c352-438a-bc99-3a60547c55a8" providerId="ADAL" clId="{4E498032-DE11-4ADB-ADBE-A7A978F2511B}" dt="2023-12-11T17:53:08.248" v="6116" actId="2711"/>
          <ac:spMkLst>
            <pc:docMk/>
            <pc:sldMk cId="3043470878" sldId="2147472171"/>
            <ac:spMk id="6" creationId="{14DF282D-7FD8-5772-53A3-8E242EAB6C90}"/>
          </ac:spMkLst>
        </pc:spChg>
        <pc:spChg chg="add mod">
          <ac:chgData name="Sastry, Varsha" userId="ac80d159-c352-438a-bc99-3a60547c55a8" providerId="ADAL" clId="{4E498032-DE11-4ADB-ADBE-A7A978F2511B}" dt="2023-12-11T18:26:35.121" v="6531" actId="6549"/>
          <ac:spMkLst>
            <pc:docMk/>
            <pc:sldMk cId="3043470878" sldId="2147472171"/>
            <ac:spMk id="7" creationId="{9F5BE641-23A4-C34C-CEE8-C97440071CE6}"/>
          </ac:spMkLst>
        </pc:spChg>
        <pc:graphicFrameChg chg="modGraphic">
          <ac:chgData name="Sastry, Varsha" userId="ac80d159-c352-438a-bc99-3a60547c55a8" providerId="ADAL" clId="{4E498032-DE11-4ADB-ADBE-A7A978F2511B}" dt="2023-12-11T18:22:02.106" v="6262" actId="14100"/>
          <ac:graphicFrameMkLst>
            <pc:docMk/>
            <pc:sldMk cId="3043470878" sldId="2147472171"/>
            <ac:graphicFrameMk id="4" creationId="{8F73AE33-156D-48F2-7633-0C4AB5141029}"/>
          </ac:graphicFrameMkLst>
        </pc:graphicFrameChg>
      </pc:sldChg>
      <pc:sldChg chg="modSp mod">
        <pc:chgData name="Sastry, Varsha" userId="ac80d159-c352-438a-bc99-3a60547c55a8" providerId="ADAL" clId="{4E498032-DE11-4ADB-ADBE-A7A978F2511B}" dt="2023-12-11T18:10:18.698" v="6161" actId="108"/>
        <pc:sldMkLst>
          <pc:docMk/>
          <pc:sldMk cId="429018731" sldId="2147472188"/>
        </pc:sldMkLst>
        <pc:spChg chg="mod">
          <ac:chgData name="Sastry, Varsha" userId="ac80d159-c352-438a-bc99-3a60547c55a8" providerId="ADAL" clId="{4E498032-DE11-4ADB-ADBE-A7A978F2511B}" dt="2023-12-11T17:48:54.320" v="6091" actId="2711"/>
          <ac:spMkLst>
            <pc:docMk/>
            <pc:sldMk cId="429018731" sldId="2147472188"/>
            <ac:spMk id="5" creationId="{E325CA36-9253-0FB4-B801-024A889CC864}"/>
          </ac:spMkLst>
        </pc:spChg>
        <pc:spChg chg="mod">
          <ac:chgData name="Sastry, Varsha" userId="ac80d159-c352-438a-bc99-3a60547c55a8" providerId="ADAL" clId="{4E498032-DE11-4ADB-ADBE-A7A978F2511B}" dt="2023-12-11T17:48:14.962" v="6087" actId="108"/>
          <ac:spMkLst>
            <pc:docMk/>
            <pc:sldMk cId="429018731" sldId="2147472188"/>
            <ac:spMk id="8" creationId="{C0AB5ECE-0DAE-B36B-DD8A-730865A21047}"/>
          </ac:spMkLst>
        </pc:spChg>
        <pc:spChg chg="mod">
          <ac:chgData name="Sastry, Varsha" userId="ac80d159-c352-438a-bc99-3a60547c55a8" providerId="ADAL" clId="{4E498032-DE11-4ADB-ADBE-A7A978F2511B}" dt="2023-12-11T17:48:21.346" v="6088" actId="108"/>
          <ac:spMkLst>
            <pc:docMk/>
            <pc:sldMk cId="429018731" sldId="2147472188"/>
            <ac:spMk id="9" creationId="{170C8A31-58D1-49EC-A331-0DE8C9A824D0}"/>
          </ac:spMkLst>
        </pc:spChg>
        <pc:spChg chg="mod">
          <ac:chgData name="Sastry, Varsha" userId="ac80d159-c352-438a-bc99-3a60547c55a8" providerId="ADAL" clId="{4E498032-DE11-4ADB-ADBE-A7A978F2511B}" dt="2023-12-11T18:10:18.698" v="6161" actId="108"/>
          <ac:spMkLst>
            <pc:docMk/>
            <pc:sldMk cId="429018731" sldId="2147472188"/>
            <ac:spMk id="18" creationId="{4D73B83F-0107-A3D6-AF54-CE204E364A00}"/>
          </ac:spMkLst>
        </pc:spChg>
      </pc:sldChg>
      <pc:sldChg chg="modSp mod">
        <pc:chgData name="Sastry, Varsha" userId="ac80d159-c352-438a-bc99-3a60547c55a8" providerId="ADAL" clId="{4E498032-DE11-4ADB-ADBE-A7A978F2511B}" dt="2023-12-11T18:12:52.531" v="6188" actId="313"/>
        <pc:sldMkLst>
          <pc:docMk/>
          <pc:sldMk cId="2457903236" sldId="2147472189"/>
        </pc:sldMkLst>
        <pc:spChg chg="mod">
          <ac:chgData name="Sastry, Varsha" userId="ac80d159-c352-438a-bc99-3a60547c55a8" providerId="ADAL" clId="{4E498032-DE11-4ADB-ADBE-A7A978F2511B}" dt="2023-12-11T17:49:32.398" v="6094" actId="108"/>
          <ac:spMkLst>
            <pc:docMk/>
            <pc:sldMk cId="2457903236" sldId="2147472189"/>
            <ac:spMk id="3" creationId="{8ECA648E-A4B2-89B3-8E11-2F3F25DE8C14}"/>
          </ac:spMkLst>
        </pc:spChg>
        <pc:spChg chg="mod">
          <ac:chgData name="Sastry, Varsha" userId="ac80d159-c352-438a-bc99-3a60547c55a8" providerId="ADAL" clId="{4E498032-DE11-4ADB-ADBE-A7A978F2511B}" dt="2023-12-11T17:49:40.755" v="6095" actId="108"/>
          <ac:spMkLst>
            <pc:docMk/>
            <pc:sldMk cId="2457903236" sldId="2147472189"/>
            <ac:spMk id="5" creationId="{7780C9A4-1B58-C7B4-8260-D1451030869D}"/>
          </ac:spMkLst>
        </pc:spChg>
        <pc:spChg chg="mod">
          <ac:chgData name="Sastry, Varsha" userId="ac80d159-c352-438a-bc99-3a60547c55a8" providerId="ADAL" clId="{4E498032-DE11-4ADB-ADBE-A7A978F2511B}" dt="2023-12-11T17:49:20.193" v="6093" actId="2711"/>
          <ac:spMkLst>
            <pc:docMk/>
            <pc:sldMk cId="2457903236" sldId="2147472189"/>
            <ac:spMk id="9" creationId="{00A83860-AD90-25FB-6F83-02AAB4233B07}"/>
          </ac:spMkLst>
        </pc:spChg>
        <pc:spChg chg="mod">
          <ac:chgData name="Sastry, Varsha" userId="ac80d159-c352-438a-bc99-3a60547c55a8" providerId="ADAL" clId="{4E498032-DE11-4ADB-ADBE-A7A978F2511B}" dt="2023-12-11T18:12:41.921" v="6187" actId="20577"/>
          <ac:spMkLst>
            <pc:docMk/>
            <pc:sldMk cId="2457903236" sldId="2147472189"/>
            <ac:spMk id="10" creationId="{DB954C8E-C1B7-4154-AD04-8F98C7352546}"/>
          </ac:spMkLst>
        </pc:spChg>
        <pc:spChg chg="mod">
          <ac:chgData name="Sastry, Varsha" userId="ac80d159-c352-438a-bc99-3a60547c55a8" providerId="ADAL" clId="{4E498032-DE11-4ADB-ADBE-A7A978F2511B}" dt="2023-12-11T18:12:52.531" v="6188" actId="313"/>
          <ac:spMkLst>
            <pc:docMk/>
            <pc:sldMk cId="2457903236" sldId="2147472189"/>
            <ac:spMk id="14" creationId="{F10227DE-8C1F-199B-621C-AC0EA778471D}"/>
          </ac:spMkLst>
        </pc:spChg>
      </pc:sldChg>
      <pc:sldChg chg="modSp mod">
        <pc:chgData name="Sastry, Varsha" userId="ac80d159-c352-438a-bc99-3a60547c55a8" providerId="ADAL" clId="{4E498032-DE11-4ADB-ADBE-A7A978F2511B}" dt="2023-12-11T18:13:55.953" v="6217" actId="1036"/>
        <pc:sldMkLst>
          <pc:docMk/>
          <pc:sldMk cId="4014948116" sldId="2147472190"/>
        </pc:sldMkLst>
        <pc:spChg chg="mod">
          <ac:chgData name="Sastry, Varsha" userId="ac80d159-c352-438a-bc99-3a60547c55a8" providerId="ADAL" clId="{4E498032-DE11-4ADB-ADBE-A7A978F2511B}" dt="2023-12-11T18:13:55.953" v="6217" actId="1036"/>
          <ac:spMkLst>
            <pc:docMk/>
            <pc:sldMk cId="4014948116" sldId="2147472190"/>
            <ac:spMk id="5" creationId="{9AE5C09D-8B8D-7CCC-8B45-E0840C514935}"/>
          </ac:spMkLst>
        </pc:spChg>
        <pc:spChg chg="mod">
          <ac:chgData name="Sastry, Varsha" userId="ac80d159-c352-438a-bc99-3a60547c55a8" providerId="ADAL" clId="{4E498032-DE11-4ADB-ADBE-A7A978F2511B}" dt="2023-12-11T17:49:52.664" v="6096" actId="108"/>
          <ac:spMkLst>
            <pc:docMk/>
            <pc:sldMk cId="4014948116" sldId="2147472190"/>
            <ac:spMk id="9" creationId="{D2157997-84C9-5A75-8AEC-52CC216993CA}"/>
          </ac:spMkLst>
        </pc:spChg>
        <pc:spChg chg="mod">
          <ac:chgData name="Sastry, Varsha" userId="ac80d159-c352-438a-bc99-3a60547c55a8" providerId="ADAL" clId="{4E498032-DE11-4ADB-ADBE-A7A978F2511B}" dt="2023-12-11T17:49:59.197" v="6097" actId="108"/>
          <ac:spMkLst>
            <pc:docMk/>
            <pc:sldMk cId="4014948116" sldId="2147472190"/>
            <ac:spMk id="16" creationId="{1F7028E4-7114-13C3-863A-35B6D9F1000C}"/>
          </ac:spMkLst>
        </pc:spChg>
        <pc:spChg chg="mod">
          <ac:chgData name="Sastry, Varsha" userId="ac80d159-c352-438a-bc99-3a60547c55a8" providerId="ADAL" clId="{4E498032-DE11-4ADB-ADBE-A7A978F2511B}" dt="2023-12-11T18:13:46.114" v="6192" actId="20577"/>
          <ac:spMkLst>
            <pc:docMk/>
            <pc:sldMk cId="4014948116" sldId="2147472190"/>
            <ac:spMk id="18" creationId="{14C86E9B-D1A5-AFA2-682D-D010A63C7A75}"/>
          </ac:spMkLst>
        </pc:spChg>
        <pc:picChg chg="mod">
          <ac:chgData name="Sastry, Varsha" userId="ac80d159-c352-438a-bc99-3a60547c55a8" providerId="ADAL" clId="{4E498032-DE11-4ADB-ADBE-A7A978F2511B}" dt="2023-12-11T18:13:55.953" v="6217" actId="1036"/>
          <ac:picMkLst>
            <pc:docMk/>
            <pc:sldMk cId="4014948116" sldId="2147472190"/>
            <ac:picMk id="2" creationId="{E3573C0C-6981-5CC5-7BB7-8BDDA7B1B87D}"/>
          </ac:picMkLst>
        </pc:picChg>
        <pc:picChg chg="mod">
          <ac:chgData name="Sastry, Varsha" userId="ac80d159-c352-438a-bc99-3a60547c55a8" providerId="ADAL" clId="{4E498032-DE11-4ADB-ADBE-A7A978F2511B}" dt="2023-12-11T18:13:55.953" v="6217" actId="1036"/>
          <ac:picMkLst>
            <pc:docMk/>
            <pc:sldMk cId="4014948116" sldId="2147472190"/>
            <ac:picMk id="3" creationId="{816D95A9-3A0F-C0DF-8A71-C13F7D008B8D}"/>
          </ac:picMkLst>
        </pc:picChg>
      </pc:sldChg>
      <pc:sldChg chg="delSp modSp mod modCm">
        <pc:chgData name="Sastry, Varsha" userId="ac80d159-c352-438a-bc99-3a60547c55a8" providerId="ADAL" clId="{4E498032-DE11-4ADB-ADBE-A7A978F2511B}" dt="2023-12-11T18:16:16.626" v="6252" actId="14100"/>
        <pc:sldMkLst>
          <pc:docMk/>
          <pc:sldMk cId="3016214707" sldId="2147472191"/>
        </pc:sldMkLst>
        <pc:spChg chg="mod">
          <ac:chgData name="Sastry, Varsha" userId="ac80d159-c352-438a-bc99-3a60547c55a8" providerId="ADAL" clId="{4E498032-DE11-4ADB-ADBE-A7A978F2511B}" dt="2023-12-11T17:50:19.729" v="6099" actId="108"/>
          <ac:spMkLst>
            <pc:docMk/>
            <pc:sldMk cId="3016214707" sldId="2147472191"/>
            <ac:spMk id="3" creationId="{F8C072B1-37AC-F468-5AE0-4A61BF8258C3}"/>
          </ac:spMkLst>
        </pc:spChg>
        <pc:spChg chg="mod">
          <ac:chgData name="Sastry, Varsha" userId="ac80d159-c352-438a-bc99-3a60547c55a8" providerId="ADAL" clId="{4E498032-DE11-4ADB-ADBE-A7A978F2511B}" dt="2023-12-11T17:50:27.391" v="6100" actId="108"/>
          <ac:spMkLst>
            <pc:docMk/>
            <pc:sldMk cId="3016214707" sldId="2147472191"/>
            <ac:spMk id="5" creationId="{80CB763D-20A4-7AB2-05EE-FE4F37AD08B9}"/>
          </ac:spMkLst>
        </pc:spChg>
        <pc:spChg chg="mod">
          <ac:chgData name="Sastry, Varsha" userId="ac80d159-c352-438a-bc99-3a60547c55a8" providerId="ADAL" clId="{4E498032-DE11-4ADB-ADBE-A7A978F2511B}" dt="2023-12-11T18:16:13.256" v="6250" actId="20577"/>
          <ac:spMkLst>
            <pc:docMk/>
            <pc:sldMk cId="3016214707" sldId="2147472191"/>
            <ac:spMk id="7" creationId="{F383020E-08FE-9546-C661-738047BA7264}"/>
          </ac:spMkLst>
        </pc:spChg>
        <pc:spChg chg="mod">
          <ac:chgData name="Sastry, Varsha" userId="ac80d159-c352-438a-bc99-3a60547c55a8" providerId="ADAL" clId="{4E498032-DE11-4ADB-ADBE-A7A978F2511B}" dt="2023-12-11T18:15:40.801" v="6236" actId="1076"/>
          <ac:spMkLst>
            <pc:docMk/>
            <pc:sldMk cId="3016214707" sldId="2147472191"/>
            <ac:spMk id="9" creationId="{7BDCC5BC-5B2F-2E30-54A5-C420BED977A6}"/>
          </ac:spMkLst>
        </pc:spChg>
        <pc:spChg chg="del">
          <ac:chgData name="Sastry, Varsha" userId="ac80d159-c352-438a-bc99-3a60547c55a8" providerId="ADAL" clId="{4E498032-DE11-4ADB-ADBE-A7A978F2511B}" dt="2023-12-11T18:15:47.295" v="6237" actId="478"/>
          <ac:spMkLst>
            <pc:docMk/>
            <pc:sldMk cId="3016214707" sldId="2147472191"/>
            <ac:spMk id="23" creationId="{46F38595-AC50-0930-2C21-E9BBACD72AAE}"/>
          </ac:spMkLst>
        </pc:spChg>
        <pc:picChg chg="mod">
          <ac:chgData name="Sastry, Varsha" userId="ac80d159-c352-438a-bc99-3a60547c55a8" providerId="ADAL" clId="{4E498032-DE11-4ADB-ADBE-A7A978F2511B}" dt="2023-12-11T18:16:16.626" v="6252" actId="14100"/>
          <ac:picMkLst>
            <pc:docMk/>
            <pc:sldMk cId="3016214707" sldId="2147472191"/>
            <ac:picMk id="22" creationId="{7693BE90-8F6F-DE02-8DA1-5B1676D09FFE}"/>
          </ac:picMkLst>
        </pc:picChg>
      </pc:sldChg>
      <pc:sldChg chg="modSp mod modCm">
        <pc:chgData name="Sastry, Varsha" userId="ac80d159-c352-438a-bc99-3a60547c55a8" providerId="ADAL" clId="{4E498032-DE11-4ADB-ADBE-A7A978F2511B}" dt="2023-12-11T18:17:09.235" v="6256" actId="20577"/>
        <pc:sldMkLst>
          <pc:docMk/>
          <pc:sldMk cId="1730741612" sldId="2147472192"/>
        </pc:sldMkLst>
        <pc:spChg chg="mod">
          <ac:chgData name="Sastry, Varsha" userId="ac80d159-c352-438a-bc99-3a60547c55a8" providerId="ADAL" clId="{4E498032-DE11-4ADB-ADBE-A7A978F2511B}" dt="2023-12-11T17:50:59.996" v="6104" actId="2711"/>
          <ac:spMkLst>
            <pc:docMk/>
            <pc:sldMk cId="1730741612" sldId="2147472192"/>
            <ac:spMk id="5" creationId="{73EFE1BB-E51D-48D8-C182-C72755EDCBD6}"/>
          </ac:spMkLst>
        </pc:spChg>
        <pc:spChg chg="mod">
          <ac:chgData name="Sastry, Varsha" userId="ac80d159-c352-438a-bc99-3a60547c55a8" providerId="ADAL" clId="{4E498032-DE11-4ADB-ADBE-A7A978F2511B}" dt="2023-12-11T17:50:48.801" v="6102" actId="108"/>
          <ac:spMkLst>
            <pc:docMk/>
            <pc:sldMk cId="1730741612" sldId="2147472192"/>
            <ac:spMk id="8" creationId="{4CBFDD61-041F-5470-7359-9D4F81AB2014}"/>
          </ac:spMkLst>
        </pc:spChg>
        <pc:spChg chg="mod">
          <ac:chgData name="Sastry, Varsha" userId="ac80d159-c352-438a-bc99-3a60547c55a8" providerId="ADAL" clId="{4E498032-DE11-4ADB-ADBE-A7A978F2511B}" dt="2023-12-11T17:50:54.919" v="6103" actId="108"/>
          <ac:spMkLst>
            <pc:docMk/>
            <pc:sldMk cId="1730741612" sldId="2147472192"/>
            <ac:spMk id="9" creationId="{7516321A-B103-977A-0CDC-653E1B64225D}"/>
          </ac:spMkLst>
        </pc:spChg>
        <pc:spChg chg="mod">
          <ac:chgData name="Sastry, Varsha" userId="ac80d159-c352-438a-bc99-3a60547c55a8" providerId="ADAL" clId="{4E498032-DE11-4ADB-ADBE-A7A978F2511B}" dt="2023-12-11T18:17:09.235" v="6256" actId="20577"/>
          <ac:spMkLst>
            <pc:docMk/>
            <pc:sldMk cId="1730741612" sldId="2147472192"/>
            <ac:spMk id="17" creationId="{06C0066E-45D8-F23A-6F3A-FD4356816B2F}"/>
          </ac:spMkLst>
        </pc:spChg>
      </pc:sldChg>
      <pc:sldChg chg="modSp mod">
        <pc:chgData name="Sastry, Varsha" userId="ac80d159-c352-438a-bc99-3a60547c55a8" providerId="ADAL" clId="{4E498032-DE11-4ADB-ADBE-A7A978F2511B}" dt="2023-12-11T17:51:25.660" v="6107" actId="2711"/>
        <pc:sldMkLst>
          <pc:docMk/>
          <pc:sldMk cId="470543264" sldId="2147472193"/>
        </pc:sldMkLst>
        <pc:spChg chg="mod">
          <ac:chgData name="Sastry, Varsha" userId="ac80d159-c352-438a-bc99-3a60547c55a8" providerId="ADAL" clId="{4E498032-DE11-4ADB-ADBE-A7A978F2511B}" dt="2023-12-11T17:51:13.202" v="6105" actId="108"/>
          <ac:spMkLst>
            <pc:docMk/>
            <pc:sldMk cId="470543264" sldId="2147472193"/>
            <ac:spMk id="3" creationId="{E370BA31-7D6B-448E-E8E2-444EBB45F42F}"/>
          </ac:spMkLst>
        </pc:spChg>
        <pc:spChg chg="mod">
          <ac:chgData name="Sastry, Varsha" userId="ac80d159-c352-438a-bc99-3a60547c55a8" providerId="ADAL" clId="{4E498032-DE11-4ADB-ADBE-A7A978F2511B}" dt="2023-12-11T17:51:21.006" v="6106" actId="108"/>
          <ac:spMkLst>
            <pc:docMk/>
            <pc:sldMk cId="470543264" sldId="2147472193"/>
            <ac:spMk id="5" creationId="{0564BCBE-C27C-921F-3AA9-34CD82D3BD67}"/>
          </ac:spMkLst>
        </pc:spChg>
        <pc:spChg chg="mod">
          <ac:chgData name="Sastry, Varsha" userId="ac80d159-c352-438a-bc99-3a60547c55a8" providerId="ADAL" clId="{4E498032-DE11-4ADB-ADBE-A7A978F2511B}" dt="2023-12-11T17:51:25.660" v="6107" actId="2711"/>
          <ac:spMkLst>
            <pc:docMk/>
            <pc:sldMk cId="470543264" sldId="2147472193"/>
            <ac:spMk id="17" creationId="{AFEE4298-9972-79C1-4099-1A8B32D88D18}"/>
          </ac:spMkLst>
        </pc:spChg>
      </pc:sldChg>
      <pc:sldChg chg="modSp mod">
        <pc:chgData name="Sastry, Varsha" userId="ac80d159-c352-438a-bc99-3a60547c55a8" providerId="ADAL" clId="{4E498032-DE11-4ADB-ADBE-A7A978F2511B}" dt="2023-12-11T17:51:47.062" v="6110" actId="2711"/>
        <pc:sldMkLst>
          <pc:docMk/>
          <pc:sldMk cId="3653975131" sldId="2147472194"/>
        </pc:sldMkLst>
        <pc:spChg chg="mod">
          <ac:chgData name="Sastry, Varsha" userId="ac80d159-c352-438a-bc99-3a60547c55a8" providerId="ADAL" clId="{4E498032-DE11-4ADB-ADBE-A7A978F2511B}" dt="2023-12-11T17:51:32.795" v="6108" actId="108"/>
          <ac:spMkLst>
            <pc:docMk/>
            <pc:sldMk cId="3653975131" sldId="2147472194"/>
            <ac:spMk id="3" creationId="{A8ECBCC6-6315-2C51-015A-26106381FFF9}"/>
          </ac:spMkLst>
        </pc:spChg>
        <pc:spChg chg="mod">
          <ac:chgData name="Sastry, Varsha" userId="ac80d159-c352-438a-bc99-3a60547c55a8" providerId="ADAL" clId="{4E498032-DE11-4ADB-ADBE-A7A978F2511B}" dt="2023-12-11T17:51:39.352" v="6109" actId="108"/>
          <ac:spMkLst>
            <pc:docMk/>
            <pc:sldMk cId="3653975131" sldId="2147472194"/>
            <ac:spMk id="4" creationId="{D7A2886A-C292-CC53-42BB-BF72F5E6474D}"/>
          </ac:spMkLst>
        </pc:spChg>
        <pc:spChg chg="mod">
          <ac:chgData name="Sastry, Varsha" userId="ac80d159-c352-438a-bc99-3a60547c55a8" providerId="ADAL" clId="{4E498032-DE11-4ADB-ADBE-A7A978F2511B}" dt="2023-12-11T17:51:47.062" v="6110" actId="2711"/>
          <ac:spMkLst>
            <pc:docMk/>
            <pc:sldMk cId="3653975131" sldId="2147472194"/>
            <ac:spMk id="17" creationId="{6DC96851-4EFA-3AE1-D8BF-457F84306EFA}"/>
          </ac:spMkLst>
        </pc:spChg>
      </pc:sldChg>
      <pc:sldChg chg="modSp mod">
        <pc:chgData name="Sastry, Varsha" userId="ac80d159-c352-438a-bc99-3a60547c55a8" providerId="ADAL" clId="{4E498032-DE11-4ADB-ADBE-A7A978F2511B}" dt="2023-12-11T18:18:52.438" v="6259" actId="20577"/>
        <pc:sldMkLst>
          <pc:docMk/>
          <pc:sldMk cId="500158311" sldId="2147472195"/>
        </pc:sldMkLst>
        <pc:spChg chg="mod">
          <ac:chgData name="Sastry, Varsha" userId="ac80d159-c352-438a-bc99-3a60547c55a8" providerId="ADAL" clId="{4E498032-DE11-4ADB-ADBE-A7A978F2511B}" dt="2023-12-11T17:51:55.422" v="6111" actId="108"/>
          <ac:spMkLst>
            <pc:docMk/>
            <pc:sldMk cId="500158311" sldId="2147472195"/>
            <ac:spMk id="3" creationId="{7C374FFC-E8AF-EF8A-B32A-FD3C2237FA65}"/>
          </ac:spMkLst>
        </pc:spChg>
        <pc:spChg chg="mod">
          <ac:chgData name="Sastry, Varsha" userId="ac80d159-c352-438a-bc99-3a60547c55a8" providerId="ADAL" clId="{4E498032-DE11-4ADB-ADBE-A7A978F2511B}" dt="2023-12-11T17:52:01.071" v="6112" actId="108"/>
          <ac:spMkLst>
            <pc:docMk/>
            <pc:sldMk cId="500158311" sldId="2147472195"/>
            <ac:spMk id="4" creationId="{F8CB6F82-6D94-6ACF-4BB1-C927F39FD83D}"/>
          </ac:spMkLst>
        </pc:spChg>
        <pc:spChg chg="mod">
          <ac:chgData name="Sastry, Varsha" userId="ac80d159-c352-438a-bc99-3a60547c55a8" providerId="ADAL" clId="{4E498032-DE11-4ADB-ADBE-A7A978F2511B}" dt="2023-12-11T18:18:52.438" v="6259" actId="20577"/>
          <ac:spMkLst>
            <pc:docMk/>
            <pc:sldMk cId="500158311" sldId="2147472195"/>
            <ac:spMk id="10" creationId="{45F0C069-74DB-DE90-CBDF-FEF716745ECA}"/>
          </ac:spMkLst>
        </pc:spChg>
        <pc:spChg chg="mod">
          <ac:chgData name="Sastry, Varsha" userId="ac80d159-c352-438a-bc99-3a60547c55a8" providerId="ADAL" clId="{4E498032-DE11-4ADB-ADBE-A7A978F2511B}" dt="2023-12-11T17:52:06.248" v="6113" actId="2711"/>
          <ac:spMkLst>
            <pc:docMk/>
            <pc:sldMk cId="500158311" sldId="2147472195"/>
            <ac:spMk id="14" creationId="{E6467951-1C84-28EF-F34F-83F1A06E0FA1}"/>
          </ac:spMkLst>
        </pc:spChg>
      </pc:sldChg>
      <pc:sldChg chg="modSp mod">
        <pc:chgData name="Sastry, Varsha" userId="ac80d159-c352-438a-bc99-3a60547c55a8" providerId="ADAL" clId="{4E498032-DE11-4ADB-ADBE-A7A978F2511B}" dt="2023-12-11T17:54:01.060" v="6120" actId="2711"/>
        <pc:sldMkLst>
          <pc:docMk/>
          <pc:sldMk cId="1828999297" sldId="2147472197"/>
        </pc:sldMkLst>
        <pc:spChg chg="mod">
          <ac:chgData name="Sastry, Varsha" userId="ac80d159-c352-438a-bc99-3a60547c55a8" providerId="ADAL" clId="{4E498032-DE11-4ADB-ADBE-A7A978F2511B}" dt="2023-12-11T17:54:01.060" v="6120" actId="2711"/>
          <ac:spMkLst>
            <pc:docMk/>
            <pc:sldMk cId="1828999297" sldId="2147472197"/>
            <ac:spMk id="2" creationId="{91BC3DD0-F009-96F5-F7D0-38AC193AFAAE}"/>
          </ac:spMkLst>
        </pc:spChg>
        <pc:spChg chg="mod">
          <ac:chgData name="Sastry, Varsha" userId="ac80d159-c352-438a-bc99-3a60547c55a8" providerId="ADAL" clId="{4E498032-DE11-4ADB-ADBE-A7A978F2511B}" dt="2023-12-11T17:53:40.983" v="6118" actId="108"/>
          <ac:spMkLst>
            <pc:docMk/>
            <pc:sldMk cId="1828999297" sldId="2147472197"/>
            <ac:spMk id="3" creationId="{E80F6AF9-2B76-A461-7C5A-27450D84BB84}"/>
          </ac:spMkLst>
        </pc:spChg>
        <pc:spChg chg="mod">
          <ac:chgData name="Sastry, Varsha" userId="ac80d159-c352-438a-bc99-3a60547c55a8" providerId="ADAL" clId="{4E498032-DE11-4ADB-ADBE-A7A978F2511B}" dt="2023-12-11T17:53:47.333" v="6119" actId="108"/>
          <ac:spMkLst>
            <pc:docMk/>
            <pc:sldMk cId="1828999297" sldId="2147472197"/>
            <ac:spMk id="4" creationId="{9310ED00-8CF1-0CC3-A4FF-2B0691C98057}"/>
          </ac:spMkLst>
        </pc:spChg>
        <pc:spChg chg="mod">
          <ac:chgData name="Sastry, Varsha" userId="ac80d159-c352-438a-bc99-3a60547c55a8" providerId="ADAL" clId="{4E498032-DE11-4ADB-ADBE-A7A978F2511B}" dt="2023-12-11T17:54:01.060" v="6120" actId="2711"/>
          <ac:spMkLst>
            <pc:docMk/>
            <pc:sldMk cId="1828999297" sldId="2147472197"/>
            <ac:spMk id="10" creationId="{1F7DB244-02B0-10C9-FA3B-98DF03FB98E6}"/>
          </ac:spMkLst>
        </pc:spChg>
        <pc:spChg chg="mod">
          <ac:chgData name="Sastry, Varsha" userId="ac80d159-c352-438a-bc99-3a60547c55a8" providerId="ADAL" clId="{4E498032-DE11-4ADB-ADBE-A7A978F2511B}" dt="2023-12-11T17:54:01.060" v="6120" actId="2711"/>
          <ac:spMkLst>
            <pc:docMk/>
            <pc:sldMk cId="1828999297" sldId="2147472197"/>
            <ac:spMk id="11" creationId="{58FB33F6-3268-2CDB-B922-209AE5D174A5}"/>
          </ac:spMkLst>
        </pc:spChg>
        <pc:spChg chg="mod">
          <ac:chgData name="Sastry, Varsha" userId="ac80d159-c352-438a-bc99-3a60547c55a8" providerId="ADAL" clId="{4E498032-DE11-4ADB-ADBE-A7A978F2511B}" dt="2023-12-11T17:54:01.060" v="6120" actId="2711"/>
          <ac:spMkLst>
            <pc:docMk/>
            <pc:sldMk cId="1828999297" sldId="2147472197"/>
            <ac:spMk id="18" creationId="{2EA74B5C-5DB1-391D-97E6-07C329BB7D02}"/>
          </ac:spMkLst>
        </pc:spChg>
        <pc:spChg chg="mod">
          <ac:chgData name="Sastry, Varsha" userId="ac80d159-c352-438a-bc99-3a60547c55a8" providerId="ADAL" clId="{4E498032-DE11-4ADB-ADBE-A7A978F2511B}" dt="2023-12-11T17:54:01.060" v="6120" actId="2711"/>
          <ac:spMkLst>
            <pc:docMk/>
            <pc:sldMk cId="1828999297" sldId="2147472197"/>
            <ac:spMk id="19" creationId="{FEA74C62-C2D1-C09D-0B4F-026C4C1D5870}"/>
          </ac:spMkLst>
        </pc:spChg>
        <pc:spChg chg="mod">
          <ac:chgData name="Sastry, Varsha" userId="ac80d159-c352-438a-bc99-3a60547c55a8" providerId="ADAL" clId="{4E498032-DE11-4ADB-ADBE-A7A978F2511B}" dt="2023-12-11T17:54:01.060" v="6120" actId="2711"/>
          <ac:spMkLst>
            <pc:docMk/>
            <pc:sldMk cId="1828999297" sldId="2147472197"/>
            <ac:spMk id="20" creationId="{19547CAC-AD11-2B1D-6FB5-7FF5BE973590}"/>
          </ac:spMkLst>
        </pc:spChg>
        <pc:spChg chg="mod">
          <ac:chgData name="Sastry, Varsha" userId="ac80d159-c352-438a-bc99-3a60547c55a8" providerId="ADAL" clId="{4E498032-DE11-4ADB-ADBE-A7A978F2511B}" dt="2023-12-11T17:54:01.060" v="6120" actId="2711"/>
          <ac:spMkLst>
            <pc:docMk/>
            <pc:sldMk cId="1828999297" sldId="2147472197"/>
            <ac:spMk id="22" creationId="{8C91A389-6626-6E57-1F85-0C0282403DD9}"/>
          </ac:spMkLst>
        </pc:spChg>
      </pc:sldChg>
      <pc:sldChg chg="modSp mod">
        <pc:chgData name="Sastry, Varsha" userId="ac80d159-c352-438a-bc99-3a60547c55a8" providerId="ADAL" clId="{4E498032-DE11-4ADB-ADBE-A7A978F2511B}" dt="2023-12-11T17:56:13.963" v="6135" actId="108"/>
        <pc:sldMkLst>
          <pc:docMk/>
          <pc:sldMk cId="2197289722" sldId="2147472198"/>
        </pc:sldMkLst>
        <pc:spChg chg="mod">
          <ac:chgData name="Sastry, Varsha" userId="ac80d159-c352-438a-bc99-3a60547c55a8" providerId="ADAL" clId="{4E498032-DE11-4ADB-ADBE-A7A978F2511B}" dt="2023-12-11T17:55:46.303" v="6133" actId="2711"/>
          <ac:spMkLst>
            <pc:docMk/>
            <pc:sldMk cId="2197289722" sldId="2147472198"/>
            <ac:spMk id="2" creationId="{43C240B2-D971-13E0-9A10-866954057C65}"/>
          </ac:spMkLst>
        </pc:spChg>
        <pc:spChg chg="mod">
          <ac:chgData name="Sastry, Varsha" userId="ac80d159-c352-438a-bc99-3a60547c55a8" providerId="ADAL" clId="{4E498032-DE11-4ADB-ADBE-A7A978F2511B}" dt="2023-12-11T17:55:23.579" v="6130" actId="108"/>
          <ac:spMkLst>
            <pc:docMk/>
            <pc:sldMk cId="2197289722" sldId="2147472198"/>
            <ac:spMk id="3" creationId="{D2E8E4CD-04F1-79B9-4A83-28A5F1ECCD24}"/>
          </ac:spMkLst>
        </pc:spChg>
        <pc:spChg chg="mod">
          <ac:chgData name="Sastry, Varsha" userId="ac80d159-c352-438a-bc99-3a60547c55a8" providerId="ADAL" clId="{4E498032-DE11-4ADB-ADBE-A7A978F2511B}" dt="2023-12-11T17:55:33.384" v="6131" actId="108"/>
          <ac:spMkLst>
            <pc:docMk/>
            <pc:sldMk cId="2197289722" sldId="2147472198"/>
            <ac:spMk id="4" creationId="{F1C08D26-D35E-F6F4-1A8C-E1F5E3024BC0}"/>
          </ac:spMkLst>
        </pc:spChg>
        <pc:spChg chg="mod">
          <ac:chgData name="Sastry, Varsha" userId="ac80d159-c352-438a-bc99-3a60547c55a8" providerId="ADAL" clId="{4E498032-DE11-4ADB-ADBE-A7A978F2511B}" dt="2023-12-11T17:55:46.303" v="6133" actId="2711"/>
          <ac:spMkLst>
            <pc:docMk/>
            <pc:sldMk cId="2197289722" sldId="2147472198"/>
            <ac:spMk id="6" creationId="{77786D42-C663-D230-7A6B-6B706878EA98}"/>
          </ac:spMkLst>
        </pc:spChg>
        <pc:spChg chg="mod">
          <ac:chgData name="Sastry, Varsha" userId="ac80d159-c352-438a-bc99-3a60547c55a8" providerId="ADAL" clId="{4E498032-DE11-4ADB-ADBE-A7A978F2511B}" dt="2023-12-11T17:55:46.303" v="6133" actId="2711"/>
          <ac:spMkLst>
            <pc:docMk/>
            <pc:sldMk cId="2197289722" sldId="2147472198"/>
            <ac:spMk id="7" creationId="{86AEEA9C-7227-29C2-2140-320D5A6A5B3D}"/>
          </ac:spMkLst>
        </pc:spChg>
        <pc:spChg chg="mod">
          <ac:chgData name="Sastry, Varsha" userId="ac80d159-c352-438a-bc99-3a60547c55a8" providerId="ADAL" clId="{4E498032-DE11-4ADB-ADBE-A7A978F2511B}" dt="2023-12-11T17:55:46.303" v="6133" actId="2711"/>
          <ac:spMkLst>
            <pc:docMk/>
            <pc:sldMk cId="2197289722" sldId="2147472198"/>
            <ac:spMk id="8" creationId="{6CF3B83A-66FF-64B3-500A-7F7EAD365D14}"/>
          </ac:spMkLst>
        </pc:spChg>
        <pc:spChg chg="mod">
          <ac:chgData name="Sastry, Varsha" userId="ac80d159-c352-438a-bc99-3a60547c55a8" providerId="ADAL" clId="{4E498032-DE11-4ADB-ADBE-A7A978F2511B}" dt="2023-12-11T17:56:13.963" v="6135" actId="108"/>
          <ac:spMkLst>
            <pc:docMk/>
            <pc:sldMk cId="2197289722" sldId="2147472198"/>
            <ac:spMk id="10" creationId="{2FE600E1-4DB7-B3F2-41A9-8C14B1EE826F}"/>
          </ac:spMkLst>
        </pc:spChg>
        <pc:spChg chg="mod">
          <ac:chgData name="Sastry, Varsha" userId="ac80d159-c352-438a-bc99-3a60547c55a8" providerId="ADAL" clId="{4E498032-DE11-4ADB-ADBE-A7A978F2511B}" dt="2023-12-11T17:55:55.003" v="6134" actId="2711"/>
          <ac:spMkLst>
            <pc:docMk/>
            <pc:sldMk cId="2197289722" sldId="2147472198"/>
            <ac:spMk id="11" creationId="{196927F8-D599-0D53-F130-21C837637033}"/>
          </ac:spMkLst>
        </pc:spChg>
        <pc:spChg chg="mod">
          <ac:chgData name="Sastry, Varsha" userId="ac80d159-c352-438a-bc99-3a60547c55a8" providerId="ADAL" clId="{4E498032-DE11-4ADB-ADBE-A7A978F2511B}" dt="2023-12-11T17:55:46.303" v="6133" actId="2711"/>
          <ac:spMkLst>
            <pc:docMk/>
            <pc:sldMk cId="2197289722" sldId="2147472198"/>
            <ac:spMk id="13" creationId="{8C9A3093-1380-58D9-B272-511B3B8BEC9B}"/>
          </ac:spMkLst>
        </pc:spChg>
        <pc:picChg chg="mod">
          <ac:chgData name="Sastry, Varsha" userId="ac80d159-c352-438a-bc99-3a60547c55a8" providerId="ADAL" clId="{4E498032-DE11-4ADB-ADBE-A7A978F2511B}" dt="2023-12-11T17:55:38.694" v="6132"/>
          <ac:picMkLst>
            <pc:docMk/>
            <pc:sldMk cId="2197289722" sldId="2147472198"/>
            <ac:picMk id="9" creationId="{AF9B1E8E-66BC-5892-D49F-0B121A3AF0D0}"/>
          </ac:picMkLst>
        </pc:picChg>
        <pc:picChg chg="mod">
          <ac:chgData name="Sastry, Varsha" userId="ac80d159-c352-438a-bc99-3a60547c55a8" providerId="ADAL" clId="{4E498032-DE11-4ADB-ADBE-A7A978F2511B}" dt="2023-12-11T17:55:38.694" v="6132"/>
          <ac:picMkLst>
            <pc:docMk/>
            <pc:sldMk cId="2197289722" sldId="2147472198"/>
            <ac:picMk id="12" creationId="{B4FD4897-7895-D868-20F5-3D98316B5721}"/>
          </ac:picMkLst>
        </pc:picChg>
      </pc:sldChg>
      <pc:sldChg chg="modSp mod">
        <pc:chgData name="Sastry, Varsha" userId="ac80d159-c352-438a-bc99-3a60547c55a8" providerId="ADAL" clId="{4E498032-DE11-4ADB-ADBE-A7A978F2511B}" dt="2023-12-11T17:54:28.899" v="6123" actId="2711"/>
        <pc:sldMkLst>
          <pc:docMk/>
          <pc:sldMk cId="3234539576" sldId="2147472199"/>
        </pc:sldMkLst>
        <pc:spChg chg="mod">
          <ac:chgData name="Sastry, Varsha" userId="ac80d159-c352-438a-bc99-3a60547c55a8" providerId="ADAL" clId="{4E498032-DE11-4ADB-ADBE-A7A978F2511B}" dt="2023-12-11T17:54:28.899" v="6123" actId="2711"/>
          <ac:spMkLst>
            <pc:docMk/>
            <pc:sldMk cId="3234539576" sldId="2147472199"/>
            <ac:spMk id="2" creationId="{1F8FBCE1-D9D1-9060-640B-7847B6AB9BA6}"/>
          </ac:spMkLst>
        </pc:spChg>
        <pc:spChg chg="mod">
          <ac:chgData name="Sastry, Varsha" userId="ac80d159-c352-438a-bc99-3a60547c55a8" providerId="ADAL" clId="{4E498032-DE11-4ADB-ADBE-A7A978F2511B}" dt="2023-12-11T17:54:13.351" v="6121" actId="108"/>
          <ac:spMkLst>
            <pc:docMk/>
            <pc:sldMk cId="3234539576" sldId="2147472199"/>
            <ac:spMk id="3" creationId="{0E852B97-CED3-0B25-8FCF-D7DAECA72528}"/>
          </ac:spMkLst>
        </pc:spChg>
        <pc:spChg chg="mod">
          <ac:chgData name="Sastry, Varsha" userId="ac80d159-c352-438a-bc99-3a60547c55a8" providerId="ADAL" clId="{4E498032-DE11-4ADB-ADBE-A7A978F2511B}" dt="2023-12-11T17:54:19.118" v="6122" actId="108"/>
          <ac:spMkLst>
            <pc:docMk/>
            <pc:sldMk cId="3234539576" sldId="2147472199"/>
            <ac:spMk id="4" creationId="{BA94B0F6-ED0E-2943-7F33-2AF5E7DC17A3}"/>
          </ac:spMkLst>
        </pc:spChg>
        <pc:spChg chg="mod">
          <ac:chgData name="Sastry, Varsha" userId="ac80d159-c352-438a-bc99-3a60547c55a8" providerId="ADAL" clId="{4E498032-DE11-4ADB-ADBE-A7A978F2511B}" dt="2023-12-11T17:54:28.899" v="6123" actId="2711"/>
          <ac:spMkLst>
            <pc:docMk/>
            <pc:sldMk cId="3234539576" sldId="2147472199"/>
            <ac:spMk id="10" creationId="{AE4746F4-B724-2713-9FD3-C4C413941735}"/>
          </ac:spMkLst>
        </pc:spChg>
        <pc:spChg chg="mod">
          <ac:chgData name="Sastry, Varsha" userId="ac80d159-c352-438a-bc99-3a60547c55a8" providerId="ADAL" clId="{4E498032-DE11-4ADB-ADBE-A7A978F2511B}" dt="2023-12-11T17:54:28.899" v="6123" actId="2711"/>
          <ac:spMkLst>
            <pc:docMk/>
            <pc:sldMk cId="3234539576" sldId="2147472199"/>
            <ac:spMk id="11" creationId="{393457C2-C9BC-A043-40AA-5C5E933D158C}"/>
          </ac:spMkLst>
        </pc:spChg>
        <pc:spChg chg="mod">
          <ac:chgData name="Sastry, Varsha" userId="ac80d159-c352-438a-bc99-3a60547c55a8" providerId="ADAL" clId="{4E498032-DE11-4ADB-ADBE-A7A978F2511B}" dt="2023-12-11T17:54:28.899" v="6123" actId="2711"/>
          <ac:spMkLst>
            <pc:docMk/>
            <pc:sldMk cId="3234539576" sldId="2147472199"/>
            <ac:spMk id="19" creationId="{39657589-1F87-6CA1-9229-740FAE9AE2A4}"/>
          </ac:spMkLst>
        </pc:spChg>
        <pc:spChg chg="mod">
          <ac:chgData name="Sastry, Varsha" userId="ac80d159-c352-438a-bc99-3a60547c55a8" providerId="ADAL" clId="{4E498032-DE11-4ADB-ADBE-A7A978F2511B}" dt="2023-12-11T17:54:28.899" v="6123" actId="2711"/>
          <ac:spMkLst>
            <pc:docMk/>
            <pc:sldMk cId="3234539576" sldId="2147472199"/>
            <ac:spMk id="20" creationId="{94A71895-6E7F-A616-B7B1-440FD4C56F0C}"/>
          </ac:spMkLst>
        </pc:spChg>
        <pc:spChg chg="mod">
          <ac:chgData name="Sastry, Varsha" userId="ac80d159-c352-438a-bc99-3a60547c55a8" providerId="ADAL" clId="{4E498032-DE11-4ADB-ADBE-A7A978F2511B}" dt="2023-12-11T17:54:28.899" v="6123" actId="2711"/>
          <ac:spMkLst>
            <pc:docMk/>
            <pc:sldMk cId="3234539576" sldId="2147472199"/>
            <ac:spMk id="23" creationId="{DBB12300-1DD1-67E9-8BB9-62E3B3D3186C}"/>
          </ac:spMkLst>
        </pc:spChg>
        <pc:picChg chg="mod">
          <ac:chgData name="Sastry, Varsha" userId="ac80d159-c352-438a-bc99-3a60547c55a8" providerId="ADAL" clId="{4E498032-DE11-4ADB-ADBE-A7A978F2511B}" dt="2023-12-11T17:54:28.899" v="6123" actId="2711"/>
          <ac:picMkLst>
            <pc:docMk/>
            <pc:sldMk cId="3234539576" sldId="2147472199"/>
            <ac:picMk id="17" creationId="{BC0003CE-7173-94A8-0C87-43FB0CB68481}"/>
          </ac:picMkLst>
        </pc:picChg>
        <pc:picChg chg="mod">
          <ac:chgData name="Sastry, Varsha" userId="ac80d159-c352-438a-bc99-3a60547c55a8" providerId="ADAL" clId="{4E498032-DE11-4ADB-ADBE-A7A978F2511B}" dt="2023-12-11T17:54:28.899" v="6123" actId="2711"/>
          <ac:picMkLst>
            <pc:docMk/>
            <pc:sldMk cId="3234539576" sldId="2147472199"/>
            <ac:picMk id="18" creationId="{4F0E4E4C-8BC8-2D2A-8FD2-00C6D4CDF29C}"/>
          </ac:picMkLst>
        </pc:picChg>
      </pc:sldChg>
      <pc:sldChg chg="modSp mod">
        <pc:chgData name="Sastry, Varsha" userId="ac80d159-c352-438a-bc99-3a60547c55a8" providerId="ADAL" clId="{4E498032-DE11-4ADB-ADBE-A7A978F2511B}" dt="2023-12-11T17:54:52.116" v="6126" actId="2711"/>
        <pc:sldMkLst>
          <pc:docMk/>
          <pc:sldMk cId="3627460361" sldId="2147472200"/>
        </pc:sldMkLst>
        <pc:spChg chg="mod">
          <ac:chgData name="Sastry, Varsha" userId="ac80d159-c352-438a-bc99-3a60547c55a8" providerId="ADAL" clId="{4E498032-DE11-4ADB-ADBE-A7A978F2511B}" dt="2023-12-11T17:54:52.116" v="6126" actId="2711"/>
          <ac:spMkLst>
            <pc:docMk/>
            <pc:sldMk cId="3627460361" sldId="2147472200"/>
            <ac:spMk id="2" creationId="{33F070DA-DBE0-BA97-931D-8BA7F97F318D}"/>
          </ac:spMkLst>
        </pc:spChg>
        <pc:spChg chg="mod">
          <ac:chgData name="Sastry, Varsha" userId="ac80d159-c352-438a-bc99-3a60547c55a8" providerId="ADAL" clId="{4E498032-DE11-4ADB-ADBE-A7A978F2511B}" dt="2023-12-11T17:54:38.017" v="6124" actId="108"/>
          <ac:spMkLst>
            <pc:docMk/>
            <pc:sldMk cId="3627460361" sldId="2147472200"/>
            <ac:spMk id="3" creationId="{DC6B1F5D-5ED5-632E-CADF-72826DE1897C}"/>
          </ac:spMkLst>
        </pc:spChg>
        <pc:spChg chg="mod">
          <ac:chgData name="Sastry, Varsha" userId="ac80d159-c352-438a-bc99-3a60547c55a8" providerId="ADAL" clId="{4E498032-DE11-4ADB-ADBE-A7A978F2511B}" dt="2023-12-11T17:54:43.535" v="6125" actId="108"/>
          <ac:spMkLst>
            <pc:docMk/>
            <pc:sldMk cId="3627460361" sldId="2147472200"/>
            <ac:spMk id="4" creationId="{18AF7796-2B6B-1618-5870-D80703B1A258}"/>
          </ac:spMkLst>
        </pc:spChg>
        <pc:spChg chg="mod">
          <ac:chgData name="Sastry, Varsha" userId="ac80d159-c352-438a-bc99-3a60547c55a8" providerId="ADAL" clId="{4E498032-DE11-4ADB-ADBE-A7A978F2511B}" dt="2023-12-11T17:54:52.116" v="6126" actId="2711"/>
          <ac:spMkLst>
            <pc:docMk/>
            <pc:sldMk cId="3627460361" sldId="2147472200"/>
            <ac:spMk id="6" creationId="{90576896-E0F6-EFC9-A4B2-BAFC0734C80C}"/>
          </ac:spMkLst>
        </pc:spChg>
        <pc:spChg chg="mod">
          <ac:chgData name="Sastry, Varsha" userId="ac80d159-c352-438a-bc99-3a60547c55a8" providerId="ADAL" clId="{4E498032-DE11-4ADB-ADBE-A7A978F2511B}" dt="2023-12-11T17:54:52.116" v="6126" actId="2711"/>
          <ac:spMkLst>
            <pc:docMk/>
            <pc:sldMk cId="3627460361" sldId="2147472200"/>
            <ac:spMk id="8" creationId="{09FBD671-3D13-E96D-CA74-70D31402D692}"/>
          </ac:spMkLst>
        </pc:spChg>
        <pc:spChg chg="mod">
          <ac:chgData name="Sastry, Varsha" userId="ac80d159-c352-438a-bc99-3a60547c55a8" providerId="ADAL" clId="{4E498032-DE11-4ADB-ADBE-A7A978F2511B}" dt="2023-12-11T17:54:52.116" v="6126" actId="2711"/>
          <ac:spMkLst>
            <pc:docMk/>
            <pc:sldMk cId="3627460361" sldId="2147472200"/>
            <ac:spMk id="10" creationId="{F1526A7C-6BAB-60AC-A2A3-B86B06D5AAD6}"/>
          </ac:spMkLst>
        </pc:spChg>
        <pc:spChg chg="mod">
          <ac:chgData name="Sastry, Varsha" userId="ac80d159-c352-438a-bc99-3a60547c55a8" providerId="ADAL" clId="{4E498032-DE11-4ADB-ADBE-A7A978F2511B}" dt="2023-12-11T17:54:52.116" v="6126" actId="2711"/>
          <ac:spMkLst>
            <pc:docMk/>
            <pc:sldMk cId="3627460361" sldId="2147472200"/>
            <ac:spMk id="11" creationId="{85F8F49E-8474-8A18-57F5-135FAD0E6B14}"/>
          </ac:spMkLst>
        </pc:spChg>
        <pc:spChg chg="mod">
          <ac:chgData name="Sastry, Varsha" userId="ac80d159-c352-438a-bc99-3a60547c55a8" providerId="ADAL" clId="{4E498032-DE11-4ADB-ADBE-A7A978F2511B}" dt="2023-12-11T17:54:52.116" v="6126" actId="2711"/>
          <ac:spMkLst>
            <pc:docMk/>
            <pc:sldMk cId="3627460361" sldId="2147472200"/>
            <ac:spMk id="18" creationId="{5833F6AC-5D6B-5C05-E5F2-BF9A3B329A48}"/>
          </ac:spMkLst>
        </pc:spChg>
      </pc:sldChg>
      <pc:sldChg chg="modSp mod">
        <pc:chgData name="Sastry, Varsha" userId="ac80d159-c352-438a-bc99-3a60547c55a8" providerId="ADAL" clId="{4E498032-DE11-4ADB-ADBE-A7A978F2511B}" dt="2023-12-11T17:55:13.132" v="6129" actId="2711"/>
        <pc:sldMkLst>
          <pc:docMk/>
          <pc:sldMk cId="3489560597" sldId="2147472201"/>
        </pc:sldMkLst>
        <pc:spChg chg="mod">
          <ac:chgData name="Sastry, Varsha" userId="ac80d159-c352-438a-bc99-3a60547c55a8" providerId="ADAL" clId="{4E498032-DE11-4ADB-ADBE-A7A978F2511B}" dt="2023-12-11T17:55:13.132" v="6129" actId="2711"/>
          <ac:spMkLst>
            <pc:docMk/>
            <pc:sldMk cId="3489560597" sldId="2147472201"/>
            <ac:spMk id="2" creationId="{909373AF-DADF-1D05-5416-0E798C7A73AD}"/>
          </ac:spMkLst>
        </pc:spChg>
        <pc:spChg chg="mod">
          <ac:chgData name="Sastry, Varsha" userId="ac80d159-c352-438a-bc99-3a60547c55a8" providerId="ADAL" clId="{4E498032-DE11-4ADB-ADBE-A7A978F2511B}" dt="2023-12-11T17:55:00.482" v="6127" actId="108"/>
          <ac:spMkLst>
            <pc:docMk/>
            <pc:sldMk cId="3489560597" sldId="2147472201"/>
            <ac:spMk id="3" creationId="{9365ED74-B6FE-5704-824F-7BAFBD0B994C}"/>
          </ac:spMkLst>
        </pc:spChg>
        <pc:spChg chg="mod">
          <ac:chgData name="Sastry, Varsha" userId="ac80d159-c352-438a-bc99-3a60547c55a8" providerId="ADAL" clId="{4E498032-DE11-4ADB-ADBE-A7A978F2511B}" dt="2023-12-11T17:55:05.968" v="6128" actId="108"/>
          <ac:spMkLst>
            <pc:docMk/>
            <pc:sldMk cId="3489560597" sldId="2147472201"/>
            <ac:spMk id="4" creationId="{2B9EEEF1-76E3-171D-013F-68C0D88582ED}"/>
          </ac:spMkLst>
        </pc:spChg>
        <pc:spChg chg="mod">
          <ac:chgData name="Sastry, Varsha" userId="ac80d159-c352-438a-bc99-3a60547c55a8" providerId="ADAL" clId="{4E498032-DE11-4ADB-ADBE-A7A978F2511B}" dt="2023-12-11T17:55:13.132" v="6129" actId="2711"/>
          <ac:spMkLst>
            <pc:docMk/>
            <pc:sldMk cId="3489560597" sldId="2147472201"/>
            <ac:spMk id="10" creationId="{1C49C03B-2AED-2CE1-923A-EB37BC8916C5}"/>
          </ac:spMkLst>
        </pc:spChg>
        <pc:spChg chg="mod">
          <ac:chgData name="Sastry, Varsha" userId="ac80d159-c352-438a-bc99-3a60547c55a8" providerId="ADAL" clId="{4E498032-DE11-4ADB-ADBE-A7A978F2511B}" dt="2023-12-11T17:55:13.132" v="6129" actId="2711"/>
          <ac:spMkLst>
            <pc:docMk/>
            <pc:sldMk cId="3489560597" sldId="2147472201"/>
            <ac:spMk id="11" creationId="{18316A99-F272-294B-2DDC-F696B1DD9C07}"/>
          </ac:spMkLst>
        </pc:spChg>
        <pc:spChg chg="mod">
          <ac:chgData name="Sastry, Varsha" userId="ac80d159-c352-438a-bc99-3a60547c55a8" providerId="ADAL" clId="{4E498032-DE11-4ADB-ADBE-A7A978F2511B}" dt="2023-12-11T17:55:13.132" v="6129" actId="2711"/>
          <ac:spMkLst>
            <pc:docMk/>
            <pc:sldMk cId="3489560597" sldId="2147472201"/>
            <ac:spMk id="12" creationId="{9A2800DC-C262-414E-3648-DBD066F2CA99}"/>
          </ac:spMkLst>
        </pc:spChg>
        <pc:spChg chg="mod">
          <ac:chgData name="Sastry, Varsha" userId="ac80d159-c352-438a-bc99-3a60547c55a8" providerId="ADAL" clId="{4E498032-DE11-4ADB-ADBE-A7A978F2511B}" dt="2023-12-11T17:55:13.132" v="6129" actId="2711"/>
          <ac:spMkLst>
            <pc:docMk/>
            <pc:sldMk cId="3489560597" sldId="2147472201"/>
            <ac:spMk id="16" creationId="{6CFD4CAB-3549-7F32-8606-C459C6FD7E43}"/>
          </ac:spMkLst>
        </pc:spChg>
        <pc:spChg chg="mod">
          <ac:chgData name="Sastry, Varsha" userId="ac80d159-c352-438a-bc99-3a60547c55a8" providerId="ADAL" clId="{4E498032-DE11-4ADB-ADBE-A7A978F2511B}" dt="2023-12-11T17:55:13.132" v="6129" actId="2711"/>
          <ac:spMkLst>
            <pc:docMk/>
            <pc:sldMk cId="3489560597" sldId="2147472201"/>
            <ac:spMk id="19" creationId="{9FA51095-DA5B-95F8-984C-3F16DA02C849}"/>
          </ac:spMkLst>
        </pc:spChg>
      </pc:sldChg>
      <pc:sldChg chg="modSp mod">
        <pc:chgData name="Sastry, Varsha" userId="ac80d159-c352-438a-bc99-3a60547c55a8" providerId="ADAL" clId="{4E498032-DE11-4ADB-ADBE-A7A978F2511B}" dt="2023-12-11T17:52:48.099" v="6115" actId="2711"/>
        <pc:sldMkLst>
          <pc:docMk/>
          <pc:sldMk cId="3106695573" sldId="2147479536"/>
        </pc:sldMkLst>
        <pc:spChg chg="mod">
          <ac:chgData name="Sastry, Varsha" userId="ac80d159-c352-438a-bc99-3a60547c55a8" providerId="ADAL" clId="{4E498032-DE11-4ADB-ADBE-A7A978F2511B}" dt="2023-12-11T17:52:22.034" v="6114" actId="108"/>
          <ac:spMkLst>
            <pc:docMk/>
            <pc:sldMk cId="3106695573" sldId="2147479536"/>
            <ac:spMk id="29" creationId="{B5D3DD2D-1180-C0D1-4D0C-126ECACFE470}"/>
          </ac:spMkLst>
        </pc:spChg>
        <pc:spChg chg="mod">
          <ac:chgData name="Sastry, Varsha" userId="ac80d159-c352-438a-bc99-3a60547c55a8" providerId="ADAL" clId="{4E498032-DE11-4ADB-ADBE-A7A978F2511B}" dt="2023-12-11T17:52:48.099" v="6115" actId="2711"/>
          <ac:spMkLst>
            <pc:docMk/>
            <pc:sldMk cId="3106695573" sldId="2147479536"/>
            <ac:spMk id="33" creationId="{228F53B1-FF0D-71E1-002C-C3E81070C97F}"/>
          </ac:spMkLst>
        </pc:spChg>
        <pc:spChg chg="mod">
          <ac:chgData name="Sastry, Varsha" userId="ac80d159-c352-438a-bc99-3a60547c55a8" providerId="ADAL" clId="{4E498032-DE11-4ADB-ADBE-A7A978F2511B}" dt="2023-12-11T17:52:48.099" v="6115" actId="2711"/>
          <ac:spMkLst>
            <pc:docMk/>
            <pc:sldMk cId="3106695573" sldId="2147479536"/>
            <ac:spMk id="62" creationId="{A38C9148-6E4D-599B-4D15-39DB09BC144F}"/>
          </ac:spMkLst>
        </pc:spChg>
        <pc:spChg chg="mod">
          <ac:chgData name="Sastry, Varsha" userId="ac80d159-c352-438a-bc99-3a60547c55a8" providerId="ADAL" clId="{4E498032-DE11-4ADB-ADBE-A7A978F2511B}" dt="2023-12-11T17:52:48.099" v="6115" actId="2711"/>
          <ac:spMkLst>
            <pc:docMk/>
            <pc:sldMk cId="3106695573" sldId="2147479536"/>
            <ac:spMk id="63" creationId="{748D6C60-899C-FB67-490D-49FCDF61C863}"/>
          </ac:spMkLst>
        </pc:spChg>
        <pc:spChg chg="mod">
          <ac:chgData name="Sastry, Varsha" userId="ac80d159-c352-438a-bc99-3a60547c55a8" providerId="ADAL" clId="{4E498032-DE11-4ADB-ADBE-A7A978F2511B}" dt="2023-12-11T17:52:48.099" v="6115" actId="2711"/>
          <ac:spMkLst>
            <pc:docMk/>
            <pc:sldMk cId="3106695573" sldId="2147479536"/>
            <ac:spMk id="64" creationId="{43044D3B-5E2F-B177-0B8C-3B9A407D0A40}"/>
          </ac:spMkLst>
        </pc:spChg>
        <pc:spChg chg="mod">
          <ac:chgData name="Sastry, Varsha" userId="ac80d159-c352-438a-bc99-3a60547c55a8" providerId="ADAL" clId="{4E498032-DE11-4ADB-ADBE-A7A978F2511B}" dt="2023-12-11T17:52:48.099" v="6115" actId="2711"/>
          <ac:spMkLst>
            <pc:docMk/>
            <pc:sldMk cId="3106695573" sldId="2147479536"/>
            <ac:spMk id="65" creationId="{366963D1-B1C5-4ADE-A086-1A121A2FF2A2}"/>
          </ac:spMkLst>
        </pc:spChg>
        <pc:spChg chg="mod">
          <ac:chgData name="Sastry, Varsha" userId="ac80d159-c352-438a-bc99-3a60547c55a8" providerId="ADAL" clId="{4E498032-DE11-4ADB-ADBE-A7A978F2511B}" dt="2023-12-11T17:52:48.099" v="6115" actId="2711"/>
          <ac:spMkLst>
            <pc:docMk/>
            <pc:sldMk cId="3106695573" sldId="2147479536"/>
            <ac:spMk id="66" creationId="{3FC5B420-FEA6-023D-EDA7-3DF3A6B3E701}"/>
          </ac:spMkLst>
        </pc:spChg>
        <pc:spChg chg="mod">
          <ac:chgData name="Sastry, Varsha" userId="ac80d159-c352-438a-bc99-3a60547c55a8" providerId="ADAL" clId="{4E498032-DE11-4ADB-ADBE-A7A978F2511B}" dt="2023-12-11T17:52:48.099" v="6115" actId="2711"/>
          <ac:spMkLst>
            <pc:docMk/>
            <pc:sldMk cId="3106695573" sldId="2147479536"/>
            <ac:spMk id="67" creationId="{971D6624-A458-FAC2-761C-35855E2DB2D0}"/>
          </ac:spMkLst>
        </pc:spChg>
      </pc:sldChg>
      <pc:sldChg chg="modSp mod">
        <pc:chgData name="Sastry, Varsha" userId="ac80d159-c352-438a-bc99-3a60547c55a8" providerId="ADAL" clId="{4E498032-DE11-4ADB-ADBE-A7A978F2511B}" dt="2023-12-11T14:09:34.944" v="3039"/>
        <pc:sldMkLst>
          <pc:docMk/>
          <pc:sldMk cId="4029893540" sldId="2147479537"/>
        </pc:sldMkLst>
        <pc:spChg chg="mod">
          <ac:chgData name="Sastry, Varsha" userId="ac80d159-c352-438a-bc99-3a60547c55a8" providerId="ADAL" clId="{4E498032-DE11-4ADB-ADBE-A7A978F2511B}" dt="2023-12-11T14:09:34.944" v="3039"/>
          <ac:spMkLst>
            <pc:docMk/>
            <pc:sldMk cId="4029893540" sldId="2147479537"/>
            <ac:spMk id="76" creationId="{11F95CE4-70DC-4FF6-9740-A5C6EC6923E7}"/>
          </ac:spMkLst>
        </pc:spChg>
      </pc:sldChg>
      <pc:sldChg chg="modSp mod">
        <pc:chgData name="Sastry, Varsha" userId="ac80d159-c352-438a-bc99-3a60547c55a8" providerId="ADAL" clId="{4E498032-DE11-4ADB-ADBE-A7A978F2511B}" dt="2023-12-11T14:10:01.712" v="3041"/>
        <pc:sldMkLst>
          <pc:docMk/>
          <pc:sldMk cId="1829617626" sldId="2147479538"/>
        </pc:sldMkLst>
        <pc:spChg chg="mod">
          <ac:chgData name="Sastry, Varsha" userId="ac80d159-c352-438a-bc99-3a60547c55a8" providerId="ADAL" clId="{4E498032-DE11-4ADB-ADBE-A7A978F2511B}" dt="2023-12-11T14:10:01.712" v="3041"/>
          <ac:spMkLst>
            <pc:docMk/>
            <pc:sldMk cId="1829617626" sldId="2147479538"/>
            <ac:spMk id="76" creationId="{11F95CE4-70DC-4FF6-9740-A5C6EC6923E7}"/>
          </ac:spMkLst>
        </pc:spChg>
      </pc:sldChg>
      <pc:sldChg chg="modSp mod">
        <pc:chgData name="Sastry, Varsha" userId="ac80d159-c352-438a-bc99-3a60547c55a8" providerId="ADAL" clId="{4E498032-DE11-4ADB-ADBE-A7A978F2511B}" dt="2023-12-11T13:57:32.559" v="3013"/>
        <pc:sldMkLst>
          <pc:docMk/>
          <pc:sldMk cId="3632895860" sldId="2147479539"/>
        </pc:sldMkLst>
        <pc:spChg chg="mod">
          <ac:chgData name="Sastry, Varsha" userId="ac80d159-c352-438a-bc99-3a60547c55a8" providerId="ADAL" clId="{4E498032-DE11-4ADB-ADBE-A7A978F2511B}" dt="2023-12-11T13:57:32.559" v="3013"/>
          <ac:spMkLst>
            <pc:docMk/>
            <pc:sldMk cId="3632895860" sldId="2147479539"/>
            <ac:spMk id="76" creationId="{11F95CE4-70DC-4FF6-9740-A5C6EC6923E7}"/>
          </ac:spMkLst>
        </pc:spChg>
      </pc:sldChg>
      <pc:sldChg chg="addSp delSp modSp mod addCm modCm">
        <pc:chgData name="Sastry, Varsha" userId="ac80d159-c352-438a-bc99-3a60547c55a8" providerId="ADAL" clId="{4E498032-DE11-4ADB-ADBE-A7A978F2511B}" dt="2023-12-11T13:51:27.632" v="2999" actId="20577"/>
        <pc:sldMkLst>
          <pc:docMk/>
          <pc:sldMk cId="132118669" sldId="2147479540"/>
        </pc:sldMkLst>
        <pc:spChg chg="add mod">
          <ac:chgData name="Sastry, Varsha" userId="ac80d159-c352-438a-bc99-3a60547c55a8" providerId="ADAL" clId="{4E498032-DE11-4ADB-ADBE-A7A978F2511B}" dt="2023-12-11T13:43:52.016" v="2796" actId="1038"/>
          <ac:spMkLst>
            <pc:docMk/>
            <pc:sldMk cId="132118669" sldId="2147479540"/>
            <ac:spMk id="2" creationId="{BE904FB8-54D3-45D1-D6FC-4B2570E92E00}"/>
          </ac:spMkLst>
        </pc:spChg>
        <pc:spChg chg="add mod">
          <ac:chgData name="Sastry, Varsha" userId="ac80d159-c352-438a-bc99-3a60547c55a8" providerId="ADAL" clId="{4E498032-DE11-4ADB-ADBE-A7A978F2511B}" dt="2023-12-11T13:43:52.016" v="2796" actId="1038"/>
          <ac:spMkLst>
            <pc:docMk/>
            <pc:sldMk cId="132118669" sldId="2147479540"/>
            <ac:spMk id="3" creationId="{4D9ABECE-6CDC-D866-1FAF-BE4D04059C5D}"/>
          </ac:spMkLst>
        </pc:spChg>
        <pc:spChg chg="mod">
          <ac:chgData name="Sastry, Varsha" userId="ac80d159-c352-438a-bc99-3a60547c55a8" providerId="ADAL" clId="{4E498032-DE11-4ADB-ADBE-A7A978F2511B}" dt="2023-12-11T13:43:52.016" v="2796" actId="1038"/>
          <ac:spMkLst>
            <pc:docMk/>
            <pc:sldMk cId="132118669" sldId="2147479540"/>
            <ac:spMk id="8" creationId="{13E20C23-298D-2ACC-117D-8B54130A0319}"/>
          </ac:spMkLst>
        </pc:spChg>
        <pc:spChg chg="mod">
          <ac:chgData name="Sastry, Varsha" userId="ac80d159-c352-438a-bc99-3a60547c55a8" providerId="ADAL" clId="{4E498032-DE11-4ADB-ADBE-A7A978F2511B}" dt="2023-12-11T13:43:52.016" v="2796" actId="1038"/>
          <ac:spMkLst>
            <pc:docMk/>
            <pc:sldMk cId="132118669" sldId="2147479540"/>
            <ac:spMk id="9" creationId="{A7138FF0-2FC3-AE67-F111-0F70CADCE2F5}"/>
          </ac:spMkLst>
        </pc:spChg>
        <pc:spChg chg="add mod">
          <ac:chgData name="Sastry, Varsha" userId="ac80d159-c352-438a-bc99-3a60547c55a8" providerId="ADAL" clId="{4E498032-DE11-4ADB-ADBE-A7A978F2511B}" dt="2023-12-11T13:43:52.016" v="2796" actId="1038"/>
          <ac:spMkLst>
            <pc:docMk/>
            <pc:sldMk cId="132118669" sldId="2147479540"/>
            <ac:spMk id="10" creationId="{268CE0B3-E1AD-1A73-10D9-DCFA333B02D2}"/>
          </ac:spMkLst>
        </pc:spChg>
        <pc:spChg chg="mod">
          <ac:chgData name="Sastry, Varsha" userId="ac80d159-c352-438a-bc99-3a60547c55a8" providerId="ADAL" clId="{4E498032-DE11-4ADB-ADBE-A7A978F2511B}" dt="2023-12-11T13:43:52.016" v="2796" actId="1038"/>
          <ac:spMkLst>
            <pc:docMk/>
            <pc:sldMk cId="132118669" sldId="2147479540"/>
            <ac:spMk id="12" creationId="{326F44CA-6442-3B2D-1E04-827660589261}"/>
          </ac:spMkLst>
        </pc:spChg>
        <pc:spChg chg="mod">
          <ac:chgData name="Sastry, Varsha" userId="ac80d159-c352-438a-bc99-3a60547c55a8" providerId="ADAL" clId="{4E498032-DE11-4ADB-ADBE-A7A978F2511B}" dt="2023-12-11T13:43:52.016" v="2796" actId="1038"/>
          <ac:spMkLst>
            <pc:docMk/>
            <pc:sldMk cId="132118669" sldId="2147479540"/>
            <ac:spMk id="13" creationId="{146B2191-D6D0-3D26-86CB-F676517F92DE}"/>
          </ac:spMkLst>
        </pc:spChg>
        <pc:spChg chg="mod">
          <ac:chgData name="Sastry, Varsha" userId="ac80d159-c352-438a-bc99-3a60547c55a8" providerId="ADAL" clId="{4E498032-DE11-4ADB-ADBE-A7A978F2511B}" dt="2023-12-11T13:43:52.016" v="2796" actId="1038"/>
          <ac:spMkLst>
            <pc:docMk/>
            <pc:sldMk cId="132118669" sldId="2147479540"/>
            <ac:spMk id="14" creationId="{6596B207-FCDF-A349-593C-38AB17BC5357}"/>
          </ac:spMkLst>
        </pc:spChg>
        <pc:spChg chg="mod">
          <ac:chgData name="Sastry, Varsha" userId="ac80d159-c352-438a-bc99-3a60547c55a8" providerId="ADAL" clId="{4E498032-DE11-4ADB-ADBE-A7A978F2511B}" dt="2023-12-11T13:43:52.016" v="2796" actId="1038"/>
          <ac:spMkLst>
            <pc:docMk/>
            <pc:sldMk cId="132118669" sldId="2147479540"/>
            <ac:spMk id="15" creationId="{D598F892-16EF-C0A7-D139-28AA504BE79E}"/>
          </ac:spMkLst>
        </pc:spChg>
        <pc:spChg chg="mod">
          <ac:chgData name="Sastry, Varsha" userId="ac80d159-c352-438a-bc99-3a60547c55a8" providerId="ADAL" clId="{4E498032-DE11-4ADB-ADBE-A7A978F2511B}" dt="2023-12-11T13:43:52.016" v="2796" actId="1038"/>
          <ac:spMkLst>
            <pc:docMk/>
            <pc:sldMk cId="132118669" sldId="2147479540"/>
            <ac:spMk id="16" creationId="{BCC9C6ED-2071-2ABE-5360-92B8F25AD980}"/>
          </ac:spMkLst>
        </pc:spChg>
        <pc:spChg chg="mod">
          <ac:chgData name="Sastry, Varsha" userId="ac80d159-c352-438a-bc99-3a60547c55a8" providerId="ADAL" clId="{4E498032-DE11-4ADB-ADBE-A7A978F2511B}" dt="2023-12-11T13:43:52.016" v="2796" actId="1038"/>
          <ac:spMkLst>
            <pc:docMk/>
            <pc:sldMk cId="132118669" sldId="2147479540"/>
            <ac:spMk id="17" creationId="{DC0B9532-4B78-04B9-0533-8E7615B9052A}"/>
          </ac:spMkLst>
        </pc:spChg>
        <pc:spChg chg="mod">
          <ac:chgData name="Sastry, Varsha" userId="ac80d159-c352-438a-bc99-3a60547c55a8" providerId="ADAL" clId="{4E498032-DE11-4ADB-ADBE-A7A978F2511B}" dt="2023-12-11T13:43:52.016" v="2796" actId="1038"/>
          <ac:spMkLst>
            <pc:docMk/>
            <pc:sldMk cId="132118669" sldId="2147479540"/>
            <ac:spMk id="19" creationId="{526D8B3B-96BC-4475-0BCF-70308DC8A534}"/>
          </ac:spMkLst>
        </pc:spChg>
        <pc:spChg chg="mod">
          <ac:chgData name="Sastry, Varsha" userId="ac80d159-c352-438a-bc99-3a60547c55a8" providerId="ADAL" clId="{4E498032-DE11-4ADB-ADBE-A7A978F2511B}" dt="2023-12-11T13:43:52.016" v="2796" actId="1038"/>
          <ac:spMkLst>
            <pc:docMk/>
            <pc:sldMk cId="132118669" sldId="2147479540"/>
            <ac:spMk id="20" creationId="{0C939B50-5FAE-15BC-E206-4F9DDE76FC57}"/>
          </ac:spMkLst>
        </pc:spChg>
        <pc:spChg chg="mod">
          <ac:chgData name="Sastry, Varsha" userId="ac80d159-c352-438a-bc99-3a60547c55a8" providerId="ADAL" clId="{4E498032-DE11-4ADB-ADBE-A7A978F2511B}" dt="2023-12-11T13:43:52.016" v="2796" actId="1038"/>
          <ac:spMkLst>
            <pc:docMk/>
            <pc:sldMk cId="132118669" sldId="2147479540"/>
            <ac:spMk id="23" creationId="{1732AAE5-D5C9-C085-108D-27333DF5EA0E}"/>
          </ac:spMkLst>
        </pc:spChg>
        <pc:spChg chg="mod">
          <ac:chgData name="Sastry, Varsha" userId="ac80d159-c352-438a-bc99-3a60547c55a8" providerId="ADAL" clId="{4E498032-DE11-4ADB-ADBE-A7A978F2511B}" dt="2023-12-11T13:43:52.016" v="2796" actId="1038"/>
          <ac:spMkLst>
            <pc:docMk/>
            <pc:sldMk cId="132118669" sldId="2147479540"/>
            <ac:spMk id="24" creationId="{EE20F94E-56CB-F3D2-FE7B-A5D8C082DE17}"/>
          </ac:spMkLst>
        </pc:spChg>
        <pc:spChg chg="mod">
          <ac:chgData name="Sastry, Varsha" userId="ac80d159-c352-438a-bc99-3a60547c55a8" providerId="ADAL" clId="{4E498032-DE11-4ADB-ADBE-A7A978F2511B}" dt="2023-12-11T12:15:11.787" v="1219" actId="403"/>
          <ac:spMkLst>
            <pc:docMk/>
            <pc:sldMk cId="132118669" sldId="2147479540"/>
            <ac:spMk id="41" creationId="{759A0B1E-9D78-FFAD-0251-6A24DFE2F99E}"/>
          </ac:spMkLst>
        </pc:spChg>
        <pc:spChg chg="mod">
          <ac:chgData name="Sastry, Varsha" userId="ac80d159-c352-438a-bc99-3a60547c55a8" providerId="ADAL" clId="{4E498032-DE11-4ADB-ADBE-A7A978F2511B}" dt="2023-12-11T12:01:13.955" v="833" actId="20577"/>
          <ac:spMkLst>
            <pc:docMk/>
            <pc:sldMk cId="132118669" sldId="2147479540"/>
            <ac:spMk id="46" creationId="{8147483C-7E7D-37DB-4F5C-E32DD0A3A046}"/>
          </ac:spMkLst>
        </pc:spChg>
        <pc:spChg chg="mod">
          <ac:chgData name="Sastry, Varsha" userId="ac80d159-c352-438a-bc99-3a60547c55a8" providerId="ADAL" clId="{4E498032-DE11-4ADB-ADBE-A7A978F2511B}" dt="2023-12-11T12:01:44.568" v="835" actId="108"/>
          <ac:spMkLst>
            <pc:docMk/>
            <pc:sldMk cId="132118669" sldId="2147479540"/>
            <ac:spMk id="52" creationId="{C088C7B3-D4CE-9599-3F93-296EF0D82E64}"/>
          </ac:spMkLst>
        </pc:spChg>
        <pc:spChg chg="mod topLvl">
          <ac:chgData name="Sastry, Varsha" userId="ac80d159-c352-438a-bc99-3a60547c55a8" providerId="ADAL" clId="{4E498032-DE11-4ADB-ADBE-A7A978F2511B}" dt="2023-12-11T13:43:52.016" v="2796" actId="1038"/>
          <ac:spMkLst>
            <pc:docMk/>
            <pc:sldMk cId="132118669" sldId="2147479540"/>
            <ac:spMk id="56" creationId="{4F60D368-1CD9-695F-E66F-390AFFFE1591}"/>
          </ac:spMkLst>
        </pc:spChg>
        <pc:spChg chg="mod topLvl">
          <ac:chgData name="Sastry, Varsha" userId="ac80d159-c352-438a-bc99-3a60547c55a8" providerId="ADAL" clId="{4E498032-DE11-4ADB-ADBE-A7A978F2511B}" dt="2023-12-11T13:43:52.016" v="2796" actId="1038"/>
          <ac:spMkLst>
            <pc:docMk/>
            <pc:sldMk cId="132118669" sldId="2147479540"/>
            <ac:spMk id="58" creationId="{512F151B-07C7-D6BB-A886-572333EBD98B}"/>
          </ac:spMkLst>
        </pc:spChg>
        <pc:spChg chg="mod topLvl">
          <ac:chgData name="Sastry, Varsha" userId="ac80d159-c352-438a-bc99-3a60547c55a8" providerId="ADAL" clId="{4E498032-DE11-4ADB-ADBE-A7A978F2511B}" dt="2023-12-11T13:51:27.632" v="2999" actId="20577"/>
          <ac:spMkLst>
            <pc:docMk/>
            <pc:sldMk cId="132118669" sldId="2147479540"/>
            <ac:spMk id="61" creationId="{B2F37052-442E-12EF-AB13-8A608B857034}"/>
          </ac:spMkLst>
        </pc:spChg>
        <pc:spChg chg="mod">
          <ac:chgData name="Sastry, Varsha" userId="ac80d159-c352-438a-bc99-3a60547c55a8" providerId="ADAL" clId="{4E498032-DE11-4ADB-ADBE-A7A978F2511B}" dt="2023-12-11T13:47:39.615" v="2966" actId="165"/>
          <ac:spMkLst>
            <pc:docMk/>
            <pc:sldMk cId="132118669" sldId="2147479540"/>
            <ac:spMk id="71" creationId="{DE91BF91-C5A2-8A6C-B902-09C07C590C18}"/>
          </ac:spMkLst>
        </pc:spChg>
        <pc:spChg chg="mod">
          <ac:chgData name="Sastry, Varsha" userId="ac80d159-c352-438a-bc99-3a60547c55a8" providerId="ADAL" clId="{4E498032-DE11-4ADB-ADBE-A7A978F2511B}" dt="2023-12-11T13:13:20.438" v="2366" actId="165"/>
          <ac:spMkLst>
            <pc:docMk/>
            <pc:sldMk cId="132118669" sldId="2147479540"/>
            <ac:spMk id="72" creationId="{78E245F1-1300-2CA9-02B2-8F6F7D372D48}"/>
          </ac:spMkLst>
        </pc:spChg>
        <pc:spChg chg="mod">
          <ac:chgData name="Sastry, Varsha" userId="ac80d159-c352-438a-bc99-3a60547c55a8" providerId="ADAL" clId="{4E498032-DE11-4ADB-ADBE-A7A978F2511B}" dt="2023-12-11T13:13:20.438" v="2366" actId="165"/>
          <ac:spMkLst>
            <pc:docMk/>
            <pc:sldMk cId="132118669" sldId="2147479540"/>
            <ac:spMk id="73" creationId="{9F77E8CB-9F92-D05E-DCA5-87A3625E06BE}"/>
          </ac:spMkLst>
        </pc:spChg>
        <pc:spChg chg="mod">
          <ac:chgData name="Sastry, Varsha" userId="ac80d159-c352-438a-bc99-3a60547c55a8" providerId="ADAL" clId="{4E498032-DE11-4ADB-ADBE-A7A978F2511B}" dt="2023-12-11T13:43:52.016" v="2796" actId="1038"/>
          <ac:spMkLst>
            <pc:docMk/>
            <pc:sldMk cId="132118669" sldId="2147479540"/>
            <ac:spMk id="74" creationId="{5F2820C4-628C-3FB8-B622-647BAE20FB7A}"/>
          </ac:spMkLst>
        </pc:spChg>
        <pc:spChg chg="mod">
          <ac:chgData name="Sastry, Varsha" userId="ac80d159-c352-438a-bc99-3a60547c55a8" providerId="ADAL" clId="{4E498032-DE11-4ADB-ADBE-A7A978F2511B}" dt="2023-12-11T11:53:56.627" v="541"/>
          <ac:spMkLst>
            <pc:docMk/>
            <pc:sldMk cId="132118669" sldId="2147479540"/>
            <ac:spMk id="76" creationId="{11F95CE4-70DC-4FF6-9740-A5C6EC6923E7}"/>
          </ac:spMkLst>
        </pc:spChg>
        <pc:spChg chg="mod">
          <ac:chgData name="Sastry, Varsha" userId="ac80d159-c352-438a-bc99-3a60547c55a8" providerId="ADAL" clId="{4E498032-DE11-4ADB-ADBE-A7A978F2511B}" dt="2023-12-11T13:43:52.016" v="2796" actId="1038"/>
          <ac:spMkLst>
            <pc:docMk/>
            <pc:sldMk cId="132118669" sldId="2147479540"/>
            <ac:spMk id="77" creationId="{609D6079-4C81-44F4-92B3-53CA51CEE4CD}"/>
          </ac:spMkLst>
        </pc:spChg>
        <pc:spChg chg="mod">
          <ac:chgData name="Sastry, Varsha" userId="ac80d159-c352-438a-bc99-3a60547c55a8" providerId="ADAL" clId="{4E498032-DE11-4ADB-ADBE-A7A978F2511B}" dt="2023-12-11T13:43:52.016" v="2796" actId="1038"/>
          <ac:spMkLst>
            <pc:docMk/>
            <pc:sldMk cId="132118669" sldId="2147479540"/>
            <ac:spMk id="78" creationId="{8C4404B7-9F5A-1BD5-E57C-947E78FB77E5}"/>
          </ac:spMkLst>
        </pc:spChg>
        <pc:spChg chg="mod">
          <ac:chgData name="Sastry, Varsha" userId="ac80d159-c352-438a-bc99-3a60547c55a8" providerId="ADAL" clId="{4E498032-DE11-4ADB-ADBE-A7A978F2511B}" dt="2023-12-11T13:43:52.016" v="2796" actId="1038"/>
          <ac:spMkLst>
            <pc:docMk/>
            <pc:sldMk cId="132118669" sldId="2147479540"/>
            <ac:spMk id="79" creationId="{176A5531-B4BB-23E2-E070-4FD045A9826D}"/>
          </ac:spMkLst>
        </pc:spChg>
        <pc:spChg chg="mod">
          <ac:chgData name="Sastry, Varsha" userId="ac80d159-c352-438a-bc99-3a60547c55a8" providerId="ADAL" clId="{4E498032-DE11-4ADB-ADBE-A7A978F2511B}" dt="2023-12-11T13:47:39.615" v="2966" actId="165"/>
          <ac:spMkLst>
            <pc:docMk/>
            <pc:sldMk cId="132118669" sldId="2147479540"/>
            <ac:spMk id="80" creationId="{B4F9881B-4825-1D15-6EB3-29103147BF6A}"/>
          </ac:spMkLst>
        </pc:spChg>
        <pc:spChg chg="mod">
          <ac:chgData name="Sastry, Varsha" userId="ac80d159-c352-438a-bc99-3a60547c55a8" providerId="ADAL" clId="{4E498032-DE11-4ADB-ADBE-A7A978F2511B}" dt="2023-12-11T13:47:39.615" v="2966" actId="165"/>
          <ac:spMkLst>
            <pc:docMk/>
            <pc:sldMk cId="132118669" sldId="2147479540"/>
            <ac:spMk id="81" creationId="{7322A726-033B-B459-7D67-A62E6BEA3BD1}"/>
          </ac:spMkLst>
        </pc:spChg>
        <pc:spChg chg="mod">
          <ac:chgData name="Sastry, Varsha" userId="ac80d159-c352-438a-bc99-3a60547c55a8" providerId="ADAL" clId="{4E498032-DE11-4ADB-ADBE-A7A978F2511B}" dt="2023-12-11T13:43:52.016" v="2796" actId="1038"/>
          <ac:spMkLst>
            <pc:docMk/>
            <pc:sldMk cId="132118669" sldId="2147479540"/>
            <ac:spMk id="482" creationId="{A7C8C7A5-605F-1667-10BA-B8765A0C022B}"/>
          </ac:spMkLst>
        </pc:spChg>
        <pc:spChg chg="mod">
          <ac:chgData name="Sastry, Varsha" userId="ac80d159-c352-438a-bc99-3a60547c55a8" providerId="ADAL" clId="{4E498032-DE11-4ADB-ADBE-A7A978F2511B}" dt="2023-12-11T13:43:52.016" v="2796" actId="1038"/>
          <ac:spMkLst>
            <pc:docMk/>
            <pc:sldMk cId="132118669" sldId="2147479540"/>
            <ac:spMk id="483" creationId="{C1DD97D3-1774-79D5-A96F-D32BA49D2AB5}"/>
          </ac:spMkLst>
        </pc:spChg>
        <pc:spChg chg="mod">
          <ac:chgData name="Sastry, Varsha" userId="ac80d159-c352-438a-bc99-3a60547c55a8" providerId="ADAL" clId="{4E498032-DE11-4ADB-ADBE-A7A978F2511B}" dt="2023-12-11T13:47:39.615" v="2966" actId="165"/>
          <ac:spMkLst>
            <pc:docMk/>
            <pc:sldMk cId="132118669" sldId="2147479540"/>
            <ac:spMk id="484" creationId="{7E421DE4-C881-1D52-CA6F-4FFD5101C46A}"/>
          </ac:spMkLst>
        </pc:spChg>
        <pc:grpChg chg="add mod">
          <ac:chgData name="Sastry, Varsha" userId="ac80d159-c352-438a-bc99-3a60547c55a8" providerId="ADAL" clId="{4E498032-DE11-4ADB-ADBE-A7A978F2511B}" dt="2023-12-11T13:43:52.016" v="2796" actId="1038"/>
          <ac:grpSpMkLst>
            <pc:docMk/>
            <pc:sldMk cId="132118669" sldId="2147479540"/>
            <ac:grpSpMk id="7" creationId="{1FFD82AB-5BB9-6A9E-1C5E-A99AB519CAC0}"/>
          </ac:grpSpMkLst>
        </pc:grpChg>
        <pc:grpChg chg="add mod">
          <ac:chgData name="Sastry, Varsha" userId="ac80d159-c352-438a-bc99-3a60547c55a8" providerId="ADAL" clId="{4E498032-DE11-4ADB-ADBE-A7A978F2511B}" dt="2023-12-11T13:43:52.016" v="2796" actId="1038"/>
          <ac:grpSpMkLst>
            <pc:docMk/>
            <pc:sldMk cId="132118669" sldId="2147479540"/>
            <ac:grpSpMk id="11" creationId="{ED9448CD-9688-D6FA-7D0E-770AB921F5C9}"/>
          </ac:grpSpMkLst>
        </pc:grpChg>
        <pc:grpChg chg="add mod">
          <ac:chgData name="Sastry, Varsha" userId="ac80d159-c352-438a-bc99-3a60547c55a8" providerId="ADAL" clId="{4E498032-DE11-4ADB-ADBE-A7A978F2511B}" dt="2023-12-11T13:43:52.016" v="2796" actId="1038"/>
          <ac:grpSpMkLst>
            <pc:docMk/>
            <pc:sldMk cId="132118669" sldId="2147479540"/>
            <ac:grpSpMk id="18" creationId="{ABA10037-ED76-FA3D-1922-78BC1D48351F}"/>
          </ac:grpSpMkLst>
        </pc:grpChg>
        <pc:grpChg chg="add mod">
          <ac:chgData name="Sastry, Varsha" userId="ac80d159-c352-438a-bc99-3a60547c55a8" providerId="ADAL" clId="{4E498032-DE11-4ADB-ADBE-A7A978F2511B}" dt="2023-12-11T13:43:52.016" v="2796" actId="1038"/>
          <ac:grpSpMkLst>
            <pc:docMk/>
            <pc:sldMk cId="132118669" sldId="2147479540"/>
            <ac:grpSpMk id="22" creationId="{99E6854F-78F8-4CE3-A7D5-C686666CF4DF}"/>
          </ac:grpSpMkLst>
        </pc:grpChg>
        <pc:grpChg chg="add mod">
          <ac:chgData name="Sastry, Varsha" userId="ac80d159-c352-438a-bc99-3a60547c55a8" providerId="ADAL" clId="{4E498032-DE11-4ADB-ADBE-A7A978F2511B}" dt="2023-12-11T13:43:52.016" v="2796" actId="1038"/>
          <ac:grpSpMkLst>
            <pc:docMk/>
            <pc:sldMk cId="132118669" sldId="2147479540"/>
            <ac:grpSpMk id="25" creationId="{884E4F37-6971-BE71-9549-2D9C87B4D1A2}"/>
          </ac:grpSpMkLst>
        </pc:grpChg>
        <pc:grpChg chg="add mod">
          <ac:chgData name="Sastry, Varsha" userId="ac80d159-c352-438a-bc99-3a60547c55a8" providerId="ADAL" clId="{4E498032-DE11-4ADB-ADBE-A7A978F2511B}" dt="2023-12-11T13:43:52.016" v="2796" actId="1038"/>
          <ac:grpSpMkLst>
            <pc:docMk/>
            <pc:sldMk cId="132118669" sldId="2147479540"/>
            <ac:grpSpMk id="26" creationId="{09F00221-036B-6CEF-D2E1-236A5AEC746E}"/>
          </ac:grpSpMkLst>
        </pc:grpChg>
        <pc:grpChg chg="add mod">
          <ac:chgData name="Sastry, Varsha" userId="ac80d159-c352-438a-bc99-3a60547c55a8" providerId="ADAL" clId="{4E498032-DE11-4ADB-ADBE-A7A978F2511B}" dt="2023-12-11T13:43:52.016" v="2796" actId="1038"/>
          <ac:grpSpMkLst>
            <pc:docMk/>
            <pc:sldMk cId="132118669" sldId="2147479540"/>
            <ac:grpSpMk id="27" creationId="{68763363-D374-2D4D-D6EB-BAEDC437BE76}"/>
          </ac:grpSpMkLst>
        </pc:grpChg>
        <pc:grpChg chg="add mod">
          <ac:chgData name="Sastry, Varsha" userId="ac80d159-c352-438a-bc99-3a60547c55a8" providerId="ADAL" clId="{4E498032-DE11-4ADB-ADBE-A7A978F2511B}" dt="2023-12-11T13:43:52.016" v="2796" actId="1038"/>
          <ac:grpSpMkLst>
            <pc:docMk/>
            <pc:sldMk cId="132118669" sldId="2147479540"/>
            <ac:grpSpMk id="28" creationId="{A96F8558-6B4E-7107-BFBE-742AEDEA7FDE}"/>
          </ac:grpSpMkLst>
        </pc:grpChg>
        <pc:grpChg chg="add del mod">
          <ac:chgData name="Sastry, Varsha" userId="ac80d159-c352-438a-bc99-3a60547c55a8" providerId="ADAL" clId="{4E498032-DE11-4ADB-ADBE-A7A978F2511B}" dt="2023-12-11T13:47:39.615" v="2966" actId="165"/>
          <ac:grpSpMkLst>
            <pc:docMk/>
            <pc:sldMk cId="132118669" sldId="2147479540"/>
            <ac:grpSpMk id="29" creationId="{14C771D2-4089-0C6D-42DA-35E95CE6430C}"/>
          </ac:grpSpMkLst>
        </pc:grpChg>
        <pc:grpChg chg="add mod">
          <ac:chgData name="Sastry, Varsha" userId="ac80d159-c352-438a-bc99-3a60547c55a8" providerId="ADAL" clId="{4E498032-DE11-4ADB-ADBE-A7A978F2511B}" dt="2023-12-11T13:48:44.616" v="2990" actId="164"/>
          <ac:grpSpMkLst>
            <pc:docMk/>
            <pc:sldMk cId="132118669" sldId="2147479540"/>
            <ac:grpSpMk id="30" creationId="{120F7FBC-A391-6B1A-51F2-3B13CF938C07}"/>
          </ac:grpSpMkLst>
        </pc:grpChg>
        <pc:grpChg chg="mod">
          <ac:chgData name="Sastry, Varsha" userId="ac80d159-c352-438a-bc99-3a60547c55a8" providerId="ADAL" clId="{4E498032-DE11-4ADB-ADBE-A7A978F2511B}" dt="2023-12-11T12:01:50.261" v="854" actId="1036"/>
          <ac:grpSpMkLst>
            <pc:docMk/>
            <pc:sldMk cId="132118669" sldId="2147479540"/>
            <ac:grpSpMk id="42" creationId="{40109686-9EC9-0D48-928D-405F8214B5C5}"/>
          </ac:grpSpMkLst>
        </pc:grpChg>
        <pc:grpChg chg="del">
          <ac:chgData name="Sastry, Varsha" userId="ac80d159-c352-438a-bc99-3a60547c55a8" providerId="ADAL" clId="{4E498032-DE11-4ADB-ADBE-A7A978F2511B}" dt="2023-12-11T13:13:20.438" v="2366" actId="165"/>
          <ac:grpSpMkLst>
            <pc:docMk/>
            <pc:sldMk cId="132118669" sldId="2147479540"/>
            <ac:grpSpMk id="53" creationId="{7101B836-C08A-B8E3-35F5-8BB1A1824FDE}"/>
          </ac:grpSpMkLst>
        </pc:grpChg>
        <pc:grpChg chg="mod topLvl">
          <ac:chgData name="Sastry, Varsha" userId="ac80d159-c352-438a-bc99-3a60547c55a8" providerId="ADAL" clId="{4E498032-DE11-4ADB-ADBE-A7A978F2511B}" dt="2023-12-11T13:48:44.616" v="2990" actId="164"/>
          <ac:grpSpMkLst>
            <pc:docMk/>
            <pc:sldMk cId="132118669" sldId="2147479540"/>
            <ac:grpSpMk id="54" creationId="{899081DA-A488-6E41-F2D4-A1D797A7498C}"/>
          </ac:grpSpMkLst>
        </pc:grpChg>
        <pc:grpChg chg="mod topLvl">
          <ac:chgData name="Sastry, Varsha" userId="ac80d159-c352-438a-bc99-3a60547c55a8" providerId="ADAL" clId="{4E498032-DE11-4ADB-ADBE-A7A978F2511B}" dt="2023-12-11T13:43:52.016" v="2796" actId="1038"/>
          <ac:grpSpMkLst>
            <pc:docMk/>
            <pc:sldMk cId="132118669" sldId="2147479540"/>
            <ac:grpSpMk id="55" creationId="{7D3045A5-5993-99BA-B730-E31CEB5EBB9A}"/>
          </ac:grpSpMkLst>
        </pc:grpChg>
        <pc:grpChg chg="mod topLvl">
          <ac:chgData name="Sastry, Varsha" userId="ac80d159-c352-438a-bc99-3a60547c55a8" providerId="ADAL" clId="{4E498032-DE11-4ADB-ADBE-A7A978F2511B}" dt="2023-12-11T13:43:52.016" v="2796" actId="1038"/>
          <ac:grpSpMkLst>
            <pc:docMk/>
            <pc:sldMk cId="132118669" sldId="2147479540"/>
            <ac:grpSpMk id="57" creationId="{8EA83D01-1A15-4FD3-F792-CCB70991E8E6}"/>
          </ac:grpSpMkLst>
        </pc:grpChg>
        <pc:grpChg chg="del mod topLvl">
          <ac:chgData name="Sastry, Varsha" userId="ac80d159-c352-438a-bc99-3a60547c55a8" providerId="ADAL" clId="{4E498032-DE11-4ADB-ADBE-A7A978F2511B}" dt="2023-12-11T13:26:14.355" v="2707" actId="478"/>
          <ac:grpSpMkLst>
            <pc:docMk/>
            <pc:sldMk cId="132118669" sldId="2147479540"/>
            <ac:grpSpMk id="59" creationId="{EC012DC1-1865-74DD-4737-902BCD9A0990}"/>
          </ac:grpSpMkLst>
        </pc:grpChg>
        <pc:grpChg chg="mod topLvl">
          <ac:chgData name="Sastry, Varsha" userId="ac80d159-c352-438a-bc99-3a60547c55a8" providerId="ADAL" clId="{4E498032-DE11-4ADB-ADBE-A7A978F2511B}" dt="2023-12-11T13:48:44.616" v="2990" actId="164"/>
          <ac:grpSpMkLst>
            <pc:docMk/>
            <pc:sldMk cId="132118669" sldId="2147479540"/>
            <ac:grpSpMk id="60" creationId="{A91508C1-2D95-0D0C-4510-F3A7D55A6E2E}"/>
          </ac:grpSpMkLst>
        </pc:grpChg>
        <pc:grpChg chg="mod topLvl">
          <ac:chgData name="Sastry, Varsha" userId="ac80d159-c352-438a-bc99-3a60547c55a8" providerId="ADAL" clId="{4E498032-DE11-4ADB-ADBE-A7A978F2511B}" dt="2023-12-11T13:43:52.016" v="2796" actId="1038"/>
          <ac:grpSpMkLst>
            <pc:docMk/>
            <pc:sldMk cId="132118669" sldId="2147479540"/>
            <ac:grpSpMk id="62" creationId="{F0DB7A7C-0007-A70D-4CE9-9813D69358FA}"/>
          </ac:grpSpMkLst>
        </pc:grpChg>
        <pc:cxnChg chg="add mod">
          <ac:chgData name="Sastry, Varsha" userId="ac80d159-c352-438a-bc99-3a60547c55a8" providerId="ADAL" clId="{4E498032-DE11-4ADB-ADBE-A7A978F2511B}" dt="2023-12-11T13:43:52.016" v="2796" actId="1038"/>
          <ac:cxnSpMkLst>
            <pc:docMk/>
            <pc:sldMk cId="132118669" sldId="2147479540"/>
            <ac:cxnSpMk id="4" creationId="{3186E9D8-0777-CB91-F517-9F4D0ED355AD}"/>
          </ac:cxnSpMkLst>
        </pc:cxnChg>
        <pc:cxnChg chg="add mod">
          <ac:chgData name="Sastry, Varsha" userId="ac80d159-c352-438a-bc99-3a60547c55a8" providerId="ADAL" clId="{4E498032-DE11-4ADB-ADBE-A7A978F2511B}" dt="2023-12-11T13:43:52.016" v="2796" actId="1038"/>
          <ac:cxnSpMkLst>
            <pc:docMk/>
            <pc:sldMk cId="132118669" sldId="2147479540"/>
            <ac:cxnSpMk id="21" creationId="{8D34AB3D-9A44-4D26-A952-21A4BCFE10C9}"/>
          </ac:cxnSpMkLst>
        </pc:cxnChg>
        <pc:cxnChg chg="mod topLvl">
          <ac:chgData name="Sastry, Varsha" userId="ac80d159-c352-438a-bc99-3a60547c55a8" providerId="ADAL" clId="{4E498032-DE11-4ADB-ADBE-A7A978F2511B}" dt="2023-12-11T13:43:52.016" v="2796" actId="1038"/>
          <ac:cxnSpMkLst>
            <pc:docMk/>
            <pc:sldMk cId="132118669" sldId="2147479540"/>
            <ac:cxnSpMk id="63" creationId="{077C89EF-BF0E-3BF0-4C1B-202282AF65B8}"/>
          </ac:cxnSpMkLst>
        </pc:cxnChg>
        <pc:cxnChg chg="mod topLvl">
          <ac:chgData name="Sastry, Varsha" userId="ac80d159-c352-438a-bc99-3a60547c55a8" providerId="ADAL" clId="{4E498032-DE11-4ADB-ADBE-A7A978F2511B}" dt="2023-12-11T13:43:52.016" v="2796" actId="1038"/>
          <ac:cxnSpMkLst>
            <pc:docMk/>
            <pc:sldMk cId="132118669" sldId="2147479540"/>
            <ac:cxnSpMk id="478" creationId="{852011B9-0E96-DC38-6708-E27847F925A9}"/>
          </ac:cxnSpMkLst>
        </pc:cxnChg>
        <pc:cxnChg chg="mod topLvl">
          <ac:chgData name="Sastry, Varsha" userId="ac80d159-c352-438a-bc99-3a60547c55a8" providerId="ADAL" clId="{4E498032-DE11-4ADB-ADBE-A7A978F2511B}" dt="2023-12-11T13:43:52.016" v="2796" actId="1038"/>
          <ac:cxnSpMkLst>
            <pc:docMk/>
            <pc:sldMk cId="132118669" sldId="2147479540"/>
            <ac:cxnSpMk id="479" creationId="{C8E6D5E1-12E9-DBBD-182B-056AC59DB094}"/>
          </ac:cxnSpMkLst>
        </pc:cxnChg>
        <pc:cxnChg chg="mod topLvl">
          <ac:chgData name="Sastry, Varsha" userId="ac80d159-c352-438a-bc99-3a60547c55a8" providerId="ADAL" clId="{4E498032-DE11-4ADB-ADBE-A7A978F2511B}" dt="2023-12-11T13:43:52.016" v="2796" actId="1038"/>
          <ac:cxnSpMkLst>
            <pc:docMk/>
            <pc:sldMk cId="132118669" sldId="2147479540"/>
            <ac:cxnSpMk id="480" creationId="{87F42BF9-933A-2248-5A9E-981686C71891}"/>
          </ac:cxnSpMkLst>
        </pc:cxnChg>
        <pc:cxnChg chg="mod topLvl">
          <ac:chgData name="Sastry, Varsha" userId="ac80d159-c352-438a-bc99-3a60547c55a8" providerId="ADAL" clId="{4E498032-DE11-4ADB-ADBE-A7A978F2511B}" dt="2023-12-11T13:48:44.616" v="2990" actId="164"/>
          <ac:cxnSpMkLst>
            <pc:docMk/>
            <pc:sldMk cId="132118669" sldId="2147479540"/>
            <ac:cxnSpMk id="481" creationId="{54BC1252-50C8-ABE8-3B50-601DDDA454D5}"/>
          </ac:cxnSpMkLst>
        </pc:cxnChg>
      </pc:sldChg>
      <pc:sldChg chg="addSp delSp modSp add del mod addCm delCm modCm">
        <pc:chgData name="Sastry, Varsha" userId="ac80d159-c352-438a-bc99-3a60547c55a8" providerId="ADAL" clId="{4E498032-DE11-4ADB-ADBE-A7A978F2511B}" dt="2023-12-11T15:05:27.350" v="3147" actId="47"/>
        <pc:sldMkLst>
          <pc:docMk/>
          <pc:sldMk cId="661177266" sldId="2147479541"/>
        </pc:sldMkLst>
        <pc:spChg chg="add mod">
          <ac:chgData name="Sastry, Varsha" userId="ac80d159-c352-438a-bc99-3a60547c55a8" providerId="ADAL" clId="{4E498032-DE11-4ADB-ADBE-A7A978F2511B}" dt="2023-12-11T12:29:25.084" v="1705"/>
          <ac:spMkLst>
            <pc:docMk/>
            <pc:sldMk cId="661177266" sldId="2147479541"/>
            <ac:spMk id="2" creationId="{958D7406-9947-03A0-A2FC-5A6BC25A5967}"/>
          </ac:spMkLst>
        </pc:spChg>
        <pc:spChg chg="add mod">
          <ac:chgData name="Sastry, Varsha" userId="ac80d159-c352-438a-bc99-3a60547c55a8" providerId="ADAL" clId="{4E498032-DE11-4ADB-ADBE-A7A978F2511B}" dt="2023-12-11T12:29:25.084" v="1705"/>
          <ac:spMkLst>
            <pc:docMk/>
            <pc:sldMk cId="661177266" sldId="2147479541"/>
            <ac:spMk id="3" creationId="{03ED66AF-D198-A8EA-411B-64DF27BDFE36}"/>
          </ac:spMkLst>
        </pc:spChg>
        <pc:spChg chg="add mod">
          <ac:chgData name="Sastry, Varsha" userId="ac80d159-c352-438a-bc99-3a60547c55a8" providerId="ADAL" clId="{4E498032-DE11-4ADB-ADBE-A7A978F2511B}" dt="2023-12-11T12:29:25.084" v="1705"/>
          <ac:spMkLst>
            <pc:docMk/>
            <pc:sldMk cId="661177266" sldId="2147479541"/>
            <ac:spMk id="4" creationId="{92F9D51D-84EE-DB42-8389-731B4E868523}"/>
          </ac:spMkLst>
        </pc:spChg>
        <pc:spChg chg="add mod">
          <ac:chgData name="Sastry, Varsha" userId="ac80d159-c352-438a-bc99-3a60547c55a8" providerId="ADAL" clId="{4E498032-DE11-4ADB-ADBE-A7A978F2511B}" dt="2023-12-11T12:29:25.084" v="1705"/>
          <ac:spMkLst>
            <pc:docMk/>
            <pc:sldMk cId="661177266" sldId="2147479541"/>
            <ac:spMk id="5" creationId="{24543697-9F27-6CBD-D3E3-8F8219D3BE3F}"/>
          </ac:spMkLst>
        </pc:spChg>
        <pc:spChg chg="add mod">
          <ac:chgData name="Sastry, Varsha" userId="ac80d159-c352-438a-bc99-3a60547c55a8" providerId="ADAL" clId="{4E498032-DE11-4ADB-ADBE-A7A978F2511B}" dt="2023-12-11T12:29:25.084" v="1705"/>
          <ac:spMkLst>
            <pc:docMk/>
            <pc:sldMk cId="661177266" sldId="2147479541"/>
            <ac:spMk id="6" creationId="{7472419A-0214-34E6-05C6-17A12DE8DEC3}"/>
          </ac:spMkLst>
        </pc:spChg>
        <pc:spChg chg="add mod">
          <ac:chgData name="Sastry, Varsha" userId="ac80d159-c352-438a-bc99-3a60547c55a8" providerId="ADAL" clId="{4E498032-DE11-4ADB-ADBE-A7A978F2511B}" dt="2023-12-11T12:29:25.084" v="1705"/>
          <ac:spMkLst>
            <pc:docMk/>
            <pc:sldMk cId="661177266" sldId="2147479541"/>
            <ac:spMk id="7" creationId="{CA52B4B8-7652-0FEB-4F78-AD65CA77FCCD}"/>
          </ac:spMkLst>
        </pc:spChg>
        <pc:spChg chg="add mod">
          <ac:chgData name="Sastry, Varsha" userId="ac80d159-c352-438a-bc99-3a60547c55a8" providerId="ADAL" clId="{4E498032-DE11-4ADB-ADBE-A7A978F2511B}" dt="2023-12-11T12:29:25.084" v="1705"/>
          <ac:spMkLst>
            <pc:docMk/>
            <pc:sldMk cId="661177266" sldId="2147479541"/>
            <ac:spMk id="8" creationId="{1D3C7B90-7EB8-AF33-2EC0-664D240E8E28}"/>
          </ac:spMkLst>
        </pc:spChg>
        <pc:spChg chg="add mod">
          <ac:chgData name="Sastry, Varsha" userId="ac80d159-c352-438a-bc99-3a60547c55a8" providerId="ADAL" clId="{4E498032-DE11-4ADB-ADBE-A7A978F2511B}" dt="2023-12-11T12:29:25.084" v="1705"/>
          <ac:spMkLst>
            <pc:docMk/>
            <pc:sldMk cId="661177266" sldId="2147479541"/>
            <ac:spMk id="9" creationId="{EF42D114-BB86-3595-2912-5246161B2282}"/>
          </ac:spMkLst>
        </pc:spChg>
        <pc:spChg chg="mod">
          <ac:chgData name="Sastry, Varsha" userId="ac80d159-c352-438a-bc99-3a60547c55a8" providerId="ADAL" clId="{4E498032-DE11-4ADB-ADBE-A7A978F2511B}" dt="2023-12-11T12:29:53.387" v="1723" actId="12788"/>
          <ac:spMkLst>
            <pc:docMk/>
            <pc:sldMk cId="661177266" sldId="2147479541"/>
            <ac:spMk id="12" creationId="{1667DD00-F353-096A-BC66-ECA8DA1B7A24}"/>
          </ac:spMkLst>
        </pc:spChg>
        <pc:spChg chg="mod">
          <ac:chgData name="Sastry, Varsha" userId="ac80d159-c352-438a-bc99-3a60547c55a8" providerId="ADAL" clId="{4E498032-DE11-4ADB-ADBE-A7A978F2511B}" dt="2023-12-11T12:29:25.084" v="1705"/>
          <ac:spMkLst>
            <pc:docMk/>
            <pc:sldMk cId="661177266" sldId="2147479541"/>
            <ac:spMk id="18" creationId="{EDB4F69B-1BE1-594C-DE47-7E807888DF0E}"/>
          </ac:spMkLst>
        </pc:spChg>
        <pc:spChg chg="mod">
          <ac:chgData name="Sastry, Varsha" userId="ac80d159-c352-438a-bc99-3a60547c55a8" providerId="ADAL" clId="{4E498032-DE11-4ADB-ADBE-A7A978F2511B}" dt="2023-12-11T12:29:25.084" v="1705"/>
          <ac:spMkLst>
            <pc:docMk/>
            <pc:sldMk cId="661177266" sldId="2147479541"/>
            <ac:spMk id="28" creationId="{5786FDCA-9E69-2502-1C49-52E5103954A3}"/>
          </ac:spMkLst>
        </pc:spChg>
        <pc:spChg chg="mod">
          <ac:chgData name="Sastry, Varsha" userId="ac80d159-c352-438a-bc99-3a60547c55a8" providerId="ADAL" clId="{4E498032-DE11-4ADB-ADBE-A7A978F2511B}" dt="2023-12-11T12:29:25.084" v="1705"/>
          <ac:spMkLst>
            <pc:docMk/>
            <pc:sldMk cId="661177266" sldId="2147479541"/>
            <ac:spMk id="29" creationId="{B9799551-A5AF-EF3A-DC70-0D56EB29D709}"/>
          </ac:spMkLst>
        </pc:spChg>
        <pc:spChg chg="mod">
          <ac:chgData name="Sastry, Varsha" userId="ac80d159-c352-438a-bc99-3a60547c55a8" providerId="ADAL" clId="{4E498032-DE11-4ADB-ADBE-A7A978F2511B}" dt="2023-12-11T12:29:25.084" v="1705"/>
          <ac:spMkLst>
            <pc:docMk/>
            <pc:sldMk cId="661177266" sldId="2147479541"/>
            <ac:spMk id="30" creationId="{395DF329-BC64-C9C8-1744-20AB688E95D8}"/>
          </ac:spMkLst>
        </pc:spChg>
        <pc:spChg chg="mod">
          <ac:chgData name="Sastry, Varsha" userId="ac80d159-c352-438a-bc99-3a60547c55a8" providerId="ADAL" clId="{4E498032-DE11-4ADB-ADBE-A7A978F2511B}" dt="2023-12-11T12:29:25.084" v="1705"/>
          <ac:spMkLst>
            <pc:docMk/>
            <pc:sldMk cId="661177266" sldId="2147479541"/>
            <ac:spMk id="31" creationId="{42154E43-8F53-81DC-84B6-D3F5DE5CCF55}"/>
          </ac:spMkLst>
        </pc:spChg>
        <pc:spChg chg="mod">
          <ac:chgData name="Sastry, Varsha" userId="ac80d159-c352-438a-bc99-3a60547c55a8" providerId="ADAL" clId="{4E498032-DE11-4ADB-ADBE-A7A978F2511B}" dt="2023-12-11T12:29:25.084" v="1705"/>
          <ac:spMkLst>
            <pc:docMk/>
            <pc:sldMk cId="661177266" sldId="2147479541"/>
            <ac:spMk id="32" creationId="{4C9D6705-0693-AD8A-07C7-829557947810}"/>
          </ac:spMkLst>
        </pc:spChg>
        <pc:spChg chg="mod">
          <ac:chgData name="Sastry, Varsha" userId="ac80d159-c352-438a-bc99-3a60547c55a8" providerId="ADAL" clId="{4E498032-DE11-4ADB-ADBE-A7A978F2511B}" dt="2023-12-11T12:29:25.084" v="1705"/>
          <ac:spMkLst>
            <pc:docMk/>
            <pc:sldMk cId="661177266" sldId="2147479541"/>
            <ac:spMk id="33" creationId="{A68B24D6-DC21-CE6F-CCC3-4B8000C949C4}"/>
          </ac:spMkLst>
        </pc:spChg>
        <pc:spChg chg="mod">
          <ac:chgData name="Sastry, Varsha" userId="ac80d159-c352-438a-bc99-3a60547c55a8" providerId="ADAL" clId="{4E498032-DE11-4ADB-ADBE-A7A978F2511B}" dt="2023-12-11T12:29:25.084" v="1705"/>
          <ac:spMkLst>
            <pc:docMk/>
            <pc:sldMk cId="661177266" sldId="2147479541"/>
            <ac:spMk id="34" creationId="{BE86A949-B081-568D-F513-E8FDD82367A9}"/>
          </ac:spMkLst>
        </pc:spChg>
        <pc:spChg chg="mod">
          <ac:chgData name="Sastry, Varsha" userId="ac80d159-c352-438a-bc99-3a60547c55a8" providerId="ADAL" clId="{4E498032-DE11-4ADB-ADBE-A7A978F2511B}" dt="2023-12-11T12:29:25.084" v="1705"/>
          <ac:spMkLst>
            <pc:docMk/>
            <pc:sldMk cId="661177266" sldId="2147479541"/>
            <ac:spMk id="35" creationId="{B613DB29-54B5-0433-083E-BF90EF5272B1}"/>
          </ac:spMkLst>
        </pc:spChg>
        <pc:spChg chg="mod">
          <ac:chgData name="Sastry, Varsha" userId="ac80d159-c352-438a-bc99-3a60547c55a8" providerId="ADAL" clId="{4E498032-DE11-4ADB-ADBE-A7A978F2511B}" dt="2023-12-11T12:29:25.084" v="1705"/>
          <ac:spMkLst>
            <pc:docMk/>
            <pc:sldMk cId="661177266" sldId="2147479541"/>
            <ac:spMk id="36" creationId="{7A9C249F-4074-52A5-47A7-F681233531F9}"/>
          </ac:spMkLst>
        </pc:spChg>
        <pc:spChg chg="mod">
          <ac:chgData name="Sastry, Varsha" userId="ac80d159-c352-438a-bc99-3a60547c55a8" providerId="ADAL" clId="{4E498032-DE11-4ADB-ADBE-A7A978F2511B}" dt="2023-12-11T12:29:25.084" v="1705"/>
          <ac:spMkLst>
            <pc:docMk/>
            <pc:sldMk cId="661177266" sldId="2147479541"/>
            <ac:spMk id="37" creationId="{DB5D2263-36C4-F90D-54A4-24A81A5E4BE2}"/>
          </ac:spMkLst>
        </pc:spChg>
        <pc:spChg chg="mod">
          <ac:chgData name="Sastry, Varsha" userId="ac80d159-c352-438a-bc99-3a60547c55a8" providerId="ADAL" clId="{4E498032-DE11-4ADB-ADBE-A7A978F2511B}" dt="2023-12-11T12:29:25.084" v="1705"/>
          <ac:spMkLst>
            <pc:docMk/>
            <pc:sldMk cId="661177266" sldId="2147479541"/>
            <ac:spMk id="38" creationId="{4DD96D01-480B-7C92-08F1-F6B251127DFF}"/>
          </ac:spMkLst>
        </pc:spChg>
        <pc:spChg chg="mod">
          <ac:chgData name="Sastry, Varsha" userId="ac80d159-c352-438a-bc99-3a60547c55a8" providerId="ADAL" clId="{4E498032-DE11-4ADB-ADBE-A7A978F2511B}" dt="2023-12-11T12:29:25.084" v="1705"/>
          <ac:spMkLst>
            <pc:docMk/>
            <pc:sldMk cId="661177266" sldId="2147479541"/>
            <ac:spMk id="39" creationId="{0684FD02-A011-BA58-03E6-AFB65CA8904A}"/>
          </ac:spMkLst>
        </pc:spChg>
        <pc:spChg chg="mod">
          <ac:chgData name="Sastry, Varsha" userId="ac80d159-c352-438a-bc99-3a60547c55a8" providerId="ADAL" clId="{4E498032-DE11-4ADB-ADBE-A7A978F2511B}" dt="2023-12-11T12:29:25.084" v="1705"/>
          <ac:spMkLst>
            <pc:docMk/>
            <pc:sldMk cId="661177266" sldId="2147479541"/>
            <ac:spMk id="40" creationId="{01E0AE23-2AE1-68AC-8DAB-5A178A44AB7D}"/>
          </ac:spMkLst>
        </pc:spChg>
        <pc:spChg chg="mod">
          <ac:chgData name="Sastry, Varsha" userId="ac80d159-c352-438a-bc99-3a60547c55a8" providerId="ADAL" clId="{4E498032-DE11-4ADB-ADBE-A7A978F2511B}" dt="2023-12-11T12:36:47.935" v="1834" actId="20577"/>
          <ac:spMkLst>
            <pc:docMk/>
            <pc:sldMk cId="661177266" sldId="2147479541"/>
            <ac:spMk id="41" creationId="{759A0B1E-9D78-FFAD-0251-6A24DFE2F99E}"/>
          </ac:spMkLst>
        </pc:spChg>
        <pc:spChg chg="mod">
          <ac:chgData name="Sastry, Varsha" userId="ac80d159-c352-438a-bc99-3a60547c55a8" providerId="ADAL" clId="{4E498032-DE11-4ADB-ADBE-A7A978F2511B}" dt="2023-12-11T12:29:25.084" v="1705"/>
          <ac:spMkLst>
            <pc:docMk/>
            <pc:sldMk cId="661177266" sldId="2147479541"/>
            <ac:spMk id="448" creationId="{8F46606C-1CC6-E6D4-A094-0FDEECA00288}"/>
          </ac:spMkLst>
        </pc:spChg>
        <pc:spChg chg="mod">
          <ac:chgData name="Sastry, Varsha" userId="ac80d159-c352-438a-bc99-3a60547c55a8" providerId="ADAL" clId="{4E498032-DE11-4ADB-ADBE-A7A978F2511B}" dt="2023-12-11T12:29:25.084" v="1705"/>
          <ac:spMkLst>
            <pc:docMk/>
            <pc:sldMk cId="661177266" sldId="2147479541"/>
            <ac:spMk id="449" creationId="{B9ED8624-A6DE-D9D1-0142-957572C3BAE5}"/>
          </ac:spMkLst>
        </pc:spChg>
        <pc:spChg chg="mod">
          <ac:chgData name="Sastry, Varsha" userId="ac80d159-c352-438a-bc99-3a60547c55a8" providerId="ADAL" clId="{4E498032-DE11-4ADB-ADBE-A7A978F2511B}" dt="2023-12-11T12:29:25.084" v="1705"/>
          <ac:spMkLst>
            <pc:docMk/>
            <pc:sldMk cId="661177266" sldId="2147479541"/>
            <ac:spMk id="450" creationId="{7FCC4F7A-9C38-8566-885E-26B862A759C4}"/>
          </ac:spMkLst>
        </pc:spChg>
        <pc:spChg chg="mod">
          <ac:chgData name="Sastry, Varsha" userId="ac80d159-c352-438a-bc99-3a60547c55a8" providerId="ADAL" clId="{4E498032-DE11-4ADB-ADBE-A7A978F2511B}" dt="2023-12-11T12:29:25.084" v="1705"/>
          <ac:spMkLst>
            <pc:docMk/>
            <pc:sldMk cId="661177266" sldId="2147479541"/>
            <ac:spMk id="451" creationId="{BD0F9DA2-200A-7DF1-26A9-3E228A5E224F}"/>
          </ac:spMkLst>
        </pc:spChg>
        <pc:spChg chg="mod">
          <ac:chgData name="Sastry, Varsha" userId="ac80d159-c352-438a-bc99-3a60547c55a8" providerId="ADAL" clId="{4E498032-DE11-4ADB-ADBE-A7A978F2511B}" dt="2023-12-11T12:29:25.084" v="1705"/>
          <ac:spMkLst>
            <pc:docMk/>
            <pc:sldMk cId="661177266" sldId="2147479541"/>
            <ac:spMk id="452" creationId="{784C2AED-3AA4-79E9-C807-EF8FF4C49E24}"/>
          </ac:spMkLst>
        </pc:spChg>
        <pc:spChg chg="mod">
          <ac:chgData name="Sastry, Varsha" userId="ac80d159-c352-438a-bc99-3a60547c55a8" providerId="ADAL" clId="{4E498032-DE11-4ADB-ADBE-A7A978F2511B}" dt="2023-12-11T12:29:25.084" v="1705"/>
          <ac:spMkLst>
            <pc:docMk/>
            <pc:sldMk cId="661177266" sldId="2147479541"/>
            <ac:spMk id="453" creationId="{CE6E9891-562E-B9E3-7286-AA09047B3B90}"/>
          </ac:spMkLst>
        </pc:spChg>
        <pc:spChg chg="add mod">
          <ac:chgData name="Sastry, Varsha" userId="ac80d159-c352-438a-bc99-3a60547c55a8" providerId="ADAL" clId="{4E498032-DE11-4ADB-ADBE-A7A978F2511B}" dt="2023-12-11T12:29:25.084" v="1705"/>
          <ac:spMkLst>
            <pc:docMk/>
            <pc:sldMk cId="661177266" sldId="2147479541"/>
            <ac:spMk id="454" creationId="{36390FA6-0FAA-4B0E-1C09-17AF4373BAD7}"/>
          </ac:spMkLst>
        </pc:spChg>
        <pc:grpChg chg="add mod">
          <ac:chgData name="Sastry, Varsha" userId="ac80d159-c352-438a-bc99-3a60547c55a8" providerId="ADAL" clId="{4E498032-DE11-4ADB-ADBE-A7A978F2511B}" dt="2023-12-11T12:29:25.084" v="1705"/>
          <ac:grpSpMkLst>
            <pc:docMk/>
            <pc:sldMk cId="661177266" sldId="2147479541"/>
            <ac:grpSpMk id="10" creationId="{A009E8B5-303F-AA1D-0B77-96E110E69B7D}"/>
          </ac:grpSpMkLst>
        </pc:grpChg>
        <pc:grpChg chg="mod">
          <ac:chgData name="Sastry, Varsha" userId="ac80d159-c352-438a-bc99-3a60547c55a8" providerId="ADAL" clId="{4E498032-DE11-4ADB-ADBE-A7A978F2511B}" dt="2023-12-11T12:29:25.084" v="1705"/>
          <ac:grpSpMkLst>
            <pc:docMk/>
            <pc:sldMk cId="661177266" sldId="2147479541"/>
            <ac:grpSpMk id="11" creationId="{3B69A9E8-9069-AF10-2F43-40A0E4C3EC9B}"/>
          </ac:grpSpMkLst>
        </pc:grpChg>
        <pc:grpChg chg="mod">
          <ac:chgData name="Sastry, Varsha" userId="ac80d159-c352-438a-bc99-3a60547c55a8" providerId="ADAL" clId="{4E498032-DE11-4ADB-ADBE-A7A978F2511B}" dt="2023-12-11T12:29:25.084" v="1705"/>
          <ac:grpSpMkLst>
            <pc:docMk/>
            <pc:sldMk cId="661177266" sldId="2147479541"/>
            <ac:grpSpMk id="19" creationId="{0EAFD7CF-039B-4922-8ACF-8122A144FBD7}"/>
          </ac:grpSpMkLst>
        </pc:grpChg>
        <pc:grpChg chg="mod">
          <ac:chgData name="Sastry, Varsha" userId="ac80d159-c352-438a-bc99-3a60547c55a8" providerId="ADAL" clId="{4E498032-DE11-4ADB-ADBE-A7A978F2511B}" dt="2023-12-11T12:29:25.084" v="1705"/>
          <ac:grpSpMkLst>
            <pc:docMk/>
            <pc:sldMk cId="661177266" sldId="2147479541"/>
            <ac:grpSpMk id="20" creationId="{D735BD4C-D5C0-ACB8-11C7-0C80EE1B0000}"/>
          </ac:grpSpMkLst>
        </pc:grpChg>
        <pc:grpChg chg="mod">
          <ac:chgData name="Sastry, Varsha" userId="ac80d159-c352-438a-bc99-3a60547c55a8" providerId="ADAL" clId="{4E498032-DE11-4ADB-ADBE-A7A978F2511B}" dt="2023-12-11T12:29:25.084" v="1705"/>
          <ac:grpSpMkLst>
            <pc:docMk/>
            <pc:sldMk cId="661177266" sldId="2147479541"/>
            <ac:grpSpMk id="21" creationId="{0C6F4CD7-B683-32C0-053D-03ECED5FFE88}"/>
          </ac:grpSpMkLst>
        </pc:grpChg>
        <pc:grpChg chg="mod">
          <ac:chgData name="Sastry, Varsha" userId="ac80d159-c352-438a-bc99-3a60547c55a8" providerId="ADAL" clId="{4E498032-DE11-4ADB-ADBE-A7A978F2511B}" dt="2023-12-11T12:29:25.084" v="1705"/>
          <ac:grpSpMkLst>
            <pc:docMk/>
            <pc:sldMk cId="661177266" sldId="2147479541"/>
            <ac:grpSpMk id="22" creationId="{71F67543-4EBB-4842-E78C-43EF0F5670DD}"/>
          </ac:grpSpMkLst>
        </pc:grpChg>
        <pc:grpChg chg="mod">
          <ac:chgData name="Sastry, Varsha" userId="ac80d159-c352-438a-bc99-3a60547c55a8" providerId="ADAL" clId="{4E498032-DE11-4ADB-ADBE-A7A978F2511B}" dt="2023-12-11T12:29:25.084" v="1705"/>
          <ac:grpSpMkLst>
            <pc:docMk/>
            <pc:sldMk cId="661177266" sldId="2147479541"/>
            <ac:grpSpMk id="23" creationId="{129482AA-1981-CEAD-4909-3E40F744A4B2}"/>
          </ac:grpSpMkLst>
        </pc:grpChg>
        <pc:grpChg chg="del">
          <ac:chgData name="Sastry, Varsha" userId="ac80d159-c352-438a-bc99-3a60547c55a8" providerId="ADAL" clId="{4E498032-DE11-4ADB-ADBE-A7A978F2511B}" dt="2023-12-11T12:25:59.016" v="1614" actId="478"/>
          <ac:grpSpMkLst>
            <pc:docMk/>
            <pc:sldMk cId="661177266" sldId="2147479541"/>
            <ac:grpSpMk id="42" creationId="{40109686-9EC9-0D48-928D-405F8214B5C5}"/>
          </ac:grpSpMkLst>
        </pc:grpChg>
        <pc:grpChg chg="del">
          <ac:chgData name="Sastry, Varsha" userId="ac80d159-c352-438a-bc99-3a60547c55a8" providerId="ADAL" clId="{4E498032-DE11-4ADB-ADBE-A7A978F2511B}" dt="2023-12-11T12:26:04.821" v="1615" actId="478"/>
          <ac:grpSpMkLst>
            <pc:docMk/>
            <pc:sldMk cId="661177266" sldId="2147479541"/>
            <ac:grpSpMk id="53" creationId="{7101B836-C08A-B8E3-35F5-8BB1A1824FDE}"/>
          </ac:grpSpMkLst>
        </pc:grpChg>
        <pc:cxnChg chg="mod">
          <ac:chgData name="Sastry, Varsha" userId="ac80d159-c352-438a-bc99-3a60547c55a8" providerId="ADAL" clId="{4E498032-DE11-4ADB-ADBE-A7A978F2511B}" dt="2023-12-11T12:29:25.084" v="1705"/>
          <ac:cxnSpMkLst>
            <pc:docMk/>
            <pc:sldMk cId="661177266" sldId="2147479541"/>
            <ac:cxnSpMk id="13" creationId="{6ED2744A-E042-82E9-C585-40FE33E1121E}"/>
          </ac:cxnSpMkLst>
        </pc:cxnChg>
        <pc:cxnChg chg="mod">
          <ac:chgData name="Sastry, Varsha" userId="ac80d159-c352-438a-bc99-3a60547c55a8" providerId="ADAL" clId="{4E498032-DE11-4ADB-ADBE-A7A978F2511B}" dt="2023-12-11T12:29:25.084" v="1705"/>
          <ac:cxnSpMkLst>
            <pc:docMk/>
            <pc:sldMk cId="661177266" sldId="2147479541"/>
            <ac:cxnSpMk id="14" creationId="{A95E4899-9991-0076-942D-F94376217C7E}"/>
          </ac:cxnSpMkLst>
        </pc:cxnChg>
        <pc:cxnChg chg="mod">
          <ac:chgData name="Sastry, Varsha" userId="ac80d159-c352-438a-bc99-3a60547c55a8" providerId="ADAL" clId="{4E498032-DE11-4ADB-ADBE-A7A978F2511B}" dt="2023-12-11T12:29:25.084" v="1705"/>
          <ac:cxnSpMkLst>
            <pc:docMk/>
            <pc:sldMk cId="661177266" sldId="2147479541"/>
            <ac:cxnSpMk id="15" creationId="{B0CD4C6B-8D46-90CE-D445-496AF9C93D13}"/>
          </ac:cxnSpMkLst>
        </pc:cxnChg>
        <pc:cxnChg chg="mod">
          <ac:chgData name="Sastry, Varsha" userId="ac80d159-c352-438a-bc99-3a60547c55a8" providerId="ADAL" clId="{4E498032-DE11-4ADB-ADBE-A7A978F2511B}" dt="2023-12-11T12:29:25.084" v="1705"/>
          <ac:cxnSpMkLst>
            <pc:docMk/>
            <pc:sldMk cId="661177266" sldId="2147479541"/>
            <ac:cxnSpMk id="16" creationId="{8DB9104F-3328-0950-00A0-8794C00AD7B0}"/>
          </ac:cxnSpMkLst>
        </pc:cxnChg>
        <pc:cxnChg chg="mod">
          <ac:chgData name="Sastry, Varsha" userId="ac80d159-c352-438a-bc99-3a60547c55a8" providerId="ADAL" clId="{4E498032-DE11-4ADB-ADBE-A7A978F2511B}" dt="2023-12-11T12:29:25.084" v="1705"/>
          <ac:cxnSpMkLst>
            <pc:docMk/>
            <pc:sldMk cId="661177266" sldId="2147479541"/>
            <ac:cxnSpMk id="17" creationId="{1E04EFF1-67A7-795C-B107-865CFF472DD2}"/>
          </ac:cxnSpMkLst>
        </pc:cxnChg>
        <pc:cxnChg chg="mod">
          <ac:chgData name="Sastry, Varsha" userId="ac80d159-c352-438a-bc99-3a60547c55a8" providerId="ADAL" clId="{4E498032-DE11-4ADB-ADBE-A7A978F2511B}" dt="2023-12-11T12:29:25.084" v="1705"/>
          <ac:cxnSpMkLst>
            <pc:docMk/>
            <pc:sldMk cId="661177266" sldId="2147479541"/>
            <ac:cxnSpMk id="24" creationId="{EC86393A-F3F3-FBC2-E3F6-007CEA2A4B6A}"/>
          </ac:cxnSpMkLst>
        </pc:cxnChg>
        <pc:cxnChg chg="mod">
          <ac:chgData name="Sastry, Varsha" userId="ac80d159-c352-438a-bc99-3a60547c55a8" providerId="ADAL" clId="{4E498032-DE11-4ADB-ADBE-A7A978F2511B}" dt="2023-12-11T12:29:25.084" v="1705"/>
          <ac:cxnSpMkLst>
            <pc:docMk/>
            <pc:sldMk cId="661177266" sldId="2147479541"/>
            <ac:cxnSpMk id="25" creationId="{E67EBC79-2778-29AC-4076-F73C84521446}"/>
          </ac:cxnSpMkLst>
        </pc:cxnChg>
        <pc:cxnChg chg="mod">
          <ac:chgData name="Sastry, Varsha" userId="ac80d159-c352-438a-bc99-3a60547c55a8" providerId="ADAL" clId="{4E498032-DE11-4ADB-ADBE-A7A978F2511B}" dt="2023-12-11T12:29:25.084" v="1705"/>
          <ac:cxnSpMkLst>
            <pc:docMk/>
            <pc:sldMk cId="661177266" sldId="2147479541"/>
            <ac:cxnSpMk id="26" creationId="{8A6B6D81-8548-316A-C3CB-7600C0F82297}"/>
          </ac:cxnSpMkLst>
        </pc:cxnChg>
        <pc:cxnChg chg="mod">
          <ac:chgData name="Sastry, Varsha" userId="ac80d159-c352-438a-bc99-3a60547c55a8" providerId="ADAL" clId="{4E498032-DE11-4ADB-ADBE-A7A978F2511B}" dt="2023-12-11T12:29:25.084" v="1705"/>
          <ac:cxnSpMkLst>
            <pc:docMk/>
            <pc:sldMk cId="661177266" sldId="2147479541"/>
            <ac:cxnSpMk id="27" creationId="{F84F5B91-DDF9-E4C3-CFAD-2FEB4376DD48}"/>
          </ac:cxnSpMkLst>
        </pc:cxnChg>
      </pc:sldChg>
      <pc:sldChg chg="addSp delSp modSp add mod addCm">
        <pc:chgData name="Sastry, Varsha" userId="ac80d159-c352-438a-bc99-3a60547c55a8" providerId="ADAL" clId="{4E498032-DE11-4ADB-ADBE-A7A978F2511B}" dt="2023-12-11T12:58:11.661" v="2290"/>
        <pc:sldMkLst>
          <pc:docMk/>
          <pc:sldMk cId="1218059526" sldId="2147479547"/>
        </pc:sldMkLst>
        <pc:spChg chg="del">
          <ac:chgData name="Sastry, Varsha" userId="ac80d159-c352-438a-bc99-3a60547c55a8" providerId="ADAL" clId="{4E498032-DE11-4ADB-ADBE-A7A978F2511B}" dt="2023-12-11T12:37:36.877" v="1836" actId="478"/>
          <ac:spMkLst>
            <pc:docMk/>
            <pc:sldMk cId="1218059526" sldId="2147479547"/>
            <ac:spMk id="2" creationId="{958D7406-9947-03A0-A2FC-5A6BC25A5967}"/>
          </ac:spMkLst>
        </pc:spChg>
        <pc:spChg chg="del">
          <ac:chgData name="Sastry, Varsha" userId="ac80d159-c352-438a-bc99-3a60547c55a8" providerId="ADAL" clId="{4E498032-DE11-4ADB-ADBE-A7A978F2511B}" dt="2023-12-11T12:37:36.877" v="1836" actId="478"/>
          <ac:spMkLst>
            <pc:docMk/>
            <pc:sldMk cId="1218059526" sldId="2147479547"/>
            <ac:spMk id="3" creationId="{03ED66AF-D198-A8EA-411B-64DF27BDFE36}"/>
          </ac:spMkLst>
        </pc:spChg>
        <pc:spChg chg="del">
          <ac:chgData name="Sastry, Varsha" userId="ac80d159-c352-438a-bc99-3a60547c55a8" providerId="ADAL" clId="{4E498032-DE11-4ADB-ADBE-A7A978F2511B}" dt="2023-12-11T12:37:36.877" v="1836" actId="478"/>
          <ac:spMkLst>
            <pc:docMk/>
            <pc:sldMk cId="1218059526" sldId="2147479547"/>
            <ac:spMk id="4" creationId="{92F9D51D-84EE-DB42-8389-731B4E868523}"/>
          </ac:spMkLst>
        </pc:spChg>
        <pc:spChg chg="del">
          <ac:chgData name="Sastry, Varsha" userId="ac80d159-c352-438a-bc99-3a60547c55a8" providerId="ADAL" clId="{4E498032-DE11-4ADB-ADBE-A7A978F2511B}" dt="2023-12-11T12:37:36.877" v="1836" actId="478"/>
          <ac:spMkLst>
            <pc:docMk/>
            <pc:sldMk cId="1218059526" sldId="2147479547"/>
            <ac:spMk id="5" creationId="{24543697-9F27-6CBD-D3E3-8F8219D3BE3F}"/>
          </ac:spMkLst>
        </pc:spChg>
        <pc:spChg chg="del">
          <ac:chgData name="Sastry, Varsha" userId="ac80d159-c352-438a-bc99-3a60547c55a8" providerId="ADAL" clId="{4E498032-DE11-4ADB-ADBE-A7A978F2511B}" dt="2023-12-11T12:37:36.877" v="1836" actId="478"/>
          <ac:spMkLst>
            <pc:docMk/>
            <pc:sldMk cId="1218059526" sldId="2147479547"/>
            <ac:spMk id="6" creationId="{7472419A-0214-34E6-05C6-17A12DE8DEC3}"/>
          </ac:spMkLst>
        </pc:spChg>
        <pc:spChg chg="del">
          <ac:chgData name="Sastry, Varsha" userId="ac80d159-c352-438a-bc99-3a60547c55a8" providerId="ADAL" clId="{4E498032-DE11-4ADB-ADBE-A7A978F2511B}" dt="2023-12-11T12:37:36.877" v="1836" actId="478"/>
          <ac:spMkLst>
            <pc:docMk/>
            <pc:sldMk cId="1218059526" sldId="2147479547"/>
            <ac:spMk id="7" creationId="{CA52B4B8-7652-0FEB-4F78-AD65CA77FCCD}"/>
          </ac:spMkLst>
        </pc:spChg>
        <pc:spChg chg="del">
          <ac:chgData name="Sastry, Varsha" userId="ac80d159-c352-438a-bc99-3a60547c55a8" providerId="ADAL" clId="{4E498032-DE11-4ADB-ADBE-A7A978F2511B}" dt="2023-12-11T12:37:36.877" v="1836" actId="478"/>
          <ac:spMkLst>
            <pc:docMk/>
            <pc:sldMk cId="1218059526" sldId="2147479547"/>
            <ac:spMk id="8" creationId="{1D3C7B90-7EB8-AF33-2EC0-664D240E8E28}"/>
          </ac:spMkLst>
        </pc:spChg>
        <pc:spChg chg="del">
          <ac:chgData name="Sastry, Varsha" userId="ac80d159-c352-438a-bc99-3a60547c55a8" providerId="ADAL" clId="{4E498032-DE11-4ADB-ADBE-A7A978F2511B}" dt="2023-12-11T12:37:36.877" v="1836" actId="478"/>
          <ac:spMkLst>
            <pc:docMk/>
            <pc:sldMk cId="1218059526" sldId="2147479547"/>
            <ac:spMk id="9" creationId="{EF42D114-BB86-3595-2912-5246161B2282}"/>
          </ac:spMkLst>
        </pc:spChg>
        <pc:spChg chg="del topLvl">
          <ac:chgData name="Sastry, Varsha" userId="ac80d159-c352-438a-bc99-3a60547c55a8" providerId="ADAL" clId="{4E498032-DE11-4ADB-ADBE-A7A978F2511B}" dt="2023-12-11T12:37:46.668" v="1837" actId="478"/>
          <ac:spMkLst>
            <pc:docMk/>
            <pc:sldMk cId="1218059526" sldId="2147479547"/>
            <ac:spMk id="12" creationId="{1667DD00-F353-096A-BC66-ECA8DA1B7A24}"/>
          </ac:spMkLst>
        </pc:spChg>
        <pc:spChg chg="del">
          <ac:chgData name="Sastry, Varsha" userId="ac80d159-c352-438a-bc99-3a60547c55a8" providerId="ADAL" clId="{4E498032-DE11-4ADB-ADBE-A7A978F2511B}" dt="2023-12-11T12:37:50.490" v="1838" actId="478"/>
          <ac:spMkLst>
            <pc:docMk/>
            <pc:sldMk cId="1218059526" sldId="2147479547"/>
            <ac:spMk id="18" creationId="{EDB4F69B-1BE1-594C-DE47-7E807888DF0E}"/>
          </ac:spMkLst>
        </pc:spChg>
        <pc:spChg chg="del">
          <ac:chgData name="Sastry, Varsha" userId="ac80d159-c352-438a-bc99-3a60547c55a8" providerId="ADAL" clId="{4E498032-DE11-4ADB-ADBE-A7A978F2511B}" dt="2023-12-11T12:37:50.490" v="1838" actId="478"/>
          <ac:spMkLst>
            <pc:docMk/>
            <pc:sldMk cId="1218059526" sldId="2147479547"/>
            <ac:spMk id="28" creationId="{5786FDCA-9E69-2502-1C49-52E5103954A3}"/>
          </ac:spMkLst>
        </pc:spChg>
        <pc:spChg chg="del">
          <ac:chgData name="Sastry, Varsha" userId="ac80d159-c352-438a-bc99-3a60547c55a8" providerId="ADAL" clId="{4E498032-DE11-4ADB-ADBE-A7A978F2511B}" dt="2023-12-11T12:37:50.490" v="1838" actId="478"/>
          <ac:spMkLst>
            <pc:docMk/>
            <pc:sldMk cId="1218059526" sldId="2147479547"/>
            <ac:spMk id="29" creationId="{B9799551-A5AF-EF3A-DC70-0D56EB29D709}"/>
          </ac:spMkLst>
        </pc:spChg>
        <pc:spChg chg="mod">
          <ac:chgData name="Sastry, Varsha" userId="ac80d159-c352-438a-bc99-3a60547c55a8" providerId="ADAL" clId="{4E498032-DE11-4ADB-ADBE-A7A978F2511B}" dt="2023-12-11T12:38:11.766" v="1840"/>
          <ac:spMkLst>
            <pc:docMk/>
            <pc:sldMk cId="1218059526" sldId="2147479547"/>
            <ac:spMk id="43" creationId="{B9F0AA43-8096-72D5-0738-F477ED59400D}"/>
          </ac:spMkLst>
        </pc:spChg>
        <pc:spChg chg="mod">
          <ac:chgData name="Sastry, Varsha" userId="ac80d159-c352-438a-bc99-3a60547c55a8" providerId="ADAL" clId="{4E498032-DE11-4ADB-ADBE-A7A978F2511B}" dt="2023-12-11T12:38:11.766" v="1840"/>
          <ac:spMkLst>
            <pc:docMk/>
            <pc:sldMk cId="1218059526" sldId="2147479547"/>
            <ac:spMk id="45" creationId="{2B843CA5-880C-1276-49BD-2A1E648647DE}"/>
          </ac:spMkLst>
        </pc:spChg>
        <pc:spChg chg="mod">
          <ac:chgData name="Sastry, Varsha" userId="ac80d159-c352-438a-bc99-3a60547c55a8" providerId="ADAL" clId="{4E498032-DE11-4ADB-ADBE-A7A978F2511B}" dt="2023-12-11T12:38:11.766" v="1840"/>
          <ac:spMkLst>
            <pc:docMk/>
            <pc:sldMk cId="1218059526" sldId="2147479547"/>
            <ac:spMk id="46" creationId="{05A51262-E016-4555-EA12-4C8F047E2683}"/>
          </ac:spMkLst>
        </pc:spChg>
        <pc:spChg chg="add mod">
          <ac:chgData name="Sastry, Varsha" userId="ac80d159-c352-438a-bc99-3a60547c55a8" providerId="ADAL" clId="{4E498032-DE11-4ADB-ADBE-A7A978F2511B}" dt="2023-12-11T12:38:11.766" v="1840"/>
          <ac:spMkLst>
            <pc:docMk/>
            <pc:sldMk cId="1218059526" sldId="2147479547"/>
            <ac:spMk id="47" creationId="{913C1CD5-E67E-9DFC-64FE-3B79FC609F8E}"/>
          </ac:spMkLst>
        </pc:spChg>
        <pc:spChg chg="mod">
          <ac:chgData name="Sastry, Varsha" userId="ac80d159-c352-438a-bc99-3a60547c55a8" providerId="ADAL" clId="{4E498032-DE11-4ADB-ADBE-A7A978F2511B}" dt="2023-12-11T12:38:11.766" v="1840"/>
          <ac:spMkLst>
            <pc:docMk/>
            <pc:sldMk cId="1218059526" sldId="2147479547"/>
            <ac:spMk id="49" creationId="{A768A577-3E32-01EC-13AC-7884AAF6019A}"/>
          </ac:spMkLst>
        </pc:spChg>
        <pc:spChg chg="mod">
          <ac:chgData name="Sastry, Varsha" userId="ac80d159-c352-438a-bc99-3a60547c55a8" providerId="ADAL" clId="{4E498032-DE11-4ADB-ADBE-A7A978F2511B}" dt="2023-12-11T12:38:11.766" v="1840"/>
          <ac:spMkLst>
            <pc:docMk/>
            <pc:sldMk cId="1218059526" sldId="2147479547"/>
            <ac:spMk id="51" creationId="{03D2DA64-60F7-6C5D-7660-2554F1311E25}"/>
          </ac:spMkLst>
        </pc:spChg>
        <pc:spChg chg="mod">
          <ac:chgData name="Sastry, Varsha" userId="ac80d159-c352-438a-bc99-3a60547c55a8" providerId="ADAL" clId="{4E498032-DE11-4ADB-ADBE-A7A978F2511B}" dt="2023-12-11T12:38:11.766" v="1840"/>
          <ac:spMkLst>
            <pc:docMk/>
            <pc:sldMk cId="1218059526" sldId="2147479547"/>
            <ac:spMk id="52" creationId="{CD210934-5B7C-01CE-AC8E-094B78B2708F}"/>
          </ac:spMkLst>
        </pc:spChg>
        <pc:spChg chg="mod">
          <ac:chgData name="Sastry, Varsha" userId="ac80d159-c352-438a-bc99-3a60547c55a8" providerId="ADAL" clId="{4E498032-DE11-4ADB-ADBE-A7A978F2511B}" dt="2023-12-11T12:38:11.766" v="1840"/>
          <ac:spMkLst>
            <pc:docMk/>
            <pc:sldMk cId="1218059526" sldId="2147479547"/>
            <ac:spMk id="54" creationId="{8721500C-9289-3707-64EB-E7395EB963C9}"/>
          </ac:spMkLst>
        </pc:spChg>
        <pc:spChg chg="mod">
          <ac:chgData name="Sastry, Varsha" userId="ac80d159-c352-438a-bc99-3a60547c55a8" providerId="ADAL" clId="{4E498032-DE11-4ADB-ADBE-A7A978F2511B}" dt="2023-12-11T12:38:11.766" v="1840"/>
          <ac:spMkLst>
            <pc:docMk/>
            <pc:sldMk cId="1218059526" sldId="2147479547"/>
            <ac:spMk id="55" creationId="{F2FC10E6-29C6-905C-7BB6-6B86CB39A150}"/>
          </ac:spMkLst>
        </pc:spChg>
        <pc:spChg chg="add mod">
          <ac:chgData name="Sastry, Varsha" userId="ac80d159-c352-438a-bc99-3a60547c55a8" providerId="ADAL" clId="{4E498032-DE11-4ADB-ADBE-A7A978F2511B}" dt="2023-12-11T12:38:11.766" v="1840"/>
          <ac:spMkLst>
            <pc:docMk/>
            <pc:sldMk cId="1218059526" sldId="2147479547"/>
            <ac:spMk id="56" creationId="{F74B56BA-5B4D-4044-4CF6-C2AEE2713B84}"/>
          </ac:spMkLst>
        </pc:spChg>
        <pc:spChg chg="add mod">
          <ac:chgData name="Sastry, Varsha" userId="ac80d159-c352-438a-bc99-3a60547c55a8" providerId="ADAL" clId="{4E498032-DE11-4ADB-ADBE-A7A978F2511B}" dt="2023-12-11T12:38:11.766" v="1840"/>
          <ac:spMkLst>
            <pc:docMk/>
            <pc:sldMk cId="1218059526" sldId="2147479547"/>
            <ac:spMk id="57" creationId="{5154731E-B7B7-B15F-74AE-6F294F54B971}"/>
          </ac:spMkLst>
        </pc:spChg>
        <pc:spChg chg="mod">
          <ac:chgData name="Sastry, Varsha" userId="ac80d159-c352-438a-bc99-3a60547c55a8" providerId="ADAL" clId="{4E498032-DE11-4ADB-ADBE-A7A978F2511B}" dt="2023-12-11T12:38:11.766" v="1840"/>
          <ac:spMkLst>
            <pc:docMk/>
            <pc:sldMk cId="1218059526" sldId="2147479547"/>
            <ac:spMk id="59" creationId="{9CA2E5D0-3B48-5061-760B-74C7A0ACB827}"/>
          </ac:spMkLst>
        </pc:spChg>
        <pc:spChg chg="mod">
          <ac:chgData name="Sastry, Varsha" userId="ac80d159-c352-438a-bc99-3a60547c55a8" providerId="ADAL" clId="{4E498032-DE11-4ADB-ADBE-A7A978F2511B}" dt="2023-12-11T12:38:11.766" v="1840"/>
          <ac:spMkLst>
            <pc:docMk/>
            <pc:sldMk cId="1218059526" sldId="2147479547"/>
            <ac:spMk id="60" creationId="{AF4D9B9A-FD21-858A-A783-9C601DC930D3}"/>
          </ac:spMkLst>
        </pc:spChg>
        <pc:spChg chg="mod">
          <ac:chgData name="Sastry, Varsha" userId="ac80d159-c352-438a-bc99-3a60547c55a8" providerId="ADAL" clId="{4E498032-DE11-4ADB-ADBE-A7A978F2511B}" dt="2023-12-11T12:38:11.766" v="1840"/>
          <ac:spMkLst>
            <pc:docMk/>
            <pc:sldMk cId="1218059526" sldId="2147479547"/>
            <ac:spMk id="62" creationId="{1EB111C4-1793-9447-F283-BDCA2991DE0A}"/>
          </ac:spMkLst>
        </pc:spChg>
        <pc:spChg chg="mod">
          <ac:chgData name="Sastry, Varsha" userId="ac80d159-c352-438a-bc99-3a60547c55a8" providerId="ADAL" clId="{4E498032-DE11-4ADB-ADBE-A7A978F2511B}" dt="2023-12-11T12:38:11.766" v="1840"/>
          <ac:spMkLst>
            <pc:docMk/>
            <pc:sldMk cId="1218059526" sldId="2147479547"/>
            <ac:spMk id="63" creationId="{8D1EA180-23D7-8F6A-BAB1-3C8D70A77A53}"/>
          </ac:spMkLst>
        </pc:spChg>
        <pc:spChg chg="mod">
          <ac:chgData name="Sastry, Varsha" userId="ac80d159-c352-438a-bc99-3a60547c55a8" providerId="ADAL" clId="{4E498032-DE11-4ADB-ADBE-A7A978F2511B}" dt="2023-12-11T12:38:11.766" v="1840"/>
          <ac:spMkLst>
            <pc:docMk/>
            <pc:sldMk cId="1218059526" sldId="2147479547"/>
            <ac:spMk id="65" creationId="{331B27EF-5FE4-19D0-6D9D-538B3E9E9F04}"/>
          </ac:spMkLst>
        </pc:spChg>
        <pc:spChg chg="mod">
          <ac:chgData name="Sastry, Varsha" userId="ac80d159-c352-438a-bc99-3a60547c55a8" providerId="ADAL" clId="{4E498032-DE11-4ADB-ADBE-A7A978F2511B}" dt="2023-12-11T12:38:11.766" v="1840"/>
          <ac:spMkLst>
            <pc:docMk/>
            <pc:sldMk cId="1218059526" sldId="2147479547"/>
            <ac:spMk id="66" creationId="{27437A9F-1E6E-C5BA-73DB-1FD61D25ABFD}"/>
          </ac:spMkLst>
        </pc:spChg>
        <pc:spChg chg="mod">
          <ac:chgData name="Sastry, Varsha" userId="ac80d159-c352-438a-bc99-3a60547c55a8" providerId="ADAL" clId="{4E498032-DE11-4ADB-ADBE-A7A978F2511B}" dt="2023-12-11T12:38:11.766" v="1840"/>
          <ac:spMkLst>
            <pc:docMk/>
            <pc:sldMk cId="1218059526" sldId="2147479547"/>
            <ac:spMk id="68" creationId="{15A5B434-BE25-ED22-1F73-7A685ADC33C9}"/>
          </ac:spMkLst>
        </pc:spChg>
        <pc:spChg chg="mod">
          <ac:chgData name="Sastry, Varsha" userId="ac80d159-c352-438a-bc99-3a60547c55a8" providerId="ADAL" clId="{4E498032-DE11-4ADB-ADBE-A7A978F2511B}" dt="2023-12-11T12:38:11.766" v="1840"/>
          <ac:spMkLst>
            <pc:docMk/>
            <pc:sldMk cId="1218059526" sldId="2147479547"/>
            <ac:spMk id="69" creationId="{928ACA19-A65D-C4B9-69B1-A9D28E1CDC14}"/>
          </ac:spMkLst>
        </pc:spChg>
        <pc:spChg chg="mod">
          <ac:chgData name="Sastry, Varsha" userId="ac80d159-c352-438a-bc99-3a60547c55a8" providerId="ADAL" clId="{4E498032-DE11-4ADB-ADBE-A7A978F2511B}" dt="2023-12-11T12:38:11.766" v="1840"/>
          <ac:spMkLst>
            <pc:docMk/>
            <pc:sldMk cId="1218059526" sldId="2147479547"/>
            <ac:spMk id="70" creationId="{F89022CF-44AD-02D1-C38F-D5BC1D7C2E29}"/>
          </ac:spMkLst>
        </pc:spChg>
        <pc:spChg chg="add mod">
          <ac:chgData name="Sastry, Varsha" userId="ac80d159-c352-438a-bc99-3a60547c55a8" providerId="ADAL" clId="{4E498032-DE11-4ADB-ADBE-A7A978F2511B}" dt="2023-12-11T12:38:11.766" v="1840"/>
          <ac:spMkLst>
            <pc:docMk/>
            <pc:sldMk cId="1218059526" sldId="2147479547"/>
            <ac:spMk id="71" creationId="{C672E7FB-0D2E-464A-BDC4-796FBAC3697A}"/>
          </ac:spMkLst>
        </pc:spChg>
        <pc:spChg chg="add mod">
          <ac:chgData name="Sastry, Varsha" userId="ac80d159-c352-438a-bc99-3a60547c55a8" providerId="ADAL" clId="{4E498032-DE11-4ADB-ADBE-A7A978F2511B}" dt="2023-12-11T12:38:11.766" v="1840"/>
          <ac:spMkLst>
            <pc:docMk/>
            <pc:sldMk cId="1218059526" sldId="2147479547"/>
            <ac:spMk id="72" creationId="{A2ECF02C-7CB5-F8E4-575D-EC9E116749F7}"/>
          </ac:spMkLst>
        </pc:spChg>
        <pc:spChg chg="add mod">
          <ac:chgData name="Sastry, Varsha" userId="ac80d159-c352-438a-bc99-3a60547c55a8" providerId="ADAL" clId="{4E498032-DE11-4ADB-ADBE-A7A978F2511B}" dt="2023-12-11T12:38:11.766" v="1840"/>
          <ac:spMkLst>
            <pc:docMk/>
            <pc:sldMk cId="1218059526" sldId="2147479547"/>
            <ac:spMk id="73" creationId="{838D9131-FBC8-92A4-5FA9-6C0451E1FDC1}"/>
          </ac:spMkLst>
        </pc:spChg>
        <pc:spChg chg="add mod">
          <ac:chgData name="Sastry, Varsha" userId="ac80d159-c352-438a-bc99-3a60547c55a8" providerId="ADAL" clId="{4E498032-DE11-4ADB-ADBE-A7A978F2511B}" dt="2023-12-11T12:50:13.471" v="2100" actId="20577"/>
          <ac:spMkLst>
            <pc:docMk/>
            <pc:sldMk cId="1218059526" sldId="2147479547"/>
            <ac:spMk id="74" creationId="{CA5C8E26-840E-4FBA-1B65-16254EB09359}"/>
          </ac:spMkLst>
        </pc:spChg>
        <pc:spChg chg="add mod">
          <ac:chgData name="Sastry, Varsha" userId="ac80d159-c352-438a-bc99-3a60547c55a8" providerId="ADAL" clId="{4E498032-DE11-4ADB-ADBE-A7A978F2511B}" dt="2023-12-11T12:38:32.425" v="1855" actId="20577"/>
          <ac:spMkLst>
            <pc:docMk/>
            <pc:sldMk cId="1218059526" sldId="2147479547"/>
            <ac:spMk id="77" creationId="{1D11AE9E-ED1C-FE3C-83AC-06422044C214}"/>
          </ac:spMkLst>
        </pc:spChg>
        <pc:spChg chg="add mod">
          <ac:chgData name="Sastry, Varsha" userId="ac80d159-c352-438a-bc99-3a60547c55a8" providerId="ADAL" clId="{4E498032-DE11-4ADB-ADBE-A7A978F2511B}" dt="2023-12-11T12:38:11.766" v="1840"/>
          <ac:spMkLst>
            <pc:docMk/>
            <pc:sldMk cId="1218059526" sldId="2147479547"/>
            <ac:spMk id="78" creationId="{E6758575-71F0-08B4-DB82-01B7FE8D2408}"/>
          </ac:spMkLst>
        </pc:spChg>
        <pc:spChg chg="add mod">
          <ac:chgData name="Sastry, Varsha" userId="ac80d159-c352-438a-bc99-3a60547c55a8" providerId="ADAL" clId="{4E498032-DE11-4ADB-ADBE-A7A978F2511B}" dt="2023-12-11T12:57:24.001" v="2289" actId="6549"/>
          <ac:spMkLst>
            <pc:docMk/>
            <pc:sldMk cId="1218059526" sldId="2147479547"/>
            <ac:spMk id="79" creationId="{30F3C000-B50F-6612-651A-D1E1D222E53F}"/>
          </ac:spMkLst>
        </pc:spChg>
        <pc:spChg chg="add mod">
          <ac:chgData name="Sastry, Varsha" userId="ac80d159-c352-438a-bc99-3a60547c55a8" providerId="ADAL" clId="{4E498032-DE11-4ADB-ADBE-A7A978F2511B}" dt="2023-12-11T12:38:11.766" v="1840"/>
          <ac:spMkLst>
            <pc:docMk/>
            <pc:sldMk cId="1218059526" sldId="2147479547"/>
            <ac:spMk id="80" creationId="{CE6478C8-EC4A-677B-5CCF-B2EA47445358}"/>
          </ac:spMkLst>
        </pc:spChg>
        <pc:spChg chg="add mod">
          <ac:chgData name="Sastry, Varsha" userId="ac80d159-c352-438a-bc99-3a60547c55a8" providerId="ADAL" clId="{4E498032-DE11-4ADB-ADBE-A7A978F2511B}" dt="2023-12-11T12:53:59.287" v="2189" actId="20577"/>
          <ac:spMkLst>
            <pc:docMk/>
            <pc:sldMk cId="1218059526" sldId="2147479547"/>
            <ac:spMk id="81" creationId="{ED1851B0-F324-C706-D26B-3AC0FA21BB13}"/>
          </ac:spMkLst>
        </pc:spChg>
        <pc:spChg chg="del">
          <ac:chgData name="Sastry, Varsha" userId="ac80d159-c352-438a-bc99-3a60547c55a8" providerId="ADAL" clId="{4E498032-DE11-4ADB-ADBE-A7A978F2511B}" dt="2023-12-11T12:37:36.877" v="1836" actId="478"/>
          <ac:spMkLst>
            <pc:docMk/>
            <pc:sldMk cId="1218059526" sldId="2147479547"/>
            <ac:spMk id="454" creationId="{36390FA6-0FAA-4B0E-1C09-17AF4373BAD7}"/>
          </ac:spMkLst>
        </pc:spChg>
        <pc:spChg chg="mod">
          <ac:chgData name="Sastry, Varsha" userId="ac80d159-c352-438a-bc99-3a60547c55a8" providerId="ADAL" clId="{4E498032-DE11-4ADB-ADBE-A7A978F2511B}" dt="2023-12-11T12:38:11.766" v="1840"/>
          <ac:spMkLst>
            <pc:docMk/>
            <pc:sldMk cId="1218059526" sldId="2147479547"/>
            <ac:spMk id="455" creationId="{D9785F65-3874-E2D3-CA63-CC7AF502FD2E}"/>
          </ac:spMkLst>
        </pc:spChg>
        <pc:spChg chg="mod">
          <ac:chgData name="Sastry, Varsha" userId="ac80d159-c352-438a-bc99-3a60547c55a8" providerId="ADAL" clId="{4E498032-DE11-4ADB-ADBE-A7A978F2511B}" dt="2023-12-11T12:38:11.766" v="1840"/>
          <ac:spMkLst>
            <pc:docMk/>
            <pc:sldMk cId="1218059526" sldId="2147479547"/>
            <ac:spMk id="457" creationId="{373C3A18-37D7-CF8B-EF30-40B06523707E}"/>
          </ac:spMkLst>
        </pc:spChg>
        <pc:spChg chg="mod">
          <ac:chgData name="Sastry, Varsha" userId="ac80d159-c352-438a-bc99-3a60547c55a8" providerId="ADAL" clId="{4E498032-DE11-4ADB-ADBE-A7A978F2511B}" dt="2023-12-11T12:38:11.766" v="1840"/>
          <ac:spMkLst>
            <pc:docMk/>
            <pc:sldMk cId="1218059526" sldId="2147479547"/>
            <ac:spMk id="458" creationId="{AD22BE74-585C-2B25-0DD7-C36DBC9493C0}"/>
          </ac:spMkLst>
        </pc:spChg>
        <pc:spChg chg="mod">
          <ac:chgData name="Sastry, Varsha" userId="ac80d159-c352-438a-bc99-3a60547c55a8" providerId="ADAL" clId="{4E498032-DE11-4ADB-ADBE-A7A978F2511B}" dt="2023-12-11T12:38:11.766" v="1840"/>
          <ac:spMkLst>
            <pc:docMk/>
            <pc:sldMk cId="1218059526" sldId="2147479547"/>
            <ac:spMk id="460" creationId="{85263F45-5962-DA52-CC70-3AEFCAF0E0D3}"/>
          </ac:spMkLst>
        </pc:spChg>
        <pc:spChg chg="mod">
          <ac:chgData name="Sastry, Varsha" userId="ac80d159-c352-438a-bc99-3a60547c55a8" providerId="ADAL" clId="{4E498032-DE11-4ADB-ADBE-A7A978F2511B}" dt="2023-12-11T12:38:11.766" v="1840"/>
          <ac:spMkLst>
            <pc:docMk/>
            <pc:sldMk cId="1218059526" sldId="2147479547"/>
            <ac:spMk id="461" creationId="{10562E6E-A3D8-7273-A09E-8A3DB3B13A76}"/>
          </ac:spMkLst>
        </pc:spChg>
        <pc:spChg chg="mod">
          <ac:chgData name="Sastry, Varsha" userId="ac80d159-c352-438a-bc99-3a60547c55a8" providerId="ADAL" clId="{4E498032-DE11-4ADB-ADBE-A7A978F2511B}" dt="2023-12-11T12:38:11.766" v="1840"/>
          <ac:spMkLst>
            <pc:docMk/>
            <pc:sldMk cId="1218059526" sldId="2147479547"/>
            <ac:spMk id="462" creationId="{88C371E6-843A-E557-E8AE-9F9D2F18945E}"/>
          </ac:spMkLst>
        </pc:spChg>
        <pc:spChg chg="mod">
          <ac:chgData name="Sastry, Varsha" userId="ac80d159-c352-438a-bc99-3a60547c55a8" providerId="ADAL" clId="{4E498032-DE11-4ADB-ADBE-A7A978F2511B}" dt="2023-12-11T12:38:11.766" v="1840"/>
          <ac:spMkLst>
            <pc:docMk/>
            <pc:sldMk cId="1218059526" sldId="2147479547"/>
            <ac:spMk id="464" creationId="{9CD1A5D6-6A18-ECC3-D84E-F34B0046BBB2}"/>
          </ac:spMkLst>
        </pc:spChg>
        <pc:spChg chg="mod">
          <ac:chgData name="Sastry, Varsha" userId="ac80d159-c352-438a-bc99-3a60547c55a8" providerId="ADAL" clId="{4E498032-DE11-4ADB-ADBE-A7A978F2511B}" dt="2023-12-11T12:38:11.766" v="1840"/>
          <ac:spMkLst>
            <pc:docMk/>
            <pc:sldMk cId="1218059526" sldId="2147479547"/>
            <ac:spMk id="465" creationId="{50C69615-B54B-04AF-C0DB-6DA1EDC95301}"/>
          </ac:spMkLst>
        </pc:spChg>
        <pc:spChg chg="mod">
          <ac:chgData name="Sastry, Varsha" userId="ac80d159-c352-438a-bc99-3a60547c55a8" providerId="ADAL" clId="{4E498032-DE11-4ADB-ADBE-A7A978F2511B}" dt="2023-12-11T12:38:11.766" v="1840"/>
          <ac:spMkLst>
            <pc:docMk/>
            <pc:sldMk cId="1218059526" sldId="2147479547"/>
            <ac:spMk id="467" creationId="{53566281-DEA7-474D-CAFD-982E77DE6AB9}"/>
          </ac:spMkLst>
        </pc:spChg>
        <pc:spChg chg="mod">
          <ac:chgData name="Sastry, Varsha" userId="ac80d159-c352-438a-bc99-3a60547c55a8" providerId="ADAL" clId="{4E498032-DE11-4ADB-ADBE-A7A978F2511B}" dt="2023-12-11T12:38:11.766" v="1840"/>
          <ac:spMkLst>
            <pc:docMk/>
            <pc:sldMk cId="1218059526" sldId="2147479547"/>
            <ac:spMk id="468" creationId="{C954C043-72BD-E161-E7C2-BC322BC61ECD}"/>
          </ac:spMkLst>
        </pc:spChg>
        <pc:spChg chg="mod">
          <ac:chgData name="Sastry, Varsha" userId="ac80d159-c352-438a-bc99-3a60547c55a8" providerId="ADAL" clId="{4E498032-DE11-4ADB-ADBE-A7A978F2511B}" dt="2023-12-11T12:38:11.766" v="1840"/>
          <ac:spMkLst>
            <pc:docMk/>
            <pc:sldMk cId="1218059526" sldId="2147479547"/>
            <ac:spMk id="469" creationId="{8D3E485A-1A9E-6A2D-E175-34415DB32514}"/>
          </ac:spMkLst>
        </pc:spChg>
        <pc:spChg chg="mod">
          <ac:chgData name="Sastry, Varsha" userId="ac80d159-c352-438a-bc99-3a60547c55a8" providerId="ADAL" clId="{4E498032-DE11-4ADB-ADBE-A7A978F2511B}" dt="2023-12-11T12:38:11.766" v="1840"/>
          <ac:spMkLst>
            <pc:docMk/>
            <pc:sldMk cId="1218059526" sldId="2147479547"/>
            <ac:spMk id="471" creationId="{CF4880AE-D6CE-F70F-F3B3-D08E3391330F}"/>
          </ac:spMkLst>
        </pc:spChg>
        <pc:spChg chg="mod">
          <ac:chgData name="Sastry, Varsha" userId="ac80d159-c352-438a-bc99-3a60547c55a8" providerId="ADAL" clId="{4E498032-DE11-4ADB-ADBE-A7A978F2511B}" dt="2023-12-11T12:38:11.766" v="1840"/>
          <ac:spMkLst>
            <pc:docMk/>
            <pc:sldMk cId="1218059526" sldId="2147479547"/>
            <ac:spMk id="472" creationId="{5C35BC3A-2FA9-D779-DA17-7C0275114FE0}"/>
          </ac:spMkLst>
        </pc:spChg>
        <pc:spChg chg="mod">
          <ac:chgData name="Sastry, Varsha" userId="ac80d159-c352-438a-bc99-3a60547c55a8" providerId="ADAL" clId="{4E498032-DE11-4ADB-ADBE-A7A978F2511B}" dt="2023-12-11T12:38:11.766" v="1840"/>
          <ac:spMkLst>
            <pc:docMk/>
            <pc:sldMk cId="1218059526" sldId="2147479547"/>
            <ac:spMk id="474" creationId="{1E3617D1-C96A-30B3-421C-8028406B5FF3}"/>
          </ac:spMkLst>
        </pc:spChg>
        <pc:spChg chg="mod">
          <ac:chgData name="Sastry, Varsha" userId="ac80d159-c352-438a-bc99-3a60547c55a8" providerId="ADAL" clId="{4E498032-DE11-4ADB-ADBE-A7A978F2511B}" dt="2023-12-11T12:38:11.766" v="1840"/>
          <ac:spMkLst>
            <pc:docMk/>
            <pc:sldMk cId="1218059526" sldId="2147479547"/>
            <ac:spMk id="475" creationId="{F5B82F7E-53D9-DD95-FBF1-43211C027691}"/>
          </ac:spMkLst>
        </pc:spChg>
        <pc:spChg chg="mod">
          <ac:chgData name="Sastry, Varsha" userId="ac80d159-c352-438a-bc99-3a60547c55a8" providerId="ADAL" clId="{4E498032-DE11-4ADB-ADBE-A7A978F2511B}" dt="2023-12-11T12:38:11.766" v="1840"/>
          <ac:spMkLst>
            <pc:docMk/>
            <pc:sldMk cId="1218059526" sldId="2147479547"/>
            <ac:spMk id="476" creationId="{D63300D7-0231-0043-7427-223C2839D69F}"/>
          </ac:spMkLst>
        </pc:spChg>
        <pc:spChg chg="mod">
          <ac:chgData name="Sastry, Varsha" userId="ac80d159-c352-438a-bc99-3a60547c55a8" providerId="ADAL" clId="{4E498032-DE11-4ADB-ADBE-A7A978F2511B}" dt="2023-12-11T12:38:11.766" v="1840"/>
          <ac:spMkLst>
            <pc:docMk/>
            <pc:sldMk cId="1218059526" sldId="2147479547"/>
            <ac:spMk id="478" creationId="{00D131DE-9191-2371-FF6D-D21C4326FD16}"/>
          </ac:spMkLst>
        </pc:spChg>
        <pc:spChg chg="mod">
          <ac:chgData name="Sastry, Varsha" userId="ac80d159-c352-438a-bc99-3a60547c55a8" providerId="ADAL" clId="{4E498032-DE11-4ADB-ADBE-A7A978F2511B}" dt="2023-12-11T12:38:11.766" v="1840"/>
          <ac:spMkLst>
            <pc:docMk/>
            <pc:sldMk cId="1218059526" sldId="2147479547"/>
            <ac:spMk id="479" creationId="{11E47715-296D-DAF7-17BC-C9B9B51385EF}"/>
          </ac:spMkLst>
        </pc:spChg>
        <pc:spChg chg="mod">
          <ac:chgData name="Sastry, Varsha" userId="ac80d159-c352-438a-bc99-3a60547c55a8" providerId="ADAL" clId="{4E498032-DE11-4ADB-ADBE-A7A978F2511B}" dt="2023-12-11T12:38:11.766" v="1840"/>
          <ac:spMkLst>
            <pc:docMk/>
            <pc:sldMk cId="1218059526" sldId="2147479547"/>
            <ac:spMk id="481" creationId="{7D4BEA86-86CA-A7C8-0911-CC2332B30E99}"/>
          </ac:spMkLst>
        </pc:spChg>
        <pc:spChg chg="mod">
          <ac:chgData name="Sastry, Varsha" userId="ac80d159-c352-438a-bc99-3a60547c55a8" providerId="ADAL" clId="{4E498032-DE11-4ADB-ADBE-A7A978F2511B}" dt="2023-12-11T12:38:11.766" v="1840"/>
          <ac:spMkLst>
            <pc:docMk/>
            <pc:sldMk cId="1218059526" sldId="2147479547"/>
            <ac:spMk id="482" creationId="{39059789-6509-288E-1E49-732381F61B46}"/>
          </ac:spMkLst>
        </pc:spChg>
        <pc:spChg chg="mod">
          <ac:chgData name="Sastry, Varsha" userId="ac80d159-c352-438a-bc99-3a60547c55a8" providerId="ADAL" clId="{4E498032-DE11-4ADB-ADBE-A7A978F2511B}" dt="2023-12-11T12:38:11.766" v="1840"/>
          <ac:spMkLst>
            <pc:docMk/>
            <pc:sldMk cId="1218059526" sldId="2147479547"/>
            <ac:spMk id="483" creationId="{839E64F6-6AEC-AF27-E32C-423D5A97AD62}"/>
          </ac:spMkLst>
        </pc:spChg>
        <pc:spChg chg="mod">
          <ac:chgData name="Sastry, Varsha" userId="ac80d159-c352-438a-bc99-3a60547c55a8" providerId="ADAL" clId="{4E498032-DE11-4ADB-ADBE-A7A978F2511B}" dt="2023-12-11T12:38:11.766" v="1840"/>
          <ac:spMkLst>
            <pc:docMk/>
            <pc:sldMk cId="1218059526" sldId="2147479547"/>
            <ac:spMk id="485" creationId="{13268297-5D62-A418-DA18-51D3357C8831}"/>
          </ac:spMkLst>
        </pc:spChg>
        <pc:spChg chg="mod">
          <ac:chgData name="Sastry, Varsha" userId="ac80d159-c352-438a-bc99-3a60547c55a8" providerId="ADAL" clId="{4E498032-DE11-4ADB-ADBE-A7A978F2511B}" dt="2023-12-11T12:38:11.766" v="1840"/>
          <ac:spMkLst>
            <pc:docMk/>
            <pc:sldMk cId="1218059526" sldId="2147479547"/>
            <ac:spMk id="486" creationId="{4367D556-5D24-F7D1-CD4A-B86836F8E7B8}"/>
          </ac:spMkLst>
        </pc:spChg>
        <pc:spChg chg="mod">
          <ac:chgData name="Sastry, Varsha" userId="ac80d159-c352-438a-bc99-3a60547c55a8" providerId="ADAL" clId="{4E498032-DE11-4ADB-ADBE-A7A978F2511B}" dt="2023-12-11T12:38:11.766" v="1840"/>
          <ac:spMkLst>
            <pc:docMk/>
            <pc:sldMk cId="1218059526" sldId="2147479547"/>
            <ac:spMk id="488" creationId="{9B36D44A-5613-82CB-8BE8-1DA6B9DD4D1A}"/>
          </ac:spMkLst>
        </pc:spChg>
        <pc:spChg chg="mod">
          <ac:chgData name="Sastry, Varsha" userId="ac80d159-c352-438a-bc99-3a60547c55a8" providerId="ADAL" clId="{4E498032-DE11-4ADB-ADBE-A7A978F2511B}" dt="2023-12-11T12:38:11.766" v="1840"/>
          <ac:spMkLst>
            <pc:docMk/>
            <pc:sldMk cId="1218059526" sldId="2147479547"/>
            <ac:spMk id="489" creationId="{D2762FAF-E63C-D057-4AEE-38D46189B3B9}"/>
          </ac:spMkLst>
        </pc:spChg>
        <pc:spChg chg="mod">
          <ac:chgData name="Sastry, Varsha" userId="ac80d159-c352-438a-bc99-3a60547c55a8" providerId="ADAL" clId="{4E498032-DE11-4ADB-ADBE-A7A978F2511B}" dt="2023-12-11T12:38:11.766" v="1840"/>
          <ac:spMkLst>
            <pc:docMk/>
            <pc:sldMk cId="1218059526" sldId="2147479547"/>
            <ac:spMk id="490" creationId="{D8C6714E-9DCB-0D56-1CA6-DC613AE1AA00}"/>
          </ac:spMkLst>
        </pc:spChg>
        <pc:spChg chg="add mod">
          <ac:chgData name="Sastry, Varsha" userId="ac80d159-c352-438a-bc99-3a60547c55a8" providerId="ADAL" clId="{4E498032-DE11-4ADB-ADBE-A7A978F2511B}" dt="2023-12-11T12:38:11.766" v="1840"/>
          <ac:spMkLst>
            <pc:docMk/>
            <pc:sldMk cId="1218059526" sldId="2147479547"/>
            <ac:spMk id="491" creationId="{CA9AAFF8-8DB6-CF8E-5C68-BFAC90CC55B0}"/>
          </ac:spMkLst>
        </pc:spChg>
        <pc:spChg chg="mod">
          <ac:chgData name="Sastry, Varsha" userId="ac80d159-c352-438a-bc99-3a60547c55a8" providerId="ADAL" clId="{4E498032-DE11-4ADB-ADBE-A7A978F2511B}" dt="2023-12-11T12:38:11.766" v="1840"/>
          <ac:spMkLst>
            <pc:docMk/>
            <pc:sldMk cId="1218059526" sldId="2147479547"/>
            <ac:spMk id="493" creationId="{7411FB6D-5C59-D5DF-F583-7D1C0B0566A1}"/>
          </ac:spMkLst>
        </pc:spChg>
        <pc:spChg chg="mod">
          <ac:chgData name="Sastry, Varsha" userId="ac80d159-c352-438a-bc99-3a60547c55a8" providerId="ADAL" clId="{4E498032-DE11-4ADB-ADBE-A7A978F2511B}" dt="2023-12-11T12:38:11.766" v="1840"/>
          <ac:spMkLst>
            <pc:docMk/>
            <pc:sldMk cId="1218059526" sldId="2147479547"/>
            <ac:spMk id="495" creationId="{31AA36B1-3EF2-1F09-4ADC-48EFD2F08102}"/>
          </ac:spMkLst>
        </pc:spChg>
        <pc:spChg chg="mod">
          <ac:chgData name="Sastry, Varsha" userId="ac80d159-c352-438a-bc99-3a60547c55a8" providerId="ADAL" clId="{4E498032-DE11-4ADB-ADBE-A7A978F2511B}" dt="2023-12-11T12:38:11.766" v="1840"/>
          <ac:spMkLst>
            <pc:docMk/>
            <pc:sldMk cId="1218059526" sldId="2147479547"/>
            <ac:spMk id="496" creationId="{5346809F-2BAB-1ED0-1925-7BFF060D1C5F}"/>
          </ac:spMkLst>
        </pc:spChg>
        <pc:spChg chg="add mod">
          <ac:chgData name="Sastry, Varsha" userId="ac80d159-c352-438a-bc99-3a60547c55a8" providerId="ADAL" clId="{4E498032-DE11-4ADB-ADBE-A7A978F2511B}" dt="2023-12-11T12:38:11.766" v="1840"/>
          <ac:spMkLst>
            <pc:docMk/>
            <pc:sldMk cId="1218059526" sldId="2147479547"/>
            <ac:spMk id="497" creationId="{0055CAA0-7D74-C379-3D6D-52DD282B5F7D}"/>
          </ac:spMkLst>
        </pc:spChg>
        <pc:spChg chg="mod">
          <ac:chgData name="Sastry, Varsha" userId="ac80d159-c352-438a-bc99-3a60547c55a8" providerId="ADAL" clId="{4E498032-DE11-4ADB-ADBE-A7A978F2511B}" dt="2023-12-11T12:38:11.766" v="1840"/>
          <ac:spMkLst>
            <pc:docMk/>
            <pc:sldMk cId="1218059526" sldId="2147479547"/>
            <ac:spMk id="499" creationId="{8B059197-9C61-132F-A435-F3635BB29EB0}"/>
          </ac:spMkLst>
        </pc:spChg>
        <pc:spChg chg="mod">
          <ac:chgData name="Sastry, Varsha" userId="ac80d159-c352-438a-bc99-3a60547c55a8" providerId="ADAL" clId="{4E498032-DE11-4ADB-ADBE-A7A978F2511B}" dt="2023-12-11T12:38:11.766" v="1840"/>
          <ac:spMkLst>
            <pc:docMk/>
            <pc:sldMk cId="1218059526" sldId="2147479547"/>
            <ac:spMk id="500" creationId="{924056F2-8B99-F2D2-813B-991570DFDDB3}"/>
          </ac:spMkLst>
        </pc:spChg>
        <pc:spChg chg="mod">
          <ac:chgData name="Sastry, Varsha" userId="ac80d159-c352-438a-bc99-3a60547c55a8" providerId="ADAL" clId="{4E498032-DE11-4ADB-ADBE-A7A978F2511B}" dt="2023-12-11T12:38:11.766" v="1840"/>
          <ac:spMkLst>
            <pc:docMk/>
            <pc:sldMk cId="1218059526" sldId="2147479547"/>
            <ac:spMk id="502" creationId="{105381C5-62B1-0128-744D-AAC5CFF903DD}"/>
          </ac:spMkLst>
        </pc:spChg>
        <pc:spChg chg="mod">
          <ac:chgData name="Sastry, Varsha" userId="ac80d159-c352-438a-bc99-3a60547c55a8" providerId="ADAL" clId="{4E498032-DE11-4ADB-ADBE-A7A978F2511B}" dt="2023-12-11T12:38:11.766" v="1840"/>
          <ac:spMkLst>
            <pc:docMk/>
            <pc:sldMk cId="1218059526" sldId="2147479547"/>
            <ac:spMk id="503" creationId="{D078378A-108E-A7F1-4FD3-5ED2CCDF2EB6}"/>
          </ac:spMkLst>
        </pc:spChg>
        <pc:spChg chg="mod">
          <ac:chgData name="Sastry, Varsha" userId="ac80d159-c352-438a-bc99-3a60547c55a8" providerId="ADAL" clId="{4E498032-DE11-4ADB-ADBE-A7A978F2511B}" dt="2023-12-11T12:38:11.766" v="1840"/>
          <ac:spMkLst>
            <pc:docMk/>
            <pc:sldMk cId="1218059526" sldId="2147479547"/>
            <ac:spMk id="504" creationId="{DBF49B21-EB87-14E0-8EA5-8EDBB0DB2ED0}"/>
          </ac:spMkLst>
        </pc:spChg>
        <pc:spChg chg="mod">
          <ac:chgData name="Sastry, Varsha" userId="ac80d159-c352-438a-bc99-3a60547c55a8" providerId="ADAL" clId="{4E498032-DE11-4ADB-ADBE-A7A978F2511B}" dt="2023-12-11T12:38:11.766" v="1840"/>
          <ac:spMkLst>
            <pc:docMk/>
            <pc:sldMk cId="1218059526" sldId="2147479547"/>
            <ac:spMk id="506" creationId="{92D0D7C1-EA69-6BE9-53B8-55B6D0093CC3}"/>
          </ac:spMkLst>
        </pc:spChg>
        <pc:spChg chg="mod">
          <ac:chgData name="Sastry, Varsha" userId="ac80d159-c352-438a-bc99-3a60547c55a8" providerId="ADAL" clId="{4E498032-DE11-4ADB-ADBE-A7A978F2511B}" dt="2023-12-11T12:38:11.766" v="1840"/>
          <ac:spMkLst>
            <pc:docMk/>
            <pc:sldMk cId="1218059526" sldId="2147479547"/>
            <ac:spMk id="507" creationId="{5AF20D34-E69C-BE10-C2F0-0D22A0A52F88}"/>
          </ac:spMkLst>
        </pc:spChg>
        <pc:spChg chg="mod">
          <ac:chgData name="Sastry, Varsha" userId="ac80d159-c352-438a-bc99-3a60547c55a8" providerId="ADAL" clId="{4E498032-DE11-4ADB-ADBE-A7A978F2511B}" dt="2023-12-11T12:38:11.766" v="1840"/>
          <ac:spMkLst>
            <pc:docMk/>
            <pc:sldMk cId="1218059526" sldId="2147479547"/>
            <ac:spMk id="509" creationId="{6F0B436E-F1E3-C994-8EF0-2AC2C7D24498}"/>
          </ac:spMkLst>
        </pc:spChg>
        <pc:spChg chg="mod">
          <ac:chgData name="Sastry, Varsha" userId="ac80d159-c352-438a-bc99-3a60547c55a8" providerId="ADAL" clId="{4E498032-DE11-4ADB-ADBE-A7A978F2511B}" dt="2023-12-11T12:38:11.766" v="1840"/>
          <ac:spMkLst>
            <pc:docMk/>
            <pc:sldMk cId="1218059526" sldId="2147479547"/>
            <ac:spMk id="510" creationId="{65F905FD-DAF3-BCA1-4CCC-13A283011C0B}"/>
          </ac:spMkLst>
        </pc:spChg>
        <pc:spChg chg="mod">
          <ac:chgData name="Sastry, Varsha" userId="ac80d159-c352-438a-bc99-3a60547c55a8" providerId="ADAL" clId="{4E498032-DE11-4ADB-ADBE-A7A978F2511B}" dt="2023-12-11T12:38:11.766" v="1840"/>
          <ac:spMkLst>
            <pc:docMk/>
            <pc:sldMk cId="1218059526" sldId="2147479547"/>
            <ac:spMk id="511" creationId="{D6FAF2F4-FC9B-9FA1-5F34-7EE565437063}"/>
          </ac:spMkLst>
        </pc:spChg>
        <pc:grpChg chg="del">
          <ac:chgData name="Sastry, Varsha" userId="ac80d159-c352-438a-bc99-3a60547c55a8" providerId="ADAL" clId="{4E498032-DE11-4ADB-ADBE-A7A978F2511B}" dt="2023-12-11T12:37:46.668" v="1837" actId="478"/>
          <ac:grpSpMkLst>
            <pc:docMk/>
            <pc:sldMk cId="1218059526" sldId="2147479547"/>
            <ac:grpSpMk id="10" creationId="{A009E8B5-303F-AA1D-0B77-96E110E69B7D}"/>
          </ac:grpSpMkLst>
        </pc:grpChg>
        <pc:grpChg chg="del topLvl">
          <ac:chgData name="Sastry, Varsha" userId="ac80d159-c352-438a-bc99-3a60547c55a8" providerId="ADAL" clId="{4E498032-DE11-4ADB-ADBE-A7A978F2511B}" dt="2023-12-11T12:37:53.616" v="1839" actId="478"/>
          <ac:grpSpMkLst>
            <pc:docMk/>
            <pc:sldMk cId="1218059526" sldId="2147479547"/>
            <ac:grpSpMk id="11" creationId="{3B69A9E8-9069-AF10-2F43-40A0E4C3EC9B}"/>
          </ac:grpSpMkLst>
        </pc:grpChg>
        <pc:grpChg chg="add mod">
          <ac:chgData name="Sastry, Varsha" userId="ac80d159-c352-438a-bc99-3a60547c55a8" providerId="ADAL" clId="{4E498032-DE11-4ADB-ADBE-A7A978F2511B}" dt="2023-12-11T12:38:11.766" v="1840"/>
          <ac:grpSpMkLst>
            <pc:docMk/>
            <pc:sldMk cId="1218059526" sldId="2147479547"/>
            <ac:grpSpMk id="42" creationId="{C78440E1-43F3-6456-D2C6-FB17FB6A82D6}"/>
          </ac:grpSpMkLst>
        </pc:grpChg>
        <pc:grpChg chg="mod">
          <ac:chgData name="Sastry, Varsha" userId="ac80d159-c352-438a-bc99-3a60547c55a8" providerId="ADAL" clId="{4E498032-DE11-4ADB-ADBE-A7A978F2511B}" dt="2023-12-11T12:38:11.766" v="1840"/>
          <ac:grpSpMkLst>
            <pc:docMk/>
            <pc:sldMk cId="1218059526" sldId="2147479547"/>
            <ac:grpSpMk id="44" creationId="{554DB754-13C9-802A-68EA-CEBEC31DB09A}"/>
          </ac:grpSpMkLst>
        </pc:grpChg>
        <pc:grpChg chg="add mod">
          <ac:chgData name="Sastry, Varsha" userId="ac80d159-c352-438a-bc99-3a60547c55a8" providerId="ADAL" clId="{4E498032-DE11-4ADB-ADBE-A7A978F2511B}" dt="2023-12-11T12:38:11.766" v="1840"/>
          <ac:grpSpMkLst>
            <pc:docMk/>
            <pc:sldMk cId="1218059526" sldId="2147479547"/>
            <ac:grpSpMk id="48" creationId="{AAC1933B-ECB2-C48D-E28D-42B8C38BC8CB}"/>
          </ac:grpSpMkLst>
        </pc:grpChg>
        <pc:grpChg chg="mod">
          <ac:chgData name="Sastry, Varsha" userId="ac80d159-c352-438a-bc99-3a60547c55a8" providerId="ADAL" clId="{4E498032-DE11-4ADB-ADBE-A7A978F2511B}" dt="2023-12-11T12:38:11.766" v="1840"/>
          <ac:grpSpMkLst>
            <pc:docMk/>
            <pc:sldMk cId="1218059526" sldId="2147479547"/>
            <ac:grpSpMk id="50" creationId="{A7C4394C-609F-BD61-12A1-BD5DE7833F07}"/>
          </ac:grpSpMkLst>
        </pc:grpChg>
        <pc:grpChg chg="add mod">
          <ac:chgData name="Sastry, Varsha" userId="ac80d159-c352-438a-bc99-3a60547c55a8" providerId="ADAL" clId="{4E498032-DE11-4ADB-ADBE-A7A978F2511B}" dt="2023-12-11T12:38:11.766" v="1840"/>
          <ac:grpSpMkLst>
            <pc:docMk/>
            <pc:sldMk cId="1218059526" sldId="2147479547"/>
            <ac:grpSpMk id="53" creationId="{E5259E88-8957-F3FF-BEFB-9883799D0404}"/>
          </ac:grpSpMkLst>
        </pc:grpChg>
        <pc:grpChg chg="add mod">
          <ac:chgData name="Sastry, Varsha" userId="ac80d159-c352-438a-bc99-3a60547c55a8" providerId="ADAL" clId="{4E498032-DE11-4ADB-ADBE-A7A978F2511B}" dt="2023-12-11T12:38:11.766" v="1840"/>
          <ac:grpSpMkLst>
            <pc:docMk/>
            <pc:sldMk cId="1218059526" sldId="2147479547"/>
            <ac:grpSpMk id="58" creationId="{D01B58F9-BCB6-79E6-EBA8-52E3822509BC}"/>
          </ac:grpSpMkLst>
        </pc:grpChg>
        <pc:grpChg chg="mod">
          <ac:chgData name="Sastry, Varsha" userId="ac80d159-c352-438a-bc99-3a60547c55a8" providerId="ADAL" clId="{4E498032-DE11-4ADB-ADBE-A7A978F2511B}" dt="2023-12-11T12:38:11.766" v="1840"/>
          <ac:grpSpMkLst>
            <pc:docMk/>
            <pc:sldMk cId="1218059526" sldId="2147479547"/>
            <ac:grpSpMk id="61" creationId="{82FCF2E9-5230-9E09-47B0-49772A5FADA8}"/>
          </ac:grpSpMkLst>
        </pc:grpChg>
        <pc:grpChg chg="add mod">
          <ac:chgData name="Sastry, Varsha" userId="ac80d159-c352-438a-bc99-3a60547c55a8" providerId="ADAL" clId="{4E498032-DE11-4ADB-ADBE-A7A978F2511B}" dt="2023-12-11T12:38:11.766" v="1840"/>
          <ac:grpSpMkLst>
            <pc:docMk/>
            <pc:sldMk cId="1218059526" sldId="2147479547"/>
            <ac:grpSpMk id="64" creationId="{37BB78CB-55A2-65E9-8FCB-CD19F21238A6}"/>
          </ac:grpSpMkLst>
        </pc:grpChg>
        <pc:grpChg chg="mod">
          <ac:chgData name="Sastry, Varsha" userId="ac80d159-c352-438a-bc99-3a60547c55a8" providerId="ADAL" clId="{4E498032-DE11-4ADB-ADBE-A7A978F2511B}" dt="2023-12-11T12:38:11.766" v="1840"/>
          <ac:grpSpMkLst>
            <pc:docMk/>
            <pc:sldMk cId="1218059526" sldId="2147479547"/>
            <ac:grpSpMk id="67" creationId="{78E1C241-399E-F2D0-87BD-4AA3C2125F6F}"/>
          </ac:grpSpMkLst>
        </pc:grpChg>
        <pc:grpChg chg="add mod">
          <ac:chgData name="Sastry, Varsha" userId="ac80d159-c352-438a-bc99-3a60547c55a8" providerId="ADAL" clId="{4E498032-DE11-4ADB-ADBE-A7A978F2511B}" dt="2023-12-11T12:38:11.766" v="1840"/>
          <ac:grpSpMkLst>
            <pc:docMk/>
            <pc:sldMk cId="1218059526" sldId="2147479547"/>
            <ac:grpSpMk id="456" creationId="{BED901E3-E7F5-BC1B-1DAE-339CA81CA31E}"/>
          </ac:grpSpMkLst>
        </pc:grpChg>
        <pc:grpChg chg="mod">
          <ac:chgData name="Sastry, Varsha" userId="ac80d159-c352-438a-bc99-3a60547c55a8" providerId="ADAL" clId="{4E498032-DE11-4ADB-ADBE-A7A978F2511B}" dt="2023-12-11T12:38:11.766" v="1840"/>
          <ac:grpSpMkLst>
            <pc:docMk/>
            <pc:sldMk cId="1218059526" sldId="2147479547"/>
            <ac:grpSpMk id="459" creationId="{0CFC0D1C-A496-9C5A-63BC-34D4B98AE9E4}"/>
          </ac:grpSpMkLst>
        </pc:grpChg>
        <pc:grpChg chg="add mod">
          <ac:chgData name="Sastry, Varsha" userId="ac80d159-c352-438a-bc99-3a60547c55a8" providerId="ADAL" clId="{4E498032-DE11-4ADB-ADBE-A7A978F2511B}" dt="2023-12-11T12:38:11.766" v="1840"/>
          <ac:grpSpMkLst>
            <pc:docMk/>
            <pc:sldMk cId="1218059526" sldId="2147479547"/>
            <ac:grpSpMk id="463" creationId="{56926467-A1F0-9575-5F4D-E78460C65997}"/>
          </ac:grpSpMkLst>
        </pc:grpChg>
        <pc:grpChg chg="mod">
          <ac:chgData name="Sastry, Varsha" userId="ac80d159-c352-438a-bc99-3a60547c55a8" providerId="ADAL" clId="{4E498032-DE11-4ADB-ADBE-A7A978F2511B}" dt="2023-12-11T12:38:11.766" v="1840"/>
          <ac:grpSpMkLst>
            <pc:docMk/>
            <pc:sldMk cId="1218059526" sldId="2147479547"/>
            <ac:grpSpMk id="466" creationId="{B6DBD3AF-3F30-1936-D829-E23DD80D31FD}"/>
          </ac:grpSpMkLst>
        </pc:grpChg>
        <pc:grpChg chg="add mod">
          <ac:chgData name="Sastry, Varsha" userId="ac80d159-c352-438a-bc99-3a60547c55a8" providerId="ADAL" clId="{4E498032-DE11-4ADB-ADBE-A7A978F2511B}" dt="2023-12-11T12:38:11.766" v="1840"/>
          <ac:grpSpMkLst>
            <pc:docMk/>
            <pc:sldMk cId="1218059526" sldId="2147479547"/>
            <ac:grpSpMk id="470" creationId="{1E6E2BAE-0072-0DC9-F12A-4D9EDDDB877C}"/>
          </ac:grpSpMkLst>
        </pc:grpChg>
        <pc:grpChg chg="mod">
          <ac:chgData name="Sastry, Varsha" userId="ac80d159-c352-438a-bc99-3a60547c55a8" providerId="ADAL" clId="{4E498032-DE11-4ADB-ADBE-A7A978F2511B}" dt="2023-12-11T12:38:11.766" v="1840"/>
          <ac:grpSpMkLst>
            <pc:docMk/>
            <pc:sldMk cId="1218059526" sldId="2147479547"/>
            <ac:grpSpMk id="473" creationId="{03B54A80-6972-7C4C-1A63-D0A05BC7C32D}"/>
          </ac:grpSpMkLst>
        </pc:grpChg>
        <pc:grpChg chg="add mod">
          <ac:chgData name="Sastry, Varsha" userId="ac80d159-c352-438a-bc99-3a60547c55a8" providerId="ADAL" clId="{4E498032-DE11-4ADB-ADBE-A7A978F2511B}" dt="2023-12-11T12:38:11.766" v="1840"/>
          <ac:grpSpMkLst>
            <pc:docMk/>
            <pc:sldMk cId="1218059526" sldId="2147479547"/>
            <ac:grpSpMk id="477" creationId="{71A8721D-77FA-F822-EC13-91DF48E3BE0C}"/>
          </ac:grpSpMkLst>
        </pc:grpChg>
        <pc:grpChg chg="mod">
          <ac:chgData name="Sastry, Varsha" userId="ac80d159-c352-438a-bc99-3a60547c55a8" providerId="ADAL" clId="{4E498032-DE11-4ADB-ADBE-A7A978F2511B}" dt="2023-12-11T12:38:11.766" v="1840"/>
          <ac:grpSpMkLst>
            <pc:docMk/>
            <pc:sldMk cId="1218059526" sldId="2147479547"/>
            <ac:grpSpMk id="480" creationId="{7988C998-F07F-78DD-7DAE-11EA86A60E45}"/>
          </ac:grpSpMkLst>
        </pc:grpChg>
        <pc:grpChg chg="add mod">
          <ac:chgData name="Sastry, Varsha" userId="ac80d159-c352-438a-bc99-3a60547c55a8" providerId="ADAL" clId="{4E498032-DE11-4ADB-ADBE-A7A978F2511B}" dt="2023-12-11T12:38:11.766" v="1840"/>
          <ac:grpSpMkLst>
            <pc:docMk/>
            <pc:sldMk cId="1218059526" sldId="2147479547"/>
            <ac:grpSpMk id="484" creationId="{4523E3D3-8ED0-8DC3-58EB-B446D84A650D}"/>
          </ac:grpSpMkLst>
        </pc:grpChg>
        <pc:grpChg chg="mod">
          <ac:chgData name="Sastry, Varsha" userId="ac80d159-c352-438a-bc99-3a60547c55a8" providerId="ADAL" clId="{4E498032-DE11-4ADB-ADBE-A7A978F2511B}" dt="2023-12-11T12:38:11.766" v="1840"/>
          <ac:grpSpMkLst>
            <pc:docMk/>
            <pc:sldMk cId="1218059526" sldId="2147479547"/>
            <ac:grpSpMk id="487" creationId="{159EA030-A319-4F90-4E4F-396BBFCB8DEB}"/>
          </ac:grpSpMkLst>
        </pc:grpChg>
        <pc:grpChg chg="add mod">
          <ac:chgData name="Sastry, Varsha" userId="ac80d159-c352-438a-bc99-3a60547c55a8" providerId="ADAL" clId="{4E498032-DE11-4ADB-ADBE-A7A978F2511B}" dt="2023-12-11T12:38:11.766" v="1840"/>
          <ac:grpSpMkLst>
            <pc:docMk/>
            <pc:sldMk cId="1218059526" sldId="2147479547"/>
            <ac:grpSpMk id="492" creationId="{D2C6DE31-8AB8-23BB-FAA3-2D96C8FFD426}"/>
          </ac:grpSpMkLst>
        </pc:grpChg>
        <pc:grpChg chg="mod">
          <ac:chgData name="Sastry, Varsha" userId="ac80d159-c352-438a-bc99-3a60547c55a8" providerId="ADAL" clId="{4E498032-DE11-4ADB-ADBE-A7A978F2511B}" dt="2023-12-11T12:38:11.766" v="1840"/>
          <ac:grpSpMkLst>
            <pc:docMk/>
            <pc:sldMk cId="1218059526" sldId="2147479547"/>
            <ac:grpSpMk id="494" creationId="{4DDB7972-1EAE-CA62-8A82-24AAA25DD1D1}"/>
          </ac:grpSpMkLst>
        </pc:grpChg>
        <pc:grpChg chg="add mod">
          <ac:chgData name="Sastry, Varsha" userId="ac80d159-c352-438a-bc99-3a60547c55a8" providerId="ADAL" clId="{4E498032-DE11-4ADB-ADBE-A7A978F2511B}" dt="2023-12-11T12:38:11.766" v="1840"/>
          <ac:grpSpMkLst>
            <pc:docMk/>
            <pc:sldMk cId="1218059526" sldId="2147479547"/>
            <ac:grpSpMk id="498" creationId="{44C14E94-46A2-2868-F2F9-B11AF79F4EE1}"/>
          </ac:grpSpMkLst>
        </pc:grpChg>
        <pc:grpChg chg="mod">
          <ac:chgData name="Sastry, Varsha" userId="ac80d159-c352-438a-bc99-3a60547c55a8" providerId="ADAL" clId="{4E498032-DE11-4ADB-ADBE-A7A978F2511B}" dt="2023-12-11T12:38:11.766" v="1840"/>
          <ac:grpSpMkLst>
            <pc:docMk/>
            <pc:sldMk cId="1218059526" sldId="2147479547"/>
            <ac:grpSpMk id="501" creationId="{F71E7B35-27E8-1920-BE09-1DC1838800BC}"/>
          </ac:grpSpMkLst>
        </pc:grpChg>
        <pc:grpChg chg="add mod">
          <ac:chgData name="Sastry, Varsha" userId="ac80d159-c352-438a-bc99-3a60547c55a8" providerId="ADAL" clId="{4E498032-DE11-4ADB-ADBE-A7A978F2511B}" dt="2023-12-11T12:38:11.766" v="1840"/>
          <ac:grpSpMkLst>
            <pc:docMk/>
            <pc:sldMk cId="1218059526" sldId="2147479547"/>
            <ac:grpSpMk id="505" creationId="{74810D33-0356-80E1-6E9D-175DE76419D8}"/>
          </ac:grpSpMkLst>
        </pc:grpChg>
        <pc:grpChg chg="mod">
          <ac:chgData name="Sastry, Varsha" userId="ac80d159-c352-438a-bc99-3a60547c55a8" providerId="ADAL" clId="{4E498032-DE11-4ADB-ADBE-A7A978F2511B}" dt="2023-12-11T12:38:11.766" v="1840"/>
          <ac:grpSpMkLst>
            <pc:docMk/>
            <pc:sldMk cId="1218059526" sldId="2147479547"/>
            <ac:grpSpMk id="508" creationId="{E0BF4461-FA9D-EADD-249E-5887C412901B}"/>
          </ac:grpSpMkLst>
        </pc:grpChg>
      </pc:sldChg>
      <pc:sldChg chg="modCm">
        <pc:chgData name="Sastry, Varsha" userId="ac80d159-c352-438a-bc99-3a60547c55a8" providerId="ADAL" clId="{4E498032-DE11-4ADB-ADBE-A7A978F2511B}" dt="2023-12-11T14:34:48.491" v="3138"/>
        <pc:sldMkLst>
          <pc:docMk/>
          <pc:sldMk cId="963063207" sldId="2147479551"/>
        </pc:sldMkLst>
      </pc:sldChg>
      <pc:sldChg chg="modSp mod">
        <pc:chgData name="Sastry, Varsha" userId="ac80d159-c352-438a-bc99-3a60547c55a8" providerId="ADAL" clId="{4E498032-DE11-4ADB-ADBE-A7A978F2511B}" dt="2023-12-11T17:46:49.019" v="6082" actId="113"/>
        <pc:sldMkLst>
          <pc:docMk/>
          <pc:sldMk cId="3652616824" sldId="2147479553"/>
        </pc:sldMkLst>
        <pc:spChg chg="mod">
          <ac:chgData name="Sastry, Varsha" userId="ac80d159-c352-438a-bc99-3a60547c55a8" providerId="ADAL" clId="{4E498032-DE11-4ADB-ADBE-A7A978F2511B}" dt="2023-12-11T17:46:49.019" v="6082" actId="113"/>
          <ac:spMkLst>
            <pc:docMk/>
            <pc:sldMk cId="3652616824" sldId="2147479553"/>
            <ac:spMk id="2" creationId="{B92A2EE2-BFCC-59A6-9E51-FEF7C615177D}"/>
          </ac:spMkLst>
        </pc:spChg>
      </pc:sldChg>
      <pc:sldChg chg="delSp modSp add del mod">
        <pc:chgData name="Sastry, Varsha" userId="ac80d159-c352-438a-bc99-3a60547c55a8" providerId="ADAL" clId="{4E498032-DE11-4ADB-ADBE-A7A978F2511B}" dt="2023-12-11T14:01:34.832" v="3036" actId="47"/>
        <pc:sldMkLst>
          <pc:docMk/>
          <pc:sldMk cId="2344582623" sldId="2147479554"/>
        </pc:sldMkLst>
        <pc:spChg chg="del">
          <ac:chgData name="Sastry, Varsha" userId="ac80d159-c352-438a-bc99-3a60547c55a8" providerId="ADAL" clId="{4E498032-DE11-4ADB-ADBE-A7A978F2511B}" dt="2023-12-11T13:58:20.838" v="3016" actId="478"/>
          <ac:spMkLst>
            <pc:docMk/>
            <pc:sldMk cId="2344582623" sldId="2147479554"/>
            <ac:spMk id="49" creationId="{AFD86A78-7FA0-9800-8759-DF69EBF1EAAD}"/>
          </ac:spMkLst>
        </pc:spChg>
        <pc:spChg chg="mod">
          <ac:chgData name="Sastry, Varsha" userId="ac80d159-c352-438a-bc99-3a60547c55a8" providerId="ADAL" clId="{4E498032-DE11-4ADB-ADBE-A7A978F2511B}" dt="2023-12-11T13:58:31.594" v="3035" actId="20577"/>
          <ac:spMkLst>
            <pc:docMk/>
            <pc:sldMk cId="2344582623" sldId="2147479554"/>
            <ac:spMk id="75" creationId="{0B00487E-9A8E-46E0-B60F-BB884C23310C}"/>
          </ac:spMkLst>
        </pc:spChg>
        <pc:grpChg chg="del">
          <ac:chgData name="Sastry, Varsha" userId="ac80d159-c352-438a-bc99-3a60547c55a8" providerId="ADAL" clId="{4E498032-DE11-4ADB-ADBE-A7A978F2511B}" dt="2023-12-11T13:58:18.387" v="3015" actId="478"/>
          <ac:grpSpMkLst>
            <pc:docMk/>
            <pc:sldMk cId="2344582623" sldId="2147479554"/>
            <ac:grpSpMk id="2" creationId="{CF115527-6447-13E4-E1CD-E98DC1240D1E}"/>
          </ac:grpSpMkLst>
        </pc:grpChg>
      </pc:sldChg>
      <pc:sldChg chg="modSp mod">
        <pc:chgData name="Sastry, Varsha" userId="ac80d159-c352-438a-bc99-3a60547c55a8" providerId="ADAL" clId="{4E498032-DE11-4ADB-ADBE-A7A978F2511B}" dt="2023-12-11T17:48:37.150" v="6089" actId="2711"/>
        <pc:sldMkLst>
          <pc:docMk/>
          <pc:sldMk cId="4098489044" sldId="2147479556"/>
        </pc:sldMkLst>
        <pc:spChg chg="mod">
          <ac:chgData name="Sastry, Varsha" userId="ac80d159-c352-438a-bc99-3a60547c55a8" providerId="ADAL" clId="{4E498032-DE11-4ADB-ADBE-A7A978F2511B}" dt="2023-12-11T17:47:20.586" v="6083" actId="108"/>
          <ac:spMkLst>
            <pc:docMk/>
            <pc:sldMk cId="4098489044" sldId="2147479556"/>
            <ac:spMk id="3" creationId="{BB4C9129-5A3E-6121-EA80-6A061C3C7FDE}"/>
          </ac:spMkLst>
        </pc:spChg>
        <pc:spChg chg="mod">
          <ac:chgData name="Sastry, Varsha" userId="ac80d159-c352-438a-bc99-3a60547c55a8" providerId="ADAL" clId="{4E498032-DE11-4ADB-ADBE-A7A978F2511B}" dt="2023-12-11T17:47:31.687" v="6084" actId="108"/>
          <ac:spMkLst>
            <pc:docMk/>
            <pc:sldMk cId="4098489044" sldId="2147479556"/>
            <ac:spMk id="5" creationId="{25CA3B3D-3FFD-6F65-4576-3A1F6AB62827}"/>
          </ac:spMkLst>
        </pc:spChg>
        <pc:spChg chg="mod">
          <ac:chgData name="Sastry, Varsha" userId="ac80d159-c352-438a-bc99-3a60547c55a8" providerId="ADAL" clId="{4E498032-DE11-4ADB-ADBE-A7A978F2511B}" dt="2023-12-11T17:48:37.150" v="6089" actId="2711"/>
          <ac:spMkLst>
            <pc:docMk/>
            <pc:sldMk cId="4098489044" sldId="2147479556"/>
            <ac:spMk id="16" creationId="{F1DCD47E-7346-97BE-344A-308E953095BE}"/>
          </ac:spMkLst>
        </pc:spChg>
      </pc:sldChg>
      <pc:sldChg chg="addSp delSp modSp add mod">
        <pc:chgData name="Sastry, Varsha" userId="ac80d159-c352-438a-bc99-3a60547c55a8" providerId="ADAL" clId="{4E498032-DE11-4ADB-ADBE-A7A978F2511B}" dt="2023-12-11T14:27:11.032" v="3097" actId="108"/>
        <pc:sldMkLst>
          <pc:docMk/>
          <pc:sldMk cId="775752231" sldId="2147479557"/>
        </pc:sldMkLst>
        <pc:spChg chg="mod">
          <ac:chgData name="Sastry, Varsha" userId="ac80d159-c352-438a-bc99-3a60547c55a8" providerId="ADAL" clId="{4E498032-DE11-4ADB-ADBE-A7A978F2511B}" dt="2023-12-11T14:17:06.058" v="3083" actId="108"/>
          <ac:spMkLst>
            <pc:docMk/>
            <pc:sldMk cId="775752231" sldId="2147479557"/>
            <ac:spMk id="10" creationId="{FD52CFFD-35A4-4819-BEFA-A216D384E824}"/>
          </ac:spMkLst>
        </pc:spChg>
        <pc:spChg chg="mod">
          <ac:chgData name="Sastry, Varsha" userId="ac80d159-c352-438a-bc99-3a60547c55a8" providerId="ADAL" clId="{4E498032-DE11-4ADB-ADBE-A7A978F2511B}" dt="2023-12-11T14:19:46.712" v="3095" actId="108"/>
          <ac:spMkLst>
            <pc:docMk/>
            <pc:sldMk cId="775752231" sldId="2147479557"/>
            <ac:spMk id="12" creationId="{8016CE3C-690F-45FC-8079-361E167CB5D0}"/>
          </ac:spMkLst>
        </pc:spChg>
        <pc:spChg chg="mod">
          <ac:chgData name="Sastry, Varsha" userId="ac80d159-c352-438a-bc99-3a60547c55a8" providerId="ADAL" clId="{4E498032-DE11-4ADB-ADBE-A7A978F2511B}" dt="2023-12-11T14:18:56.218" v="3089" actId="108"/>
          <ac:spMkLst>
            <pc:docMk/>
            <pc:sldMk cId="775752231" sldId="2147479557"/>
            <ac:spMk id="13" creationId="{885D406F-B2FE-4686-8A0B-47FC56065756}"/>
          </ac:spMkLst>
        </pc:spChg>
        <pc:spChg chg="mod">
          <ac:chgData name="Sastry, Varsha" userId="ac80d159-c352-438a-bc99-3a60547c55a8" providerId="ADAL" clId="{4E498032-DE11-4ADB-ADBE-A7A978F2511B}" dt="2023-12-11T14:27:11.032" v="3097" actId="108"/>
          <ac:spMkLst>
            <pc:docMk/>
            <pc:sldMk cId="775752231" sldId="2147479557"/>
            <ac:spMk id="15" creationId="{3B014F6B-414B-4F42-B595-4CB0922A753F}"/>
          </ac:spMkLst>
        </pc:spChg>
        <pc:spChg chg="mod">
          <ac:chgData name="Sastry, Varsha" userId="ac80d159-c352-438a-bc99-3a60547c55a8" providerId="ADAL" clId="{4E498032-DE11-4ADB-ADBE-A7A978F2511B}" dt="2023-12-11T14:18:14.666" v="3086" actId="108"/>
          <ac:spMkLst>
            <pc:docMk/>
            <pc:sldMk cId="775752231" sldId="2147479557"/>
            <ac:spMk id="21" creationId="{B499CC86-FE6E-45EE-BB9C-523792A2D04A}"/>
          </ac:spMkLst>
        </pc:spChg>
        <pc:spChg chg="mod">
          <ac:chgData name="Sastry, Varsha" userId="ac80d159-c352-438a-bc99-3a60547c55a8" providerId="ADAL" clId="{4E498032-DE11-4ADB-ADBE-A7A978F2511B}" dt="2023-12-11T14:15:23.683" v="3076" actId="20577"/>
          <ac:spMkLst>
            <pc:docMk/>
            <pc:sldMk cId="775752231" sldId="2147479557"/>
            <ac:spMk id="28" creationId="{3DF3102D-D97A-4C9C-8CF3-B45470DA7882}"/>
          </ac:spMkLst>
        </pc:spChg>
        <pc:spChg chg="mod">
          <ac:chgData name="Sastry, Varsha" userId="ac80d159-c352-438a-bc99-3a60547c55a8" providerId="ADAL" clId="{4E498032-DE11-4ADB-ADBE-A7A978F2511B}" dt="2023-12-11T14:14:19.837" v="3051" actId="108"/>
          <ac:spMkLst>
            <pc:docMk/>
            <pc:sldMk cId="775752231" sldId="2147479557"/>
            <ac:spMk id="29" creationId="{590F340B-A1F4-4DF2-884C-ACC23F6FCF20}"/>
          </ac:spMkLst>
        </pc:spChg>
        <pc:picChg chg="del">
          <ac:chgData name="Sastry, Varsha" userId="ac80d159-c352-438a-bc99-3a60547c55a8" providerId="ADAL" clId="{4E498032-DE11-4ADB-ADBE-A7A978F2511B}" dt="2023-12-11T14:14:40.946" v="3055" actId="478"/>
          <ac:picMkLst>
            <pc:docMk/>
            <pc:sldMk cId="775752231" sldId="2147479557"/>
            <ac:picMk id="2" creationId="{84250947-4EA7-D68C-47A2-CD1167D8A32B}"/>
          </ac:picMkLst>
        </pc:picChg>
        <pc:picChg chg="add mod">
          <ac:chgData name="Sastry, Varsha" userId="ac80d159-c352-438a-bc99-3a60547c55a8" providerId="ADAL" clId="{4E498032-DE11-4ADB-ADBE-A7A978F2511B}" dt="2023-12-11T14:15:02.281" v="3059" actId="1036"/>
          <ac:picMkLst>
            <pc:docMk/>
            <pc:sldMk cId="775752231" sldId="2147479557"/>
            <ac:picMk id="3" creationId="{F69C51CB-C47C-6CBA-E9FF-B0B71B2E62E1}"/>
          </ac:picMkLst>
        </pc:picChg>
      </pc:sldChg>
      <pc:sldChg chg="modSp mod">
        <pc:chgData name="Sastry, Varsha" userId="ac80d159-c352-438a-bc99-3a60547c55a8" providerId="ADAL" clId="{4E498032-DE11-4ADB-ADBE-A7A978F2511B}" dt="2023-12-11T17:57:13.050" v="6140" actId="255"/>
        <pc:sldMkLst>
          <pc:docMk/>
          <pc:sldMk cId="1192362056" sldId="2147479558"/>
        </pc:sldMkLst>
        <pc:spChg chg="mod">
          <ac:chgData name="Sastry, Varsha" userId="ac80d159-c352-438a-bc99-3a60547c55a8" providerId="ADAL" clId="{4E498032-DE11-4ADB-ADBE-A7A978F2511B}" dt="2023-12-11T17:56:42.242" v="6138" actId="14100"/>
          <ac:spMkLst>
            <pc:docMk/>
            <pc:sldMk cId="1192362056" sldId="2147479558"/>
            <ac:spMk id="5" creationId="{73BAA790-FE7B-E03B-2C71-7FAEFECCC5A0}"/>
          </ac:spMkLst>
        </pc:spChg>
        <pc:graphicFrameChg chg="modGraphic">
          <ac:chgData name="Sastry, Varsha" userId="ac80d159-c352-438a-bc99-3a60547c55a8" providerId="ADAL" clId="{4E498032-DE11-4ADB-ADBE-A7A978F2511B}" dt="2023-12-11T17:57:13.050" v="6140" actId="255"/>
          <ac:graphicFrameMkLst>
            <pc:docMk/>
            <pc:sldMk cId="1192362056" sldId="2147479558"/>
            <ac:graphicFrameMk id="6" creationId="{4174133B-583D-857D-2D4E-67C3A8DB6C43}"/>
          </ac:graphicFrameMkLst>
        </pc:graphicFrameChg>
      </pc:sldChg>
      <pc:sldChg chg="addSp delSp modSp add mod">
        <pc:chgData name="Sastry, Varsha" userId="ac80d159-c352-438a-bc99-3a60547c55a8" providerId="ADAL" clId="{4E498032-DE11-4ADB-ADBE-A7A978F2511B}" dt="2023-12-11T14:33:32.159" v="3137" actId="20577"/>
        <pc:sldMkLst>
          <pc:docMk/>
          <pc:sldMk cId="2395944440" sldId="2147479559"/>
        </pc:sldMkLst>
        <pc:spChg chg="mod">
          <ac:chgData name="Sastry, Varsha" userId="ac80d159-c352-438a-bc99-3a60547c55a8" providerId="ADAL" clId="{4E498032-DE11-4ADB-ADBE-A7A978F2511B}" dt="2023-12-11T14:31:25.064" v="3122" actId="108"/>
          <ac:spMkLst>
            <pc:docMk/>
            <pc:sldMk cId="2395944440" sldId="2147479559"/>
            <ac:spMk id="10" creationId="{FD52CFFD-35A4-4819-BEFA-A216D384E824}"/>
          </ac:spMkLst>
        </pc:spChg>
        <pc:spChg chg="mod">
          <ac:chgData name="Sastry, Varsha" userId="ac80d159-c352-438a-bc99-3a60547c55a8" providerId="ADAL" clId="{4E498032-DE11-4ADB-ADBE-A7A978F2511B}" dt="2023-12-11T14:33:14.717" v="3136" actId="108"/>
          <ac:spMkLst>
            <pc:docMk/>
            <pc:sldMk cId="2395944440" sldId="2147479559"/>
            <ac:spMk id="12" creationId="{8016CE3C-690F-45FC-8079-361E167CB5D0}"/>
          </ac:spMkLst>
        </pc:spChg>
        <pc:spChg chg="mod">
          <ac:chgData name="Sastry, Varsha" userId="ac80d159-c352-438a-bc99-3a60547c55a8" providerId="ADAL" clId="{4E498032-DE11-4ADB-ADBE-A7A978F2511B}" dt="2023-12-11T14:32:46.846" v="3133" actId="20577"/>
          <ac:spMkLst>
            <pc:docMk/>
            <pc:sldMk cId="2395944440" sldId="2147479559"/>
            <ac:spMk id="13" creationId="{885D406F-B2FE-4686-8A0B-47FC56065756}"/>
          </ac:spMkLst>
        </pc:spChg>
        <pc:spChg chg="mod">
          <ac:chgData name="Sastry, Varsha" userId="ac80d159-c352-438a-bc99-3a60547c55a8" providerId="ADAL" clId="{4E498032-DE11-4ADB-ADBE-A7A978F2511B}" dt="2023-12-11T14:30:15.862" v="3112" actId="108"/>
          <ac:spMkLst>
            <pc:docMk/>
            <pc:sldMk cId="2395944440" sldId="2147479559"/>
            <ac:spMk id="15" creationId="{3B014F6B-414B-4F42-B595-4CB0922A753F}"/>
          </ac:spMkLst>
        </pc:spChg>
        <pc:spChg chg="mod">
          <ac:chgData name="Sastry, Varsha" userId="ac80d159-c352-438a-bc99-3a60547c55a8" providerId="ADAL" clId="{4E498032-DE11-4ADB-ADBE-A7A978F2511B}" dt="2023-12-11T14:32:01.779" v="3125" actId="108"/>
          <ac:spMkLst>
            <pc:docMk/>
            <pc:sldMk cId="2395944440" sldId="2147479559"/>
            <ac:spMk id="21" creationId="{B499CC86-FE6E-45EE-BB9C-523792A2D04A}"/>
          </ac:spMkLst>
        </pc:spChg>
        <pc:spChg chg="mod">
          <ac:chgData name="Sastry, Varsha" userId="ac80d159-c352-438a-bc99-3a60547c55a8" providerId="ADAL" clId="{4E498032-DE11-4ADB-ADBE-A7A978F2511B}" dt="2023-12-11T14:33:32.159" v="3137" actId="20577"/>
          <ac:spMkLst>
            <pc:docMk/>
            <pc:sldMk cId="2395944440" sldId="2147479559"/>
            <ac:spMk id="28" creationId="{3DF3102D-D97A-4C9C-8CF3-B45470DA7882}"/>
          </ac:spMkLst>
        </pc:spChg>
        <pc:spChg chg="mod">
          <ac:chgData name="Sastry, Varsha" userId="ac80d159-c352-438a-bc99-3a60547c55a8" providerId="ADAL" clId="{4E498032-DE11-4ADB-ADBE-A7A978F2511B}" dt="2023-12-11T14:28:50.362" v="3106" actId="108"/>
          <ac:spMkLst>
            <pc:docMk/>
            <pc:sldMk cId="2395944440" sldId="2147479559"/>
            <ac:spMk id="29" creationId="{590F340B-A1F4-4DF2-884C-ACC23F6FCF20}"/>
          </ac:spMkLst>
        </pc:spChg>
        <pc:picChg chg="add mod">
          <ac:chgData name="Sastry, Varsha" userId="ac80d159-c352-438a-bc99-3a60547c55a8" providerId="ADAL" clId="{4E498032-DE11-4ADB-ADBE-A7A978F2511B}" dt="2023-12-11T14:28:29.386" v="3104" actId="1076"/>
          <ac:picMkLst>
            <pc:docMk/>
            <pc:sldMk cId="2395944440" sldId="2147479559"/>
            <ac:picMk id="2" creationId="{3F359384-DD9E-378D-0B25-5279F3090CB2}"/>
          </ac:picMkLst>
        </pc:picChg>
        <pc:picChg chg="del">
          <ac:chgData name="Sastry, Varsha" userId="ac80d159-c352-438a-bc99-3a60547c55a8" providerId="ADAL" clId="{4E498032-DE11-4ADB-ADBE-A7A978F2511B}" dt="2023-12-11T14:27:57.581" v="3100" actId="478"/>
          <ac:picMkLst>
            <pc:docMk/>
            <pc:sldMk cId="2395944440" sldId="2147479559"/>
            <ac:picMk id="3" creationId="{F69C51CB-C47C-6CBA-E9FF-B0B71B2E62E1}"/>
          </ac:picMkLst>
        </pc:picChg>
      </pc:sldChg>
      <pc:sldChg chg="addSp delSp modSp add mod">
        <pc:chgData name="Sastry, Varsha" userId="ac80d159-c352-438a-bc99-3a60547c55a8" providerId="ADAL" clId="{4E498032-DE11-4ADB-ADBE-A7A978F2511B}" dt="2023-12-11T15:17:20.992" v="3238" actId="108"/>
        <pc:sldMkLst>
          <pc:docMk/>
          <pc:sldMk cId="1891079789" sldId="2147479560"/>
        </pc:sldMkLst>
        <pc:spChg chg="mod">
          <ac:chgData name="Sastry, Varsha" userId="ac80d159-c352-438a-bc99-3a60547c55a8" providerId="ADAL" clId="{4E498032-DE11-4ADB-ADBE-A7A978F2511B}" dt="2023-12-11T15:11:22.179" v="3175" actId="108"/>
          <ac:spMkLst>
            <pc:docMk/>
            <pc:sldMk cId="1891079789" sldId="2147479560"/>
            <ac:spMk id="10" creationId="{FD52CFFD-35A4-4819-BEFA-A216D384E824}"/>
          </ac:spMkLst>
        </pc:spChg>
        <pc:spChg chg="mod">
          <ac:chgData name="Sastry, Varsha" userId="ac80d159-c352-438a-bc99-3a60547c55a8" providerId="ADAL" clId="{4E498032-DE11-4ADB-ADBE-A7A978F2511B}" dt="2023-12-11T15:14:55.139" v="3181" actId="108"/>
          <ac:spMkLst>
            <pc:docMk/>
            <pc:sldMk cId="1891079789" sldId="2147479560"/>
            <ac:spMk id="12" creationId="{8016CE3C-690F-45FC-8079-361E167CB5D0}"/>
          </ac:spMkLst>
        </pc:spChg>
        <pc:spChg chg="mod">
          <ac:chgData name="Sastry, Varsha" userId="ac80d159-c352-438a-bc99-3a60547c55a8" providerId="ADAL" clId="{4E498032-DE11-4ADB-ADBE-A7A978F2511B}" dt="2023-12-11T15:15:44.198" v="3236" actId="20577"/>
          <ac:spMkLst>
            <pc:docMk/>
            <pc:sldMk cId="1891079789" sldId="2147479560"/>
            <ac:spMk id="13" creationId="{885D406F-B2FE-4686-8A0B-47FC56065756}"/>
          </ac:spMkLst>
        </pc:spChg>
        <pc:spChg chg="mod">
          <ac:chgData name="Sastry, Varsha" userId="ac80d159-c352-438a-bc99-3a60547c55a8" providerId="ADAL" clId="{4E498032-DE11-4ADB-ADBE-A7A978F2511B}" dt="2023-12-11T15:12:03.275" v="3179" actId="108"/>
          <ac:spMkLst>
            <pc:docMk/>
            <pc:sldMk cId="1891079789" sldId="2147479560"/>
            <ac:spMk id="15" creationId="{E284F586-9A77-4D69-A8C4-9E50E1D82011}"/>
          </ac:spMkLst>
        </pc:spChg>
        <pc:spChg chg="mod">
          <ac:chgData name="Sastry, Varsha" userId="ac80d159-c352-438a-bc99-3a60547c55a8" providerId="ADAL" clId="{4E498032-DE11-4ADB-ADBE-A7A978F2511B}" dt="2023-12-11T15:17:20.992" v="3238" actId="108"/>
          <ac:spMkLst>
            <pc:docMk/>
            <pc:sldMk cId="1891079789" sldId="2147479560"/>
            <ac:spMk id="21" creationId="{B499CC86-FE6E-45EE-BB9C-523792A2D04A}"/>
          </ac:spMkLst>
        </pc:spChg>
        <pc:spChg chg="mod">
          <ac:chgData name="Sastry, Varsha" userId="ac80d159-c352-438a-bc99-3a60547c55a8" providerId="ADAL" clId="{4E498032-DE11-4ADB-ADBE-A7A978F2511B}" dt="2023-12-11T15:10:51.697" v="3173" actId="6549"/>
          <ac:spMkLst>
            <pc:docMk/>
            <pc:sldMk cId="1891079789" sldId="2147479560"/>
            <ac:spMk id="28" creationId="{3DF3102D-D97A-4C9C-8CF3-B45470DA7882}"/>
          </ac:spMkLst>
        </pc:spChg>
        <pc:spChg chg="mod">
          <ac:chgData name="Sastry, Varsha" userId="ac80d159-c352-438a-bc99-3a60547c55a8" providerId="ADAL" clId="{4E498032-DE11-4ADB-ADBE-A7A978F2511B}" dt="2023-12-11T15:10:46.411" v="3172" actId="20577"/>
          <ac:spMkLst>
            <pc:docMk/>
            <pc:sldMk cId="1891079789" sldId="2147479560"/>
            <ac:spMk id="29" creationId="{590F340B-A1F4-4DF2-884C-ACC23F6FCF20}"/>
          </ac:spMkLst>
        </pc:spChg>
        <pc:picChg chg="add mod">
          <ac:chgData name="Sastry, Varsha" userId="ac80d159-c352-438a-bc99-3a60547c55a8" providerId="ADAL" clId="{4E498032-DE11-4ADB-ADBE-A7A978F2511B}" dt="2023-12-11T15:10:33.085" v="3157" actId="1076"/>
          <ac:picMkLst>
            <pc:docMk/>
            <pc:sldMk cId="1891079789" sldId="2147479560"/>
            <ac:picMk id="2" creationId="{0E778F8D-3A41-49CA-7605-8B32A19D6A77}"/>
          </ac:picMkLst>
        </pc:picChg>
        <pc:picChg chg="del">
          <ac:chgData name="Sastry, Varsha" userId="ac80d159-c352-438a-bc99-3a60547c55a8" providerId="ADAL" clId="{4E498032-DE11-4ADB-ADBE-A7A978F2511B}" dt="2023-12-11T15:09:44.402" v="3151" actId="478"/>
          <ac:picMkLst>
            <pc:docMk/>
            <pc:sldMk cId="1891079789" sldId="2147479560"/>
            <ac:picMk id="3" creationId="{B239D0DB-9870-5C0E-D8D4-A295D9D54F61}"/>
          </ac:picMkLst>
        </pc:picChg>
      </pc:sldChg>
      <pc:sldChg chg="delSp modSp del mod">
        <pc:chgData name="Sastry, Varsha" userId="ac80d159-c352-438a-bc99-3a60547c55a8" providerId="ADAL" clId="{4E498032-DE11-4ADB-ADBE-A7A978F2511B}" dt="2023-12-11T16:10:54.037" v="3574" actId="47"/>
        <pc:sldMkLst>
          <pc:docMk/>
          <pc:sldMk cId="13822481" sldId="2147479561"/>
        </pc:sldMkLst>
        <pc:spChg chg="del">
          <ac:chgData name="Sastry, Varsha" userId="ac80d159-c352-438a-bc99-3a60547c55a8" providerId="ADAL" clId="{4E498032-DE11-4ADB-ADBE-A7A978F2511B}" dt="2023-12-11T15:47:16.112" v="3400" actId="478"/>
          <ac:spMkLst>
            <pc:docMk/>
            <pc:sldMk cId="13822481" sldId="2147479561"/>
            <ac:spMk id="4" creationId="{3CD1177A-3E2E-D4FE-9B80-21DAA76997D5}"/>
          </ac:spMkLst>
        </pc:spChg>
        <pc:graphicFrameChg chg="mod modGraphic">
          <ac:chgData name="Sastry, Varsha" userId="ac80d159-c352-438a-bc99-3a60547c55a8" providerId="ADAL" clId="{4E498032-DE11-4ADB-ADBE-A7A978F2511B}" dt="2023-12-11T15:47:06.636" v="3399" actId="2165"/>
          <ac:graphicFrameMkLst>
            <pc:docMk/>
            <pc:sldMk cId="13822481" sldId="2147479561"/>
            <ac:graphicFrameMk id="5" creationId="{E9AE7BA3-E382-37AF-A4D7-457B619974F4}"/>
          </ac:graphicFrameMkLst>
        </pc:graphicFrameChg>
      </pc:sldChg>
      <pc:sldChg chg="modSp add mod">
        <pc:chgData name="Sastry, Varsha" userId="ac80d159-c352-438a-bc99-3a60547c55a8" providerId="ADAL" clId="{4E498032-DE11-4ADB-ADBE-A7A978F2511B}" dt="2023-12-11T17:41:25.827" v="6073" actId="108"/>
        <pc:sldMkLst>
          <pc:docMk/>
          <pc:sldMk cId="1566640999" sldId="2147479562"/>
        </pc:sldMkLst>
        <pc:spChg chg="mod">
          <ac:chgData name="Sastry, Varsha" userId="ac80d159-c352-438a-bc99-3a60547c55a8" providerId="ADAL" clId="{4E498032-DE11-4ADB-ADBE-A7A978F2511B}" dt="2023-12-11T17:40:26.336" v="6063" actId="20577"/>
          <ac:spMkLst>
            <pc:docMk/>
            <pc:sldMk cId="1566640999" sldId="2147479562"/>
            <ac:spMk id="2" creationId="{CC93B7E7-8D0A-1A99-7EF2-95F71E057368}"/>
          </ac:spMkLst>
        </pc:spChg>
        <pc:graphicFrameChg chg="mod modGraphic">
          <ac:chgData name="Sastry, Varsha" userId="ac80d159-c352-438a-bc99-3a60547c55a8" providerId="ADAL" clId="{4E498032-DE11-4ADB-ADBE-A7A978F2511B}" dt="2023-12-11T17:41:25.827" v="6073" actId="108"/>
          <ac:graphicFrameMkLst>
            <pc:docMk/>
            <pc:sldMk cId="1566640999" sldId="2147479562"/>
            <ac:graphicFrameMk id="5" creationId="{E9AE7BA3-E382-37AF-A4D7-457B619974F4}"/>
          </ac:graphicFrameMkLst>
        </pc:graphicFrameChg>
      </pc:sldChg>
      <pc:sldChg chg="modSp add del mod">
        <pc:chgData name="Sastry, Varsha" userId="ac80d159-c352-438a-bc99-3a60547c55a8" providerId="ADAL" clId="{4E498032-DE11-4ADB-ADBE-A7A978F2511B}" dt="2023-12-11T17:40:10.450" v="6059" actId="47"/>
        <pc:sldMkLst>
          <pc:docMk/>
          <pc:sldMk cId="3958085469" sldId="2147479563"/>
        </pc:sldMkLst>
        <pc:spChg chg="mod">
          <ac:chgData name="Sastry, Varsha" userId="ac80d159-c352-438a-bc99-3a60547c55a8" providerId="ADAL" clId="{4E498032-DE11-4ADB-ADBE-A7A978F2511B}" dt="2023-12-11T17:39:59.843" v="6058" actId="20577"/>
          <ac:spMkLst>
            <pc:docMk/>
            <pc:sldMk cId="3958085469" sldId="2147479563"/>
            <ac:spMk id="2" creationId="{CC93B7E7-8D0A-1A99-7EF2-95F71E057368}"/>
          </ac:spMkLst>
        </pc:spChg>
        <pc:graphicFrameChg chg="mod modGraphic">
          <ac:chgData name="Sastry, Varsha" userId="ac80d159-c352-438a-bc99-3a60547c55a8" providerId="ADAL" clId="{4E498032-DE11-4ADB-ADBE-A7A978F2511B}" dt="2023-12-11T15:58:15.728" v="3573" actId="6549"/>
          <ac:graphicFrameMkLst>
            <pc:docMk/>
            <pc:sldMk cId="3958085469" sldId="2147479563"/>
            <ac:graphicFrameMk id="5" creationId="{E9AE7BA3-E382-37AF-A4D7-457B619974F4}"/>
          </ac:graphicFrameMkLst>
        </pc:graphicFrameChg>
      </pc:sldChg>
      <pc:sldChg chg="modSp mod">
        <pc:chgData name="Sastry, Varsha" userId="ac80d159-c352-438a-bc99-3a60547c55a8" providerId="ADAL" clId="{4E498032-DE11-4ADB-ADBE-A7A978F2511B}" dt="2023-12-11T17:48:45.975" v="6090" actId="2711"/>
        <pc:sldMkLst>
          <pc:docMk/>
          <pc:sldMk cId="3663195277" sldId="2147479564"/>
        </pc:sldMkLst>
        <pc:spChg chg="mod">
          <ac:chgData name="Sastry, Varsha" userId="ac80d159-c352-438a-bc99-3a60547c55a8" providerId="ADAL" clId="{4E498032-DE11-4ADB-ADBE-A7A978F2511B}" dt="2023-12-11T17:47:43.516" v="6085" actId="108"/>
          <ac:spMkLst>
            <pc:docMk/>
            <pc:sldMk cId="3663195277" sldId="2147479564"/>
            <ac:spMk id="3" creationId="{BB4C9129-5A3E-6121-EA80-6A061C3C7FDE}"/>
          </ac:spMkLst>
        </pc:spChg>
        <pc:spChg chg="mod">
          <ac:chgData name="Sastry, Varsha" userId="ac80d159-c352-438a-bc99-3a60547c55a8" providerId="ADAL" clId="{4E498032-DE11-4ADB-ADBE-A7A978F2511B}" dt="2023-12-11T17:47:49.785" v="6086" actId="108"/>
          <ac:spMkLst>
            <pc:docMk/>
            <pc:sldMk cId="3663195277" sldId="2147479564"/>
            <ac:spMk id="5" creationId="{25CA3B3D-3FFD-6F65-4576-3A1F6AB62827}"/>
          </ac:spMkLst>
        </pc:spChg>
        <pc:spChg chg="mod">
          <ac:chgData name="Sastry, Varsha" userId="ac80d159-c352-438a-bc99-3a60547c55a8" providerId="ADAL" clId="{4E498032-DE11-4ADB-ADBE-A7A978F2511B}" dt="2023-12-11T17:48:45.975" v="6090" actId="2711"/>
          <ac:spMkLst>
            <pc:docMk/>
            <pc:sldMk cId="3663195277" sldId="2147479564"/>
            <ac:spMk id="16" creationId="{F1DCD47E-7346-97BE-344A-308E953095BE}"/>
          </ac:spMkLst>
        </pc:spChg>
      </pc:sldChg>
      <pc:sldChg chg="new del">
        <pc:chgData name="Sastry, Varsha" userId="ac80d159-c352-438a-bc99-3a60547c55a8" providerId="ADAL" clId="{4E498032-DE11-4ADB-ADBE-A7A978F2511B}" dt="2023-12-11T16:44:47.674" v="4660" actId="680"/>
        <pc:sldMkLst>
          <pc:docMk/>
          <pc:sldMk cId="3162808650" sldId="2147479565"/>
        </pc:sldMkLst>
      </pc:sldChg>
    </pc:docChg>
  </pc:docChgLst>
  <pc:docChgLst>
    <pc:chgData name="Afzal, Tanzeel" userId="4c1bee66-eab8-4968-ab2a-d2fc86f622d3" providerId="ADAL" clId="{2C721F74-AFDF-4E18-89FF-DAE87066ED89}"/>
    <pc:docChg chg="undo custSel modSld sldOrd">
      <pc:chgData name="Afzal, Tanzeel" userId="4c1bee66-eab8-4968-ab2a-d2fc86f622d3" providerId="ADAL" clId="{2C721F74-AFDF-4E18-89FF-DAE87066ED89}" dt="2024-01-01T05:02:53.353" v="5" actId="20578"/>
      <pc:docMkLst>
        <pc:docMk/>
      </pc:docMkLst>
      <pc:sldChg chg="modSp mod">
        <pc:chgData name="Afzal, Tanzeel" userId="4c1bee66-eab8-4968-ab2a-d2fc86f622d3" providerId="ADAL" clId="{2C721F74-AFDF-4E18-89FF-DAE87066ED89}" dt="2024-01-01T05:02:47.008" v="4" actId="20577"/>
        <pc:sldMkLst>
          <pc:docMk/>
          <pc:sldMk cId="0" sldId="2147469492"/>
        </pc:sldMkLst>
        <pc:spChg chg="mod">
          <ac:chgData name="Afzal, Tanzeel" userId="4c1bee66-eab8-4968-ab2a-d2fc86f622d3" providerId="ADAL" clId="{2C721F74-AFDF-4E18-89FF-DAE87066ED89}" dt="2024-01-01T05:02:47.008" v="4" actId="20577"/>
          <ac:spMkLst>
            <pc:docMk/>
            <pc:sldMk cId="0" sldId="2147469492"/>
            <ac:spMk id="400" creationId="{00000000-0000-0000-0000-000000000000}"/>
          </ac:spMkLst>
        </pc:spChg>
      </pc:sldChg>
      <pc:sldChg chg="modSp mod ord">
        <pc:chgData name="Afzal, Tanzeel" userId="4c1bee66-eab8-4968-ab2a-d2fc86f622d3" providerId="ADAL" clId="{2C721F74-AFDF-4E18-89FF-DAE87066ED89}" dt="2024-01-01T05:02:53.353" v="5" actId="20578"/>
        <pc:sldMkLst>
          <pc:docMk/>
          <pc:sldMk cId="1696513067" sldId="2147472113"/>
        </pc:sldMkLst>
        <pc:spChg chg="mod">
          <ac:chgData name="Afzal, Tanzeel" userId="4c1bee66-eab8-4968-ab2a-d2fc86f622d3" providerId="ADAL" clId="{2C721F74-AFDF-4E18-89FF-DAE87066ED89}" dt="2024-01-01T05:02:03.597" v="1" actId="1076"/>
          <ac:spMkLst>
            <pc:docMk/>
            <pc:sldMk cId="1696513067" sldId="2147472113"/>
            <ac:spMk id="2" creationId="{5DC71B97-E601-1664-91C6-B155737380CC}"/>
          </ac:spMkLst>
        </pc:spChg>
      </pc:sldChg>
    </pc:docChg>
  </pc:docChgLst>
  <pc:docChgLst>
    <pc:chgData name="Afzal, Tanzeel" userId="4c1bee66-eab8-4968-ab2a-d2fc86f622d3" providerId="ADAL" clId="{379C0618-42FE-451D-8FAA-3258774ED7D0}"/>
    <pc:docChg chg="undo redo custSel addSld delSld modSld sldOrd delMainMaster modMainMaster delSection modSection">
      <pc:chgData name="Afzal, Tanzeel" userId="4c1bee66-eab8-4968-ab2a-d2fc86f622d3" providerId="ADAL" clId="{379C0618-42FE-451D-8FAA-3258774ED7D0}" dt="2023-12-11T19:24:44.397" v="3344"/>
      <pc:docMkLst>
        <pc:docMk/>
      </pc:docMkLst>
      <pc:sldChg chg="add del">
        <pc:chgData name="Afzal, Tanzeel" userId="4c1bee66-eab8-4968-ab2a-d2fc86f622d3" providerId="ADAL" clId="{379C0618-42FE-451D-8FAA-3258774ED7D0}" dt="2023-12-11T12:35:32.871" v="400"/>
        <pc:sldMkLst>
          <pc:docMk/>
          <pc:sldMk cId="0" sldId="271"/>
        </pc:sldMkLst>
      </pc:sldChg>
      <pc:sldChg chg="del">
        <pc:chgData name="Afzal, Tanzeel" userId="4c1bee66-eab8-4968-ab2a-d2fc86f622d3" providerId="ADAL" clId="{379C0618-42FE-451D-8FAA-3258774ED7D0}" dt="2023-12-11T13:43:26.754" v="542" actId="47"/>
        <pc:sldMkLst>
          <pc:docMk/>
          <pc:sldMk cId="2807391899" sldId="298"/>
        </pc:sldMkLst>
      </pc:sldChg>
      <pc:sldChg chg="add">
        <pc:chgData name="Afzal, Tanzeel" userId="4c1bee66-eab8-4968-ab2a-d2fc86f622d3" providerId="ADAL" clId="{379C0618-42FE-451D-8FAA-3258774ED7D0}" dt="2023-12-11T15:59:31.813" v="1197"/>
        <pc:sldMkLst>
          <pc:docMk/>
          <pc:sldMk cId="1370184488" sldId="305"/>
        </pc:sldMkLst>
      </pc:sldChg>
      <pc:sldChg chg="del">
        <pc:chgData name="Afzal, Tanzeel" userId="4c1bee66-eab8-4968-ab2a-d2fc86f622d3" providerId="ADAL" clId="{379C0618-42FE-451D-8FAA-3258774ED7D0}" dt="2023-12-11T13:43:26.754" v="542" actId="47"/>
        <pc:sldMkLst>
          <pc:docMk/>
          <pc:sldMk cId="1353097368" sldId="321"/>
        </pc:sldMkLst>
      </pc:sldChg>
      <pc:sldChg chg="add">
        <pc:chgData name="Afzal, Tanzeel" userId="4c1bee66-eab8-4968-ab2a-d2fc86f622d3" providerId="ADAL" clId="{379C0618-42FE-451D-8FAA-3258774ED7D0}" dt="2023-12-11T17:49:46.291" v="1838"/>
        <pc:sldMkLst>
          <pc:docMk/>
          <pc:sldMk cId="3815032160" sldId="2147469415"/>
        </pc:sldMkLst>
      </pc:sldChg>
      <pc:sldChg chg="del">
        <pc:chgData name="Afzal, Tanzeel" userId="4c1bee66-eab8-4968-ab2a-d2fc86f622d3" providerId="ADAL" clId="{379C0618-42FE-451D-8FAA-3258774ED7D0}" dt="2023-12-11T17:49:42.968" v="1837" actId="2696"/>
        <pc:sldMkLst>
          <pc:docMk/>
          <pc:sldMk cId="4234092392" sldId="2147469415"/>
        </pc:sldMkLst>
      </pc:sldChg>
      <pc:sldChg chg="delCm">
        <pc:chgData name="Afzal, Tanzeel" userId="4c1bee66-eab8-4968-ab2a-d2fc86f622d3" providerId="ADAL" clId="{379C0618-42FE-451D-8FAA-3258774ED7D0}" dt="2023-12-11T18:17:17.106" v="2726"/>
        <pc:sldMkLst>
          <pc:docMk/>
          <pc:sldMk cId="1833341781" sldId="2147469427"/>
        </pc:sldMkLst>
      </pc:sldChg>
      <pc:sldChg chg="delCm">
        <pc:chgData name="Afzal, Tanzeel" userId="4c1bee66-eab8-4968-ab2a-d2fc86f622d3" providerId="ADAL" clId="{379C0618-42FE-451D-8FAA-3258774ED7D0}" dt="2023-12-11T18:17:54.008" v="2728"/>
        <pc:sldMkLst>
          <pc:docMk/>
          <pc:sldMk cId="2877793751" sldId="2147469429"/>
        </pc:sldMkLst>
      </pc:sldChg>
      <pc:sldChg chg="delCm">
        <pc:chgData name="Afzal, Tanzeel" userId="4c1bee66-eab8-4968-ab2a-d2fc86f622d3" providerId="ADAL" clId="{379C0618-42FE-451D-8FAA-3258774ED7D0}" dt="2023-12-11T18:17:48.124" v="2727"/>
        <pc:sldMkLst>
          <pc:docMk/>
          <pc:sldMk cId="1950388612" sldId="2147469442"/>
        </pc:sldMkLst>
      </pc:sldChg>
      <pc:sldChg chg="del">
        <pc:chgData name="Afzal, Tanzeel" userId="4c1bee66-eab8-4968-ab2a-d2fc86f622d3" providerId="ADAL" clId="{379C0618-42FE-451D-8FAA-3258774ED7D0}" dt="2023-12-11T13:43:26.754" v="542" actId="47"/>
        <pc:sldMkLst>
          <pc:docMk/>
          <pc:sldMk cId="2215301750" sldId="2147469477"/>
        </pc:sldMkLst>
      </pc:sldChg>
      <pc:sldChg chg="add del">
        <pc:chgData name="Afzal, Tanzeel" userId="4c1bee66-eab8-4968-ab2a-d2fc86f622d3" providerId="ADAL" clId="{379C0618-42FE-451D-8FAA-3258774ED7D0}" dt="2023-12-11T12:35:32.871" v="400"/>
        <pc:sldMkLst>
          <pc:docMk/>
          <pc:sldMk cId="2110413840" sldId="2147469488"/>
        </pc:sldMkLst>
      </pc:sldChg>
      <pc:sldChg chg="modSp mod">
        <pc:chgData name="Afzal, Tanzeel" userId="4c1bee66-eab8-4968-ab2a-d2fc86f622d3" providerId="ADAL" clId="{379C0618-42FE-451D-8FAA-3258774ED7D0}" dt="2023-12-11T12:09:36.047" v="289" actId="20577"/>
        <pc:sldMkLst>
          <pc:docMk/>
          <pc:sldMk cId="0" sldId="2147469492"/>
        </pc:sldMkLst>
        <pc:spChg chg="mod">
          <ac:chgData name="Afzal, Tanzeel" userId="4c1bee66-eab8-4968-ab2a-d2fc86f622d3" providerId="ADAL" clId="{379C0618-42FE-451D-8FAA-3258774ED7D0}" dt="2023-12-11T12:09:36.047" v="289" actId="20577"/>
          <ac:spMkLst>
            <pc:docMk/>
            <pc:sldMk cId="0" sldId="2147469492"/>
            <ac:spMk id="400" creationId="{00000000-0000-0000-0000-000000000000}"/>
          </ac:spMkLst>
        </pc:spChg>
        <pc:spChg chg="mod">
          <ac:chgData name="Afzal, Tanzeel" userId="4c1bee66-eab8-4968-ab2a-d2fc86f622d3" providerId="ADAL" clId="{379C0618-42FE-451D-8FAA-3258774ED7D0}" dt="2023-12-11T08:46:56.904" v="58" actId="20577"/>
          <ac:spMkLst>
            <pc:docMk/>
            <pc:sldMk cId="0" sldId="2147469492"/>
            <ac:spMk id="401" creationId="{00000000-0000-0000-0000-000000000000}"/>
          </ac:spMkLst>
        </pc:spChg>
      </pc:sldChg>
      <pc:sldChg chg="del">
        <pc:chgData name="Afzal, Tanzeel" userId="4c1bee66-eab8-4968-ab2a-d2fc86f622d3" providerId="ADAL" clId="{379C0618-42FE-451D-8FAA-3258774ED7D0}" dt="2023-12-11T14:35:45.690" v="755" actId="47"/>
        <pc:sldMkLst>
          <pc:docMk/>
          <pc:sldMk cId="3715117950" sldId="2147469514"/>
        </pc:sldMkLst>
      </pc:sldChg>
      <pc:sldChg chg="add del">
        <pc:chgData name="Afzal, Tanzeel" userId="4c1bee66-eab8-4968-ab2a-d2fc86f622d3" providerId="ADAL" clId="{379C0618-42FE-451D-8FAA-3258774ED7D0}" dt="2023-12-11T17:49:11.344" v="1834" actId="2696"/>
        <pc:sldMkLst>
          <pc:docMk/>
          <pc:sldMk cId="1677855615" sldId="2147469515"/>
        </pc:sldMkLst>
      </pc:sldChg>
      <pc:sldChg chg="del ord">
        <pc:chgData name="Afzal, Tanzeel" userId="4c1bee66-eab8-4968-ab2a-d2fc86f622d3" providerId="ADAL" clId="{379C0618-42FE-451D-8FAA-3258774ED7D0}" dt="2023-12-11T17:48:47.501" v="1831" actId="2696"/>
        <pc:sldMkLst>
          <pc:docMk/>
          <pc:sldMk cId="3901201864" sldId="2147469515"/>
        </pc:sldMkLst>
      </pc:sldChg>
      <pc:sldChg chg="del">
        <pc:chgData name="Afzal, Tanzeel" userId="4c1bee66-eab8-4968-ab2a-d2fc86f622d3" providerId="ADAL" clId="{379C0618-42FE-451D-8FAA-3258774ED7D0}" dt="2023-12-11T17:49:42.968" v="1837" actId="2696"/>
        <pc:sldMkLst>
          <pc:docMk/>
          <pc:sldMk cId="3321436401" sldId="2147469518"/>
        </pc:sldMkLst>
      </pc:sldChg>
      <pc:sldChg chg="add">
        <pc:chgData name="Afzal, Tanzeel" userId="4c1bee66-eab8-4968-ab2a-d2fc86f622d3" providerId="ADAL" clId="{379C0618-42FE-451D-8FAA-3258774ED7D0}" dt="2023-12-11T17:49:46.291" v="1838"/>
        <pc:sldMkLst>
          <pc:docMk/>
          <pc:sldMk cId="3520647913" sldId="2147469518"/>
        </pc:sldMkLst>
      </pc:sldChg>
      <pc:sldChg chg="ord">
        <pc:chgData name="Afzal, Tanzeel" userId="4c1bee66-eab8-4968-ab2a-d2fc86f622d3" providerId="ADAL" clId="{379C0618-42FE-451D-8FAA-3258774ED7D0}" dt="2023-12-11T17:48:20.202" v="1830"/>
        <pc:sldMkLst>
          <pc:docMk/>
          <pc:sldMk cId="2825169362" sldId="2147469519"/>
        </pc:sldMkLst>
      </pc:sldChg>
      <pc:sldChg chg="modSp add del mod">
        <pc:chgData name="Afzal, Tanzeel" userId="4c1bee66-eab8-4968-ab2a-d2fc86f622d3" providerId="ADAL" clId="{379C0618-42FE-451D-8FAA-3258774ED7D0}" dt="2023-12-11T12:35:32.871" v="400"/>
        <pc:sldMkLst>
          <pc:docMk/>
          <pc:sldMk cId="2479490326" sldId="2147469524"/>
        </pc:sldMkLst>
        <pc:spChg chg="mod">
          <ac:chgData name="Afzal, Tanzeel" userId="4c1bee66-eab8-4968-ab2a-d2fc86f622d3" providerId="ADAL" clId="{379C0618-42FE-451D-8FAA-3258774ED7D0}" dt="2023-12-11T12:35:32.871" v="400"/>
          <ac:spMkLst>
            <pc:docMk/>
            <pc:sldMk cId="2479490326" sldId="2147469524"/>
            <ac:spMk id="45" creationId="{3D6B7FAB-DA28-4608-B7CA-F8DF7CE1746A}"/>
          </ac:spMkLst>
        </pc:spChg>
      </pc:sldChg>
      <pc:sldChg chg="add del">
        <pc:chgData name="Afzal, Tanzeel" userId="4c1bee66-eab8-4968-ab2a-d2fc86f622d3" providerId="ADAL" clId="{379C0618-42FE-451D-8FAA-3258774ED7D0}" dt="2023-12-11T12:35:32.871" v="400"/>
        <pc:sldMkLst>
          <pc:docMk/>
          <pc:sldMk cId="1839214940" sldId="2147469525"/>
        </pc:sldMkLst>
      </pc:sldChg>
      <pc:sldChg chg="modSp mod delCm modCm">
        <pc:chgData name="Afzal, Tanzeel" userId="4c1bee66-eab8-4968-ab2a-d2fc86f622d3" providerId="ADAL" clId="{379C0618-42FE-451D-8FAA-3258774ED7D0}" dt="2023-12-11T18:47:38.868" v="2904"/>
        <pc:sldMkLst>
          <pc:docMk/>
          <pc:sldMk cId="2120408574" sldId="2147469533"/>
        </pc:sldMkLst>
        <pc:spChg chg="mod">
          <ac:chgData name="Afzal, Tanzeel" userId="4c1bee66-eab8-4968-ab2a-d2fc86f622d3" providerId="ADAL" clId="{379C0618-42FE-451D-8FAA-3258774ED7D0}" dt="2023-12-11T18:47:31.465" v="2903" actId="313"/>
          <ac:spMkLst>
            <pc:docMk/>
            <pc:sldMk cId="2120408574" sldId="2147469533"/>
            <ac:spMk id="103" creationId="{13A70E4A-7526-418D-A58D-6272C83D4B21}"/>
          </ac:spMkLst>
        </pc:spChg>
      </pc:sldChg>
      <pc:sldChg chg="del">
        <pc:chgData name="Afzal, Tanzeel" userId="4c1bee66-eab8-4968-ab2a-d2fc86f622d3" providerId="ADAL" clId="{379C0618-42FE-451D-8FAA-3258774ED7D0}" dt="2023-12-11T13:43:26.754" v="542" actId="47"/>
        <pc:sldMkLst>
          <pc:docMk/>
          <pc:sldMk cId="2097672410" sldId="2147469536"/>
        </pc:sldMkLst>
      </pc:sldChg>
      <pc:sldChg chg="del ord">
        <pc:chgData name="Afzal, Tanzeel" userId="4c1bee66-eab8-4968-ab2a-d2fc86f622d3" providerId="ADAL" clId="{379C0618-42FE-451D-8FAA-3258774ED7D0}" dt="2023-12-11T17:48:47.501" v="1831" actId="2696"/>
        <pc:sldMkLst>
          <pc:docMk/>
          <pc:sldMk cId="1159062298" sldId="2147469538"/>
        </pc:sldMkLst>
      </pc:sldChg>
      <pc:sldChg chg="add">
        <pc:chgData name="Afzal, Tanzeel" userId="4c1bee66-eab8-4968-ab2a-d2fc86f622d3" providerId="ADAL" clId="{379C0618-42FE-451D-8FAA-3258774ED7D0}" dt="2023-12-11T17:48:53.243" v="1832"/>
        <pc:sldMkLst>
          <pc:docMk/>
          <pc:sldMk cId="2225119885" sldId="2147469538"/>
        </pc:sldMkLst>
      </pc:sldChg>
      <pc:sldChg chg="add">
        <pc:chgData name="Afzal, Tanzeel" userId="4c1bee66-eab8-4968-ab2a-d2fc86f622d3" providerId="ADAL" clId="{379C0618-42FE-451D-8FAA-3258774ED7D0}" dt="2023-12-11T17:48:53.243" v="1832"/>
        <pc:sldMkLst>
          <pc:docMk/>
          <pc:sldMk cId="1797203977" sldId="2147469539"/>
        </pc:sldMkLst>
      </pc:sldChg>
      <pc:sldChg chg="del ord">
        <pc:chgData name="Afzal, Tanzeel" userId="4c1bee66-eab8-4968-ab2a-d2fc86f622d3" providerId="ADAL" clId="{379C0618-42FE-451D-8FAA-3258774ED7D0}" dt="2023-12-11T17:48:47.501" v="1831" actId="2696"/>
        <pc:sldMkLst>
          <pc:docMk/>
          <pc:sldMk cId="2772543117" sldId="2147469539"/>
        </pc:sldMkLst>
      </pc:sldChg>
      <pc:sldChg chg="add del">
        <pc:chgData name="Afzal, Tanzeel" userId="4c1bee66-eab8-4968-ab2a-d2fc86f622d3" providerId="ADAL" clId="{379C0618-42FE-451D-8FAA-3258774ED7D0}" dt="2023-12-11T17:49:18.124" v="1835" actId="2696"/>
        <pc:sldMkLst>
          <pc:docMk/>
          <pc:sldMk cId="1458700047" sldId="2147469541"/>
        </pc:sldMkLst>
      </pc:sldChg>
      <pc:sldChg chg="add">
        <pc:chgData name="Afzal, Tanzeel" userId="4c1bee66-eab8-4968-ab2a-d2fc86f622d3" providerId="ADAL" clId="{379C0618-42FE-451D-8FAA-3258774ED7D0}" dt="2023-12-11T17:49:21.842" v="1836"/>
        <pc:sldMkLst>
          <pc:docMk/>
          <pc:sldMk cId="2371961389" sldId="2147469541"/>
        </pc:sldMkLst>
      </pc:sldChg>
      <pc:sldChg chg="del">
        <pc:chgData name="Afzal, Tanzeel" userId="4c1bee66-eab8-4968-ab2a-d2fc86f622d3" providerId="ADAL" clId="{379C0618-42FE-451D-8FAA-3258774ED7D0}" dt="2023-12-11T17:49:42.968" v="1837" actId="2696"/>
        <pc:sldMkLst>
          <pc:docMk/>
          <pc:sldMk cId="3015722704" sldId="2147469543"/>
        </pc:sldMkLst>
      </pc:sldChg>
      <pc:sldChg chg="add">
        <pc:chgData name="Afzal, Tanzeel" userId="4c1bee66-eab8-4968-ab2a-d2fc86f622d3" providerId="ADAL" clId="{379C0618-42FE-451D-8FAA-3258774ED7D0}" dt="2023-12-11T17:49:46.291" v="1838"/>
        <pc:sldMkLst>
          <pc:docMk/>
          <pc:sldMk cId="3341327640" sldId="2147469543"/>
        </pc:sldMkLst>
      </pc:sldChg>
      <pc:sldChg chg="del">
        <pc:chgData name="Afzal, Tanzeel" userId="4c1bee66-eab8-4968-ab2a-d2fc86f622d3" providerId="ADAL" clId="{379C0618-42FE-451D-8FAA-3258774ED7D0}" dt="2023-12-11T17:49:42.968" v="1837" actId="2696"/>
        <pc:sldMkLst>
          <pc:docMk/>
          <pc:sldMk cId="1077025169" sldId="2147469544"/>
        </pc:sldMkLst>
      </pc:sldChg>
      <pc:sldChg chg="add">
        <pc:chgData name="Afzal, Tanzeel" userId="4c1bee66-eab8-4968-ab2a-d2fc86f622d3" providerId="ADAL" clId="{379C0618-42FE-451D-8FAA-3258774ED7D0}" dt="2023-12-11T17:49:46.291" v="1838"/>
        <pc:sldMkLst>
          <pc:docMk/>
          <pc:sldMk cId="2890209600" sldId="2147469544"/>
        </pc:sldMkLst>
      </pc:sldChg>
      <pc:sldChg chg="add">
        <pc:chgData name="Afzal, Tanzeel" userId="4c1bee66-eab8-4968-ab2a-d2fc86f622d3" providerId="ADAL" clId="{379C0618-42FE-451D-8FAA-3258774ED7D0}" dt="2023-12-11T17:49:46.291" v="1838"/>
        <pc:sldMkLst>
          <pc:docMk/>
          <pc:sldMk cId="1805013628" sldId="2147469545"/>
        </pc:sldMkLst>
      </pc:sldChg>
      <pc:sldChg chg="del">
        <pc:chgData name="Afzal, Tanzeel" userId="4c1bee66-eab8-4968-ab2a-d2fc86f622d3" providerId="ADAL" clId="{379C0618-42FE-451D-8FAA-3258774ED7D0}" dt="2023-12-11T17:49:42.968" v="1837" actId="2696"/>
        <pc:sldMkLst>
          <pc:docMk/>
          <pc:sldMk cId="2534763873" sldId="2147469545"/>
        </pc:sldMkLst>
      </pc:sldChg>
      <pc:sldChg chg="del">
        <pc:chgData name="Afzal, Tanzeel" userId="4c1bee66-eab8-4968-ab2a-d2fc86f622d3" providerId="ADAL" clId="{379C0618-42FE-451D-8FAA-3258774ED7D0}" dt="2023-12-11T17:49:42.968" v="1837" actId="2696"/>
        <pc:sldMkLst>
          <pc:docMk/>
          <pc:sldMk cId="1128658512" sldId="2147469546"/>
        </pc:sldMkLst>
      </pc:sldChg>
      <pc:sldChg chg="add">
        <pc:chgData name="Afzal, Tanzeel" userId="4c1bee66-eab8-4968-ab2a-d2fc86f622d3" providerId="ADAL" clId="{379C0618-42FE-451D-8FAA-3258774ED7D0}" dt="2023-12-11T17:49:46.291" v="1838"/>
        <pc:sldMkLst>
          <pc:docMk/>
          <pc:sldMk cId="1396595397" sldId="2147469546"/>
        </pc:sldMkLst>
      </pc:sldChg>
      <pc:sldChg chg="add">
        <pc:chgData name="Afzal, Tanzeel" userId="4c1bee66-eab8-4968-ab2a-d2fc86f622d3" providerId="ADAL" clId="{379C0618-42FE-451D-8FAA-3258774ED7D0}" dt="2023-12-11T17:49:46.291" v="1838"/>
        <pc:sldMkLst>
          <pc:docMk/>
          <pc:sldMk cId="1122217707" sldId="2147469547"/>
        </pc:sldMkLst>
      </pc:sldChg>
      <pc:sldChg chg="del">
        <pc:chgData name="Afzal, Tanzeel" userId="4c1bee66-eab8-4968-ab2a-d2fc86f622d3" providerId="ADAL" clId="{379C0618-42FE-451D-8FAA-3258774ED7D0}" dt="2023-12-11T17:49:42.968" v="1837" actId="2696"/>
        <pc:sldMkLst>
          <pc:docMk/>
          <pc:sldMk cId="3995354141" sldId="2147469547"/>
        </pc:sldMkLst>
      </pc:sldChg>
      <pc:sldChg chg="add">
        <pc:chgData name="Afzal, Tanzeel" userId="4c1bee66-eab8-4968-ab2a-d2fc86f622d3" providerId="ADAL" clId="{379C0618-42FE-451D-8FAA-3258774ED7D0}" dt="2023-12-11T17:49:46.291" v="1838"/>
        <pc:sldMkLst>
          <pc:docMk/>
          <pc:sldMk cId="70155409" sldId="2147469548"/>
        </pc:sldMkLst>
      </pc:sldChg>
      <pc:sldChg chg="del">
        <pc:chgData name="Afzal, Tanzeel" userId="4c1bee66-eab8-4968-ab2a-d2fc86f622d3" providerId="ADAL" clId="{379C0618-42FE-451D-8FAA-3258774ED7D0}" dt="2023-12-11T17:49:42.968" v="1837" actId="2696"/>
        <pc:sldMkLst>
          <pc:docMk/>
          <pc:sldMk cId="1544393595" sldId="2147469548"/>
        </pc:sldMkLst>
      </pc:sldChg>
      <pc:sldChg chg="add">
        <pc:chgData name="Afzal, Tanzeel" userId="4c1bee66-eab8-4968-ab2a-d2fc86f622d3" providerId="ADAL" clId="{379C0618-42FE-451D-8FAA-3258774ED7D0}" dt="2023-12-11T17:49:46.291" v="1838"/>
        <pc:sldMkLst>
          <pc:docMk/>
          <pc:sldMk cId="3100116633" sldId="2147469550"/>
        </pc:sldMkLst>
      </pc:sldChg>
      <pc:sldChg chg="del">
        <pc:chgData name="Afzal, Tanzeel" userId="4c1bee66-eab8-4968-ab2a-d2fc86f622d3" providerId="ADAL" clId="{379C0618-42FE-451D-8FAA-3258774ED7D0}" dt="2023-12-11T17:49:42.968" v="1837" actId="2696"/>
        <pc:sldMkLst>
          <pc:docMk/>
          <pc:sldMk cId="3597125742" sldId="2147469550"/>
        </pc:sldMkLst>
      </pc:sldChg>
      <pc:sldChg chg="del">
        <pc:chgData name="Afzal, Tanzeel" userId="4c1bee66-eab8-4968-ab2a-d2fc86f622d3" providerId="ADAL" clId="{379C0618-42FE-451D-8FAA-3258774ED7D0}" dt="2023-12-11T13:43:26.754" v="542" actId="47"/>
        <pc:sldMkLst>
          <pc:docMk/>
          <pc:sldMk cId="3815480935" sldId="2147469553"/>
        </pc:sldMkLst>
      </pc:sldChg>
      <pc:sldChg chg="del">
        <pc:chgData name="Afzal, Tanzeel" userId="4c1bee66-eab8-4968-ab2a-d2fc86f622d3" providerId="ADAL" clId="{379C0618-42FE-451D-8FAA-3258774ED7D0}" dt="2023-12-11T13:43:26.754" v="542" actId="47"/>
        <pc:sldMkLst>
          <pc:docMk/>
          <pc:sldMk cId="733982517" sldId="2147469554"/>
        </pc:sldMkLst>
      </pc:sldChg>
      <pc:sldChg chg="del">
        <pc:chgData name="Afzal, Tanzeel" userId="4c1bee66-eab8-4968-ab2a-d2fc86f622d3" providerId="ADAL" clId="{379C0618-42FE-451D-8FAA-3258774ED7D0}" dt="2023-12-11T13:43:26.754" v="542" actId="47"/>
        <pc:sldMkLst>
          <pc:docMk/>
          <pc:sldMk cId="396122554" sldId="2147469567"/>
        </pc:sldMkLst>
      </pc:sldChg>
      <pc:sldChg chg="del">
        <pc:chgData name="Afzal, Tanzeel" userId="4c1bee66-eab8-4968-ab2a-d2fc86f622d3" providerId="ADAL" clId="{379C0618-42FE-451D-8FAA-3258774ED7D0}" dt="2023-12-11T13:43:26.754" v="542" actId="47"/>
        <pc:sldMkLst>
          <pc:docMk/>
          <pc:sldMk cId="1164437480" sldId="2147469568"/>
        </pc:sldMkLst>
      </pc:sldChg>
      <pc:sldChg chg="ord">
        <pc:chgData name="Afzal, Tanzeel" userId="4c1bee66-eab8-4968-ab2a-d2fc86f622d3" providerId="ADAL" clId="{379C0618-42FE-451D-8FAA-3258774ED7D0}" dt="2023-12-11T17:48:20.202" v="1830"/>
        <pc:sldMkLst>
          <pc:docMk/>
          <pc:sldMk cId="3832139077" sldId="2147469585"/>
        </pc:sldMkLst>
      </pc:sldChg>
      <pc:sldChg chg="addSp delSp modSp mod ord">
        <pc:chgData name="Afzal, Tanzeel" userId="4c1bee66-eab8-4968-ab2a-d2fc86f622d3" providerId="ADAL" clId="{379C0618-42FE-451D-8FAA-3258774ED7D0}" dt="2023-12-11T14:34:52.185" v="745" actId="20578"/>
        <pc:sldMkLst>
          <pc:docMk/>
          <pc:sldMk cId="1060625888" sldId="2147469628"/>
        </pc:sldMkLst>
        <pc:spChg chg="del">
          <ac:chgData name="Afzal, Tanzeel" userId="4c1bee66-eab8-4968-ab2a-d2fc86f622d3" providerId="ADAL" clId="{379C0618-42FE-451D-8FAA-3258774ED7D0}" dt="2023-12-11T08:44:38.685" v="2" actId="478"/>
          <ac:spMkLst>
            <pc:docMk/>
            <pc:sldMk cId="1060625888" sldId="2147469628"/>
            <ac:spMk id="2" creationId="{22C9D925-D8D2-8026-EAA0-6166E1ACEC20}"/>
          </ac:spMkLst>
        </pc:spChg>
        <pc:spChg chg="mod">
          <ac:chgData name="Afzal, Tanzeel" userId="4c1bee66-eab8-4968-ab2a-d2fc86f622d3" providerId="ADAL" clId="{379C0618-42FE-451D-8FAA-3258774ED7D0}" dt="2023-12-11T08:44:33.670" v="1"/>
          <ac:spMkLst>
            <pc:docMk/>
            <pc:sldMk cId="1060625888" sldId="2147469628"/>
            <ac:spMk id="64" creationId="{63564B59-D43F-70E3-47C4-ADB3B5CCAF6E}"/>
          </ac:spMkLst>
        </pc:spChg>
        <pc:spChg chg="add mod">
          <ac:chgData name="Afzal, Tanzeel" userId="4c1bee66-eab8-4968-ab2a-d2fc86f622d3" providerId="ADAL" clId="{379C0618-42FE-451D-8FAA-3258774ED7D0}" dt="2023-12-11T08:44:33.670" v="1"/>
          <ac:spMkLst>
            <pc:docMk/>
            <pc:sldMk cId="1060625888" sldId="2147469628"/>
            <ac:spMk id="66" creationId="{B2A34F81-550C-7FC1-B9A7-DDAC4F8DF9F6}"/>
          </ac:spMkLst>
        </pc:spChg>
        <pc:spChg chg="add mod">
          <ac:chgData name="Afzal, Tanzeel" userId="4c1bee66-eab8-4968-ab2a-d2fc86f622d3" providerId="ADAL" clId="{379C0618-42FE-451D-8FAA-3258774ED7D0}" dt="2023-12-11T08:44:33.670" v="1"/>
          <ac:spMkLst>
            <pc:docMk/>
            <pc:sldMk cId="1060625888" sldId="2147469628"/>
            <ac:spMk id="67" creationId="{9CF07AA1-0ED0-8225-8AA8-7CBB8ACB55A8}"/>
          </ac:spMkLst>
        </pc:spChg>
        <pc:spChg chg="add mod">
          <ac:chgData name="Afzal, Tanzeel" userId="4c1bee66-eab8-4968-ab2a-d2fc86f622d3" providerId="ADAL" clId="{379C0618-42FE-451D-8FAA-3258774ED7D0}" dt="2023-12-11T08:44:33.670" v="1"/>
          <ac:spMkLst>
            <pc:docMk/>
            <pc:sldMk cId="1060625888" sldId="2147469628"/>
            <ac:spMk id="68" creationId="{4155CB17-158A-4771-BDAB-ABC0E43E0EBD}"/>
          </ac:spMkLst>
        </pc:spChg>
        <pc:spChg chg="add mod">
          <ac:chgData name="Afzal, Tanzeel" userId="4c1bee66-eab8-4968-ab2a-d2fc86f622d3" providerId="ADAL" clId="{379C0618-42FE-451D-8FAA-3258774ED7D0}" dt="2023-12-11T08:44:33.670" v="1"/>
          <ac:spMkLst>
            <pc:docMk/>
            <pc:sldMk cId="1060625888" sldId="2147469628"/>
            <ac:spMk id="69" creationId="{DBD3B282-D8B4-25BB-B67E-897AF4A92BC7}"/>
          </ac:spMkLst>
        </pc:spChg>
        <pc:spChg chg="add mod">
          <ac:chgData name="Afzal, Tanzeel" userId="4c1bee66-eab8-4968-ab2a-d2fc86f622d3" providerId="ADAL" clId="{379C0618-42FE-451D-8FAA-3258774ED7D0}" dt="2023-12-11T08:44:33.670" v="1"/>
          <ac:spMkLst>
            <pc:docMk/>
            <pc:sldMk cId="1060625888" sldId="2147469628"/>
            <ac:spMk id="70" creationId="{E5A4B0AF-B497-AEAF-9038-3F606ADEE7ED}"/>
          </ac:spMkLst>
        </pc:spChg>
        <pc:spChg chg="add mod">
          <ac:chgData name="Afzal, Tanzeel" userId="4c1bee66-eab8-4968-ab2a-d2fc86f622d3" providerId="ADAL" clId="{379C0618-42FE-451D-8FAA-3258774ED7D0}" dt="2023-12-11T08:44:33.670" v="1"/>
          <ac:spMkLst>
            <pc:docMk/>
            <pc:sldMk cId="1060625888" sldId="2147469628"/>
            <ac:spMk id="452" creationId="{36A74CA6-2EEB-B30A-0F3C-C3B4C1ED6C2A}"/>
          </ac:spMkLst>
        </pc:spChg>
        <pc:spChg chg="mod">
          <ac:chgData name="Afzal, Tanzeel" userId="4c1bee66-eab8-4968-ab2a-d2fc86f622d3" providerId="ADAL" clId="{379C0618-42FE-451D-8FAA-3258774ED7D0}" dt="2023-12-11T08:44:33.670" v="1"/>
          <ac:spMkLst>
            <pc:docMk/>
            <pc:sldMk cId="1060625888" sldId="2147469628"/>
            <ac:spMk id="454" creationId="{C5E14F5E-23AC-90FB-551F-1CAA9C7FBF11}"/>
          </ac:spMkLst>
        </pc:spChg>
        <pc:spChg chg="mod">
          <ac:chgData name="Afzal, Tanzeel" userId="4c1bee66-eab8-4968-ab2a-d2fc86f622d3" providerId="ADAL" clId="{379C0618-42FE-451D-8FAA-3258774ED7D0}" dt="2023-12-11T08:44:33.670" v="1"/>
          <ac:spMkLst>
            <pc:docMk/>
            <pc:sldMk cId="1060625888" sldId="2147469628"/>
            <ac:spMk id="456" creationId="{C1D4159E-7CAB-0515-B589-627E9AA5BB57}"/>
          </ac:spMkLst>
        </pc:spChg>
        <pc:spChg chg="mod">
          <ac:chgData name="Afzal, Tanzeel" userId="4c1bee66-eab8-4968-ab2a-d2fc86f622d3" providerId="ADAL" clId="{379C0618-42FE-451D-8FAA-3258774ED7D0}" dt="2023-12-11T08:44:33.670" v="1"/>
          <ac:spMkLst>
            <pc:docMk/>
            <pc:sldMk cId="1060625888" sldId="2147469628"/>
            <ac:spMk id="457" creationId="{6A4B58B4-71E6-FDDC-A49E-16626B37174F}"/>
          </ac:spMkLst>
        </pc:spChg>
        <pc:spChg chg="add mod">
          <ac:chgData name="Afzal, Tanzeel" userId="4c1bee66-eab8-4968-ab2a-d2fc86f622d3" providerId="ADAL" clId="{379C0618-42FE-451D-8FAA-3258774ED7D0}" dt="2023-12-11T08:44:33.670" v="1"/>
          <ac:spMkLst>
            <pc:docMk/>
            <pc:sldMk cId="1060625888" sldId="2147469628"/>
            <ac:spMk id="458" creationId="{88CBE7B4-E535-72F1-8983-D8BBBBA59337}"/>
          </ac:spMkLst>
        </pc:spChg>
        <pc:spChg chg="mod">
          <ac:chgData name="Afzal, Tanzeel" userId="4c1bee66-eab8-4968-ab2a-d2fc86f622d3" providerId="ADAL" clId="{379C0618-42FE-451D-8FAA-3258774ED7D0}" dt="2023-12-11T08:44:33.670" v="1"/>
          <ac:spMkLst>
            <pc:docMk/>
            <pc:sldMk cId="1060625888" sldId="2147469628"/>
            <ac:spMk id="460" creationId="{5EC81108-A120-F3DD-A4A5-85C894AF76C1}"/>
          </ac:spMkLst>
        </pc:spChg>
        <pc:spChg chg="mod">
          <ac:chgData name="Afzal, Tanzeel" userId="4c1bee66-eab8-4968-ab2a-d2fc86f622d3" providerId="ADAL" clId="{379C0618-42FE-451D-8FAA-3258774ED7D0}" dt="2023-12-11T08:44:33.670" v="1"/>
          <ac:spMkLst>
            <pc:docMk/>
            <pc:sldMk cId="1060625888" sldId="2147469628"/>
            <ac:spMk id="462" creationId="{78E99EA6-8161-B9DC-34CC-11AEB9E5D77C}"/>
          </ac:spMkLst>
        </pc:spChg>
        <pc:spChg chg="mod">
          <ac:chgData name="Afzal, Tanzeel" userId="4c1bee66-eab8-4968-ab2a-d2fc86f622d3" providerId="ADAL" clId="{379C0618-42FE-451D-8FAA-3258774ED7D0}" dt="2023-12-11T08:44:33.670" v="1"/>
          <ac:spMkLst>
            <pc:docMk/>
            <pc:sldMk cId="1060625888" sldId="2147469628"/>
            <ac:spMk id="463" creationId="{81A91D4B-0149-BCAC-A926-F591CE6EBDF0}"/>
          </ac:spMkLst>
        </pc:spChg>
        <pc:spChg chg="add mod">
          <ac:chgData name="Afzal, Tanzeel" userId="4c1bee66-eab8-4968-ab2a-d2fc86f622d3" providerId="ADAL" clId="{379C0618-42FE-451D-8FAA-3258774ED7D0}" dt="2023-12-11T08:44:33.670" v="1"/>
          <ac:spMkLst>
            <pc:docMk/>
            <pc:sldMk cId="1060625888" sldId="2147469628"/>
            <ac:spMk id="464" creationId="{3F3F3791-B5BC-4BF4-94C7-09C8766EB5BA}"/>
          </ac:spMkLst>
        </pc:spChg>
        <pc:spChg chg="mod">
          <ac:chgData name="Afzal, Tanzeel" userId="4c1bee66-eab8-4968-ab2a-d2fc86f622d3" providerId="ADAL" clId="{379C0618-42FE-451D-8FAA-3258774ED7D0}" dt="2023-12-11T08:44:33.670" v="1"/>
          <ac:spMkLst>
            <pc:docMk/>
            <pc:sldMk cId="1060625888" sldId="2147469628"/>
            <ac:spMk id="466" creationId="{FDAE8B03-29C2-7797-BAD1-08A9A74A9EF9}"/>
          </ac:spMkLst>
        </pc:spChg>
        <pc:spChg chg="mod">
          <ac:chgData name="Afzal, Tanzeel" userId="4c1bee66-eab8-4968-ab2a-d2fc86f622d3" providerId="ADAL" clId="{379C0618-42FE-451D-8FAA-3258774ED7D0}" dt="2023-12-11T08:44:33.670" v="1"/>
          <ac:spMkLst>
            <pc:docMk/>
            <pc:sldMk cId="1060625888" sldId="2147469628"/>
            <ac:spMk id="468" creationId="{1DC93F38-D8E2-2033-E53E-56C32A2920F0}"/>
          </ac:spMkLst>
        </pc:spChg>
        <pc:spChg chg="mod">
          <ac:chgData name="Afzal, Tanzeel" userId="4c1bee66-eab8-4968-ab2a-d2fc86f622d3" providerId="ADAL" clId="{379C0618-42FE-451D-8FAA-3258774ED7D0}" dt="2023-12-11T08:44:33.670" v="1"/>
          <ac:spMkLst>
            <pc:docMk/>
            <pc:sldMk cId="1060625888" sldId="2147469628"/>
            <ac:spMk id="469" creationId="{310A465B-3246-EC58-25F8-858768296236}"/>
          </ac:spMkLst>
        </pc:spChg>
        <pc:spChg chg="add mod">
          <ac:chgData name="Afzal, Tanzeel" userId="4c1bee66-eab8-4968-ab2a-d2fc86f622d3" providerId="ADAL" clId="{379C0618-42FE-451D-8FAA-3258774ED7D0}" dt="2023-12-11T08:44:33.670" v="1"/>
          <ac:spMkLst>
            <pc:docMk/>
            <pc:sldMk cId="1060625888" sldId="2147469628"/>
            <ac:spMk id="470" creationId="{EF7D1D61-7AC2-DE8E-F889-798865142487}"/>
          </ac:spMkLst>
        </pc:spChg>
        <pc:spChg chg="add mod">
          <ac:chgData name="Afzal, Tanzeel" userId="4c1bee66-eab8-4968-ab2a-d2fc86f622d3" providerId="ADAL" clId="{379C0618-42FE-451D-8FAA-3258774ED7D0}" dt="2023-12-11T08:44:33.670" v="1"/>
          <ac:spMkLst>
            <pc:docMk/>
            <pc:sldMk cId="1060625888" sldId="2147469628"/>
            <ac:spMk id="471" creationId="{38A6EDD1-DA80-5DC6-85A6-041A3F952DF6}"/>
          </ac:spMkLst>
        </pc:spChg>
        <pc:spChg chg="mod">
          <ac:chgData name="Afzal, Tanzeel" userId="4c1bee66-eab8-4968-ab2a-d2fc86f622d3" providerId="ADAL" clId="{379C0618-42FE-451D-8FAA-3258774ED7D0}" dt="2023-12-11T08:44:33.670" v="1"/>
          <ac:spMkLst>
            <pc:docMk/>
            <pc:sldMk cId="1060625888" sldId="2147469628"/>
            <ac:spMk id="473" creationId="{2C5298D7-91A3-6896-FCC2-C68DD7B44D4D}"/>
          </ac:spMkLst>
        </pc:spChg>
        <pc:spChg chg="mod">
          <ac:chgData name="Afzal, Tanzeel" userId="4c1bee66-eab8-4968-ab2a-d2fc86f622d3" providerId="ADAL" clId="{379C0618-42FE-451D-8FAA-3258774ED7D0}" dt="2023-12-11T08:44:33.670" v="1"/>
          <ac:spMkLst>
            <pc:docMk/>
            <pc:sldMk cId="1060625888" sldId="2147469628"/>
            <ac:spMk id="474" creationId="{8F6207A2-AD10-AF3B-E250-C0104199F6E7}"/>
          </ac:spMkLst>
        </pc:spChg>
        <pc:spChg chg="add mod">
          <ac:chgData name="Afzal, Tanzeel" userId="4c1bee66-eab8-4968-ab2a-d2fc86f622d3" providerId="ADAL" clId="{379C0618-42FE-451D-8FAA-3258774ED7D0}" dt="2023-12-11T08:44:33.670" v="1"/>
          <ac:spMkLst>
            <pc:docMk/>
            <pc:sldMk cId="1060625888" sldId="2147469628"/>
            <ac:spMk id="475" creationId="{44678160-0C14-A2A0-F238-F841F443DEA5}"/>
          </ac:spMkLst>
        </pc:spChg>
        <pc:spChg chg="mod">
          <ac:chgData name="Afzal, Tanzeel" userId="4c1bee66-eab8-4968-ab2a-d2fc86f622d3" providerId="ADAL" clId="{379C0618-42FE-451D-8FAA-3258774ED7D0}" dt="2023-12-11T08:44:33.670" v="1"/>
          <ac:spMkLst>
            <pc:docMk/>
            <pc:sldMk cId="1060625888" sldId="2147469628"/>
            <ac:spMk id="477" creationId="{D825DFE6-CF25-7B94-810C-D447F994EC81}"/>
          </ac:spMkLst>
        </pc:spChg>
        <pc:spChg chg="mod">
          <ac:chgData name="Afzal, Tanzeel" userId="4c1bee66-eab8-4968-ab2a-d2fc86f622d3" providerId="ADAL" clId="{379C0618-42FE-451D-8FAA-3258774ED7D0}" dt="2023-12-11T08:44:33.670" v="1"/>
          <ac:spMkLst>
            <pc:docMk/>
            <pc:sldMk cId="1060625888" sldId="2147469628"/>
            <ac:spMk id="486" creationId="{03FC55CE-5029-78CA-A3DC-60E328D02C5E}"/>
          </ac:spMkLst>
        </pc:spChg>
        <pc:spChg chg="mod">
          <ac:chgData name="Afzal, Tanzeel" userId="4c1bee66-eab8-4968-ab2a-d2fc86f622d3" providerId="ADAL" clId="{379C0618-42FE-451D-8FAA-3258774ED7D0}" dt="2023-12-11T08:44:33.670" v="1"/>
          <ac:spMkLst>
            <pc:docMk/>
            <pc:sldMk cId="1060625888" sldId="2147469628"/>
            <ac:spMk id="487" creationId="{D322FA96-60A1-C6FB-8F36-1E12CAE2D08F}"/>
          </ac:spMkLst>
        </pc:spChg>
        <pc:spChg chg="add mod">
          <ac:chgData name="Afzal, Tanzeel" userId="4c1bee66-eab8-4968-ab2a-d2fc86f622d3" providerId="ADAL" clId="{379C0618-42FE-451D-8FAA-3258774ED7D0}" dt="2023-12-11T08:44:33.670" v="1"/>
          <ac:spMkLst>
            <pc:docMk/>
            <pc:sldMk cId="1060625888" sldId="2147469628"/>
            <ac:spMk id="488" creationId="{59A09EE9-D4DD-8416-2031-BF86AE30E098}"/>
          </ac:spMkLst>
        </pc:spChg>
        <pc:spChg chg="mod">
          <ac:chgData name="Afzal, Tanzeel" userId="4c1bee66-eab8-4968-ab2a-d2fc86f622d3" providerId="ADAL" clId="{379C0618-42FE-451D-8FAA-3258774ED7D0}" dt="2023-12-11T08:44:33.670" v="1"/>
          <ac:spMkLst>
            <pc:docMk/>
            <pc:sldMk cId="1060625888" sldId="2147469628"/>
            <ac:spMk id="490" creationId="{FF2296C8-6C97-3A3B-4014-EC3D1BCBEF38}"/>
          </ac:spMkLst>
        </pc:spChg>
        <pc:spChg chg="mod">
          <ac:chgData name="Afzal, Tanzeel" userId="4c1bee66-eab8-4968-ab2a-d2fc86f622d3" providerId="ADAL" clId="{379C0618-42FE-451D-8FAA-3258774ED7D0}" dt="2023-12-11T08:44:33.670" v="1"/>
          <ac:spMkLst>
            <pc:docMk/>
            <pc:sldMk cId="1060625888" sldId="2147469628"/>
            <ac:spMk id="492" creationId="{C7C6ADA7-D272-1D69-91F1-B195C2BFAAE8}"/>
          </ac:spMkLst>
        </pc:spChg>
        <pc:spChg chg="mod">
          <ac:chgData name="Afzal, Tanzeel" userId="4c1bee66-eab8-4968-ab2a-d2fc86f622d3" providerId="ADAL" clId="{379C0618-42FE-451D-8FAA-3258774ED7D0}" dt="2023-12-11T08:44:33.670" v="1"/>
          <ac:spMkLst>
            <pc:docMk/>
            <pc:sldMk cId="1060625888" sldId="2147469628"/>
            <ac:spMk id="493" creationId="{DB93F03C-F90C-218E-9B38-84226E394752}"/>
          </ac:spMkLst>
        </pc:spChg>
        <pc:spChg chg="add mod">
          <ac:chgData name="Afzal, Tanzeel" userId="4c1bee66-eab8-4968-ab2a-d2fc86f622d3" providerId="ADAL" clId="{379C0618-42FE-451D-8FAA-3258774ED7D0}" dt="2023-12-11T08:44:33.670" v="1"/>
          <ac:spMkLst>
            <pc:docMk/>
            <pc:sldMk cId="1060625888" sldId="2147469628"/>
            <ac:spMk id="494" creationId="{4959E140-D084-D43E-E2B1-902D1C8F17EE}"/>
          </ac:spMkLst>
        </pc:spChg>
        <pc:spChg chg="mod">
          <ac:chgData name="Afzal, Tanzeel" userId="4c1bee66-eab8-4968-ab2a-d2fc86f622d3" providerId="ADAL" clId="{379C0618-42FE-451D-8FAA-3258774ED7D0}" dt="2023-12-11T08:44:33.670" v="1"/>
          <ac:spMkLst>
            <pc:docMk/>
            <pc:sldMk cId="1060625888" sldId="2147469628"/>
            <ac:spMk id="500" creationId="{24DFB175-5D29-16FE-27E3-E4408F65241E}"/>
          </ac:spMkLst>
        </pc:spChg>
        <pc:spChg chg="mod">
          <ac:chgData name="Afzal, Tanzeel" userId="4c1bee66-eab8-4968-ab2a-d2fc86f622d3" providerId="ADAL" clId="{379C0618-42FE-451D-8FAA-3258774ED7D0}" dt="2023-12-11T08:44:33.670" v="1"/>
          <ac:spMkLst>
            <pc:docMk/>
            <pc:sldMk cId="1060625888" sldId="2147469628"/>
            <ac:spMk id="501" creationId="{FD673E84-8D0B-9858-E343-30A7F5C83A91}"/>
          </ac:spMkLst>
        </pc:spChg>
        <pc:spChg chg="mod">
          <ac:chgData name="Afzal, Tanzeel" userId="4c1bee66-eab8-4968-ab2a-d2fc86f622d3" providerId="ADAL" clId="{379C0618-42FE-451D-8FAA-3258774ED7D0}" dt="2023-12-11T08:44:33.670" v="1"/>
          <ac:spMkLst>
            <pc:docMk/>
            <pc:sldMk cId="1060625888" sldId="2147469628"/>
            <ac:spMk id="502" creationId="{1F963A1F-702C-CD8D-2B92-E977C58042CE}"/>
          </ac:spMkLst>
        </pc:spChg>
        <pc:spChg chg="mod">
          <ac:chgData name="Afzal, Tanzeel" userId="4c1bee66-eab8-4968-ab2a-d2fc86f622d3" providerId="ADAL" clId="{379C0618-42FE-451D-8FAA-3258774ED7D0}" dt="2023-12-11T08:44:33.670" v="1"/>
          <ac:spMkLst>
            <pc:docMk/>
            <pc:sldMk cId="1060625888" sldId="2147469628"/>
            <ac:spMk id="503" creationId="{84DC3CCF-1050-3B9D-1D12-9A8B889CE405}"/>
          </ac:spMkLst>
        </pc:spChg>
        <pc:spChg chg="mod">
          <ac:chgData name="Afzal, Tanzeel" userId="4c1bee66-eab8-4968-ab2a-d2fc86f622d3" providerId="ADAL" clId="{379C0618-42FE-451D-8FAA-3258774ED7D0}" dt="2023-12-11T08:44:33.670" v="1"/>
          <ac:spMkLst>
            <pc:docMk/>
            <pc:sldMk cId="1060625888" sldId="2147469628"/>
            <ac:spMk id="504" creationId="{5F70D689-AF9A-625D-3C30-AD8B20EDF24F}"/>
          </ac:spMkLst>
        </pc:spChg>
        <pc:spChg chg="mod">
          <ac:chgData name="Afzal, Tanzeel" userId="4c1bee66-eab8-4968-ab2a-d2fc86f622d3" providerId="ADAL" clId="{379C0618-42FE-451D-8FAA-3258774ED7D0}" dt="2023-12-11T08:44:33.670" v="1"/>
          <ac:spMkLst>
            <pc:docMk/>
            <pc:sldMk cId="1060625888" sldId="2147469628"/>
            <ac:spMk id="505" creationId="{7CF73FA9-BFDF-3839-65DA-C0FD61897736}"/>
          </ac:spMkLst>
        </pc:spChg>
        <pc:spChg chg="add mod">
          <ac:chgData name="Afzal, Tanzeel" userId="4c1bee66-eab8-4968-ab2a-d2fc86f622d3" providerId="ADAL" clId="{379C0618-42FE-451D-8FAA-3258774ED7D0}" dt="2023-12-11T08:44:33.670" v="1"/>
          <ac:spMkLst>
            <pc:docMk/>
            <pc:sldMk cId="1060625888" sldId="2147469628"/>
            <ac:spMk id="506" creationId="{B1787FBA-DF5D-4A58-70EB-8EA0BEE42838}"/>
          </ac:spMkLst>
        </pc:spChg>
        <pc:spChg chg="add mod">
          <ac:chgData name="Afzal, Tanzeel" userId="4c1bee66-eab8-4968-ab2a-d2fc86f622d3" providerId="ADAL" clId="{379C0618-42FE-451D-8FAA-3258774ED7D0}" dt="2023-12-11T08:45:19.097" v="17" actId="20577"/>
          <ac:spMkLst>
            <pc:docMk/>
            <pc:sldMk cId="1060625888" sldId="2147469628"/>
            <ac:spMk id="507" creationId="{42A25287-6DDF-D975-7AAE-33B629EF2BC8}"/>
          </ac:spMkLst>
        </pc:spChg>
        <pc:spChg chg="mod">
          <ac:chgData name="Afzal, Tanzeel" userId="4c1bee66-eab8-4968-ab2a-d2fc86f622d3" providerId="ADAL" clId="{379C0618-42FE-451D-8FAA-3258774ED7D0}" dt="2023-12-11T08:44:33.670" v="1"/>
          <ac:spMkLst>
            <pc:docMk/>
            <pc:sldMk cId="1060625888" sldId="2147469628"/>
            <ac:spMk id="511" creationId="{14DE8F98-83F9-08CF-8BCD-F3E15596EE93}"/>
          </ac:spMkLst>
        </pc:spChg>
        <pc:grpChg chg="del">
          <ac:chgData name="Afzal, Tanzeel" userId="4c1bee66-eab8-4968-ab2a-d2fc86f622d3" providerId="ADAL" clId="{379C0618-42FE-451D-8FAA-3258774ED7D0}" dt="2023-12-11T08:44:32.751" v="0" actId="478"/>
          <ac:grpSpMkLst>
            <pc:docMk/>
            <pc:sldMk cId="1060625888" sldId="2147469628"/>
            <ac:grpSpMk id="3" creationId="{B3F9D0BC-81A9-FFF1-AABB-B2B2D96F2514}"/>
          </ac:grpSpMkLst>
        </pc:grpChg>
        <pc:grpChg chg="add mod">
          <ac:chgData name="Afzal, Tanzeel" userId="4c1bee66-eab8-4968-ab2a-d2fc86f622d3" providerId="ADAL" clId="{379C0618-42FE-451D-8FAA-3258774ED7D0}" dt="2023-12-11T08:44:33.670" v="1"/>
          <ac:grpSpMkLst>
            <pc:docMk/>
            <pc:sldMk cId="1060625888" sldId="2147469628"/>
            <ac:grpSpMk id="453" creationId="{6B4265F9-8ED3-74E5-9EE3-326EA163C045}"/>
          </ac:grpSpMkLst>
        </pc:grpChg>
        <pc:grpChg chg="mod">
          <ac:chgData name="Afzal, Tanzeel" userId="4c1bee66-eab8-4968-ab2a-d2fc86f622d3" providerId="ADAL" clId="{379C0618-42FE-451D-8FAA-3258774ED7D0}" dt="2023-12-11T08:44:33.670" v="1"/>
          <ac:grpSpMkLst>
            <pc:docMk/>
            <pc:sldMk cId="1060625888" sldId="2147469628"/>
            <ac:grpSpMk id="455" creationId="{F9B4973D-AFD0-669D-BAB4-434D57F0BE4E}"/>
          </ac:grpSpMkLst>
        </pc:grpChg>
        <pc:grpChg chg="add mod">
          <ac:chgData name="Afzal, Tanzeel" userId="4c1bee66-eab8-4968-ab2a-d2fc86f622d3" providerId="ADAL" clId="{379C0618-42FE-451D-8FAA-3258774ED7D0}" dt="2023-12-11T08:44:33.670" v="1"/>
          <ac:grpSpMkLst>
            <pc:docMk/>
            <pc:sldMk cId="1060625888" sldId="2147469628"/>
            <ac:grpSpMk id="459" creationId="{F47F7026-ADCC-177F-0A30-0FD7E1FE40B5}"/>
          </ac:grpSpMkLst>
        </pc:grpChg>
        <pc:grpChg chg="mod">
          <ac:chgData name="Afzal, Tanzeel" userId="4c1bee66-eab8-4968-ab2a-d2fc86f622d3" providerId="ADAL" clId="{379C0618-42FE-451D-8FAA-3258774ED7D0}" dt="2023-12-11T08:44:33.670" v="1"/>
          <ac:grpSpMkLst>
            <pc:docMk/>
            <pc:sldMk cId="1060625888" sldId="2147469628"/>
            <ac:grpSpMk id="461" creationId="{C7A6D894-E01D-F970-FDAB-80B8852CEF08}"/>
          </ac:grpSpMkLst>
        </pc:grpChg>
        <pc:grpChg chg="add mod">
          <ac:chgData name="Afzal, Tanzeel" userId="4c1bee66-eab8-4968-ab2a-d2fc86f622d3" providerId="ADAL" clId="{379C0618-42FE-451D-8FAA-3258774ED7D0}" dt="2023-12-11T08:44:33.670" v="1"/>
          <ac:grpSpMkLst>
            <pc:docMk/>
            <pc:sldMk cId="1060625888" sldId="2147469628"/>
            <ac:grpSpMk id="465" creationId="{9E3F6B06-946E-BF57-B6B5-80EF6084AF1B}"/>
          </ac:grpSpMkLst>
        </pc:grpChg>
        <pc:grpChg chg="mod">
          <ac:chgData name="Afzal, Tanzeel" userId="4c1bee66-eab8-4968-ab2a-d2fc86f622d3" providerId="ADAL" clId="{379C0618-42FE-451D-8FAA-3258774ED7D0}" dt="2023-12-11T08:44:33.670" v="1"/>
          <ac:grpSpMkLst>
            <pc:docMk/>
            <pc:sldMk cId="1060625888" sldId="2147469628"/>
            <ac:grpSpMk id="467" creationId="{582992FF-26B9-9DAB-9D6B-BFBC961E446E}"/>
          </ac:grpSpMkLst>
        </pc:grpChg>
        <pc:grpChg chg="add mod">
          <ac:chgData name="Afzal, Tanzeel" userId="4c1bee66-eab8-4968-ab2a-d2fc86f622d3" providerId="ADAL" clId="{379C0618-42FE-451D-8FAA-3258774ED7D0}" dt="2023-12-11T08:44:33.670" v="1"/>
          <ac:grpSpMkLst>
            <pc:docMk/>
            <pc:sldMk cId="1060625888" sldId="2147469628"/>
            <ac:grpSpMk id="472" creationId="{0743A6F6-CC71-7FFE-1BB4-45EBE734B15E}"/>
          </ac:grpSpMkLst>
        </pc:grpChg>
        <pc:grpChg chg="add mod">
          <ac:chgData name="Afzal, Tanzeel" userId="4c1bee66-eab8-4968-ab2a-d2fc86f622d3" providerId="ADAL" clId="{379C0618-42FE-451D-8FAA-3258774ED7D0}" dt="2023-12-11T08:44:33.670" v="1"/>
          <ac:grpSpMkLst>
            <pc:docMk/>
            <pc:sldMk cId="1060625888" sldId="2147469628"/>
            <ac:grpSpMk id="476" creationId="{E3023C42-6BF6-BB52-F642-49B192FDA090}"/>
          </ac:grpSpMkLst>
        </pc:grpChg>
        <pc:grpChg chg="mod">
          <ac:chgData name="Afzal, Tanzeel" userId="4c1bee66-eab8-4968-ab2a-d2fc86f622d3" providerId="ADAL" clId="{379C0618-42FE-451D-8FAA-3258774ED7D0}" dt="2023-12-11T08:44:33.670" v="1"/>
          <ac:grpSpMkLst>
            <pc:docMk/>
            <pc:sldMk cId="1060625888" sldId="2147469628"/>
            <ac:grpSpMk id="485" creationId="{783517AA-BD91-5B14-99C6-C9B951431811}"/>
          </ac:grpSpMkLst>
        </pc:grpChg>
        <pc:grpChg chg="add mod">
          <ac:chgData name="Afzal, Tanzeel" userId="4c1bee66-eab8-4968-ab2a-d2fc86f622d3" providerId="ADAL" clId="{379C0618-42FE-451D-8FAA-3258774ED7D0}" dt="2023-12-11T08:44:33.670" v="1"/>
          <ac:grpSpMkLst>
            <pc:docMk/>
            <pc:sldMk cId="1060625888" sldId="2147469628"/>
            <ac:grpSpMk id="489" creationId="{38CD3756-76C5-3F06-B82C-A217398E2C11}"/>
          </ac:grpSpMkLst>
        </pc:grpChg>
        <pc:grpChg chg="mod">
          <ac:chgData name="Afzal, Tanzeel" userId="4c1bee66-eab8-4968-ab2a-d2fc86f622d3" providerId="ADAL" clId="{379C0618-42FE-451D-8FAA-3258774ED7D0}" dt="2023-12-11T08:44:33.670" v="1"/>
          <ac:grpSpMkLst>
            <pc:docMk/>
            <pc:sldMk cId="1060625888" sldId="2147469628"/>
            <ac:grpSpMk id="491" creationId="{A7450811-5FE0-2BFE-F9F0-38BA85DDD3C7}"/>
          </ac:grpSpMkLst>
        </pc:grpChg>
        <pc:grpChg chg="add mod">
          <ac:chgData name="Afzal, Tanzeel" userId="4c1bee66-eab8-4968-ab2a-d2fc86f622d3" providerId="ADAL" clId="{379C0618-42FE-451D-8FAA-3258774ED7D0}" dt="2023-12-11T08:44:33.670" v="1"/>
          <ac:grpSpMkLst>
            <pc:docMk/>
            <pc:sldMk cId="1060625888" sldId="2147469628"/>
            <ac:grpSpMk id="499" creationId="{8D96A0A3-1595-D494-5AF4-720B454F1C31}"/>
          </ac:grpSpMkLst>
        </pc:grpChg>
        <pc:grpChg chg="add mod">
          <ac:chgData name="Afzal, Tanzeel" userId="4c1bee66-eab8-4968-ab2a-d2fc86f622d3" providerId="ADAL" clId="{379C0618-42FE-451D-8FAA-3258774ED7D0}" dt="2023-12-11T08:44:33.670" v="1"/>
          <ac:grpSpMkLst>
            <pc:docMk/>
            <pc:sldMk cId="1060625888" sldId="2147469628"/>
            <ac:grpSpMk id="510" creationId="{3BFDE8A1-AB09-2C01-40B3-3DC12815F57C}"/>
          </ac:grpSpMkLst>
        </pc:grpChg>
        <pc:picChg chg="mod">
          <ac:chgData name="Afzal, Tanzeel" userId="4c1bee66-eab8-4968-ab2a-d2fc86f622d3" providerId="ADAL" clId="{379C0618-42FE-451D-8FAA-3258774ED7D0}" dt="2023-12-11T08:44:33.670" v="1"/>
          <ac:picMkLst>
            <pc:docMk/>
            <pc:sldMk cId="1060625888" sldId="2147469628"/>
            <ac:picMk id="65" creationId="{3FA95568-5384-6FA0-A672-CE33903495E1}"/>
          </ac:picMkLst>
        </pc:picChg>
        <pc:picChg chg="add mod">
          <ac:chgData name="Afzal, Tanzeel" userId="4c1bee66-eab8-4968-ab2a-d2fc86f622d3" providerId="ADAL" clId="{379C0618-42FE-451D-8FAA-3258774ED7D0}" dt="2023-12-11T08:44:33.670" v="1"/>
          <ac:picMkLst>
            <pc:docMk/>
            <pc:sldMk cId="1060625888" sldId="2147469628"/>
            <ac:picMk id="495" creationId="{5B74E937-F3E0-9C9E-D705-54D25A1F6A6E}"/>
          </ac:picMkLst>
        </pc:picChg>
        <pc:picChg chg="add mod">
          <ac:chgData name="Afzal, Tanzeel" userId="4c1bee66-eab8-4968-ab2a-d2fc86f622d3" providerId="ADAL" clId="{379C0618-42FE-451D-8FAA-3258774ED7D0}" dt="2023-12-11T08:44:33.670" v="1"/>
          <ac:picMkLst>
            <pc:docMk/>
            <pc:sldMk cId="1060625888" sldId="2147469628"/>
            <ac:picMk id="496" creationId="{FF0CCFD1-224B-825D-9893-54C4ADABA5E5}"/>
          </ac:picMkLst>
        </pc:picChg>
        <pc:picChg chg="add mod">
          <ac:chgData name="Afzal, Tanzeel" userId="4c1bee66-eab8-4968-ab2a-d2fc86f622d3" providerId="ADAL" clId="{379C0618-42FE-451D-8FAA-3258774ED7D0}" dt="2023-12-11T08:44:33.670" v="1"/>
          <ac:picMkLst>
            <pc:docMk/>
            <pc:sldMk cId="1060625888" sldId="2147469628"/>
            <ac:picMk id="497" creationId="{4EBD482B-9BCE-1EFE-7E7A-BAC5FEC1D696}"/>
          </ac:picMkLst>
        </pc:picChg>
        <pc:picChg chg="add mod">
          <ac:chgData name="Afzal, Tanzeel" userId="4c1bee66-eab8-4968-ab2a-d2fc86f622d3" providerId="ADAL" clId="{379C0618-42FE-451D-8FAA-3258774ED7D0}" dt="2023-12-11T08:44:33.670" v="1"/>
          <ac:picMkLst>
            <pc:docMk/>
            <pc:sldMk cId="1060625888" sldId="2147469628"/>
            <ac:picMk id="498" creationId="{FD78A82F-B722-29E5-AF54-5D3324986147}"/>
          </ac:picMkLst>
        </pc:picChg>
        <pc:cxnChg chg="mod">
          <ac:chgData name="Afzal, Tanzeel" userId="4c1bee66-eab8-4968-ab2a-d2fc86f622d3" providerId="ADAL" clId="{379C0618-42FE-451D-8FAA-3258774ED7D0}" dt="2023-12-11T08:44:32.751" v="0" actId="478"/>
          <ac:cxnSpMkLst>
            <pc:docMk/>
            <pc:sldMk cId="1060625888" sldId="2147469628"/>
            <ac:cxnSpMk id="7" creationId="{0DBB9573-8759-E79E-CA12-B02C6CAE032C}"/>
          </ac:cxnSpMkLst>
        </pc:cxnChg>
        <pc:cxnChg chg="mod">
          <ac:chgData name="Afzal, Tanzeel" userId="4c1bee66-eab8-4968-ab2a-d2fc86f622d3" providerId="ADAL" clId="{379C0618-42FE-451D-8FAA-3258774ED7D0}" dt="2023-12-11T08:44:32.751" v="0" actId="478"/>
          <ac:cxnSpMkLst>
            <pc:docMk/>
            <pc:sldMk cId="1060625888" sldId="2147469628"/>
            <ac:cxnSpMk id="8" creationId="{6A8D6A04-04DF-C572-5DDE-012B33516CE2}"/>
          </ac:cxnSpMkLst>
        </pc:cxnChg>
        <pc:cxnChg chg="mod">
          <ac:chgData name="Afzal, Tanzeel" userId="4c1bee66-eab8-4968-ab2a-d2fc86f622d3" providerId="ADAL" clId="{379C0618-42FE-451D-8FAA-3258774ED7D0}" dt="2023-12-11T08:44:32.751" v="0" actId="478"/>
          <ac:cxnSpMkLst>
            <pc:docMk/>
            <pc:sldMk cId="1060625888" sldId="2147469628"/>
            <ac:cxnSpMk id="9" creationId="{CC15A6BA-33F7-2AAA-4C34-9EDF9967CBDC}"/>
          </ac:cxnSpMkLst>
        </pc:cxnChg>
        <pc:cxnChg chg="mod">
          <ac:chgData name="Afzal, Tanzeel" userId="4c1bee66-eab8-4968-ab2a-d2fc86f622d3" providerId="ADAL" clId="{379C0618-42FE-451D-8FAA-3258774ED7D0}" dt="2023-12-11T08:44:32.751" v="0" actId="478"/>
          <ac:cxnSpMkLst>
            <pc:docMk/>
            <pc:sldMk cId="1060625888" sldId="2147469628"/>
            <ac:cxnSpMk id="10" creationId="{EC42994F-4894-8031-50E8-E6279D6FA620}"/>
          </ac:cxnSpMkLst>
        </pc:cxnChg>
        <pc:cxnChg chg="mod">
          <ac:chgData name="Afzal, Tanzeel" userId="4c1bee66-eab8-4968-ab2a-d2fc86f622d3" providerId="ADAL" clId="{379C0618-42FE-451D-8FAA-3258774ED7D0}" dt="2023-12-11T08:44:32.751" v="0" actId="478"/>
          <ac:cxnSpMkLst>
            <pc:docMk/>
            <pc:sldMk cId="1060625888" sldId="2147469628"/>
            <ac:cxnSpMk id="12" creationId="{944F98B1-92A4-87A3-DD2A-35937203820C}"/>
          </ac:cxnSpMkLst>
        </pc:cxnChg>
        <pc:cxnChg chg="add mod">
          <ac:chgData name="Afzal, Tanzeel" userId="4c1bee66-eab8-4968-ab2a-d2fc86f622d3" providerId="ADAL" clId="{379C0618-42FE-451D-8FAA-3258774ED7D0}" dt="2023-12-11T08:44:33.670" v="1"/>
          <ac:cxnSpMkLst>
            <pc:docMk/>
            <pc:sldMk cId="1060625888" sldId="2147469628"/>
            <ac:cxnSpMk id="448" creationId="{8E4229A2-1BDF-583F-2514-601C4632F50C}"/>
          </ac:cxnSpMkLst>
        </pc:cxnChg>
        <pc:cxnChg chg="add mod">
          <ac:chgData name="Afzal, Tanzeel" userId="4c1bee66-eab8-4968-ab2a-d2fc86f622d3" providerId="ADAL" clId="{379C0618-42FE-451D-8FAA-3258774ED7D0}" dt="2023-12-11T08:44:33.670" v="1"/>
          <ac:cxnSpMkLst>
            <pc:docMk/>
            <pc:sldMk cId="1060625888" sldId="2147469628"/>
            <ac:cxnSpMk id="449" creationId="{D91AAA29-05BB-8C1C-4DA3-7A0A70C5499B}"/>
          </ac:cxnSpMkLst>
        </pc:cxnChg>
        <pc:cxnChg chg="add mod">
          <ac:chgData name="Afzal, Tanzeel" userId="4c1bee66-eab8-4968-ab2a-d2fc86f622d3" providerId="ADAL" clId="{379C0618-42FE-451D-8FAA-3258774ED7D0}" dt="2023-12-11T08:44:33.670" v="1"/>
          <ac:cxnSpMkLst>
            <pc:docMk/>
            <pc:sldMk cId="1060625888" sldId="2147469628"/>
            <ac:cxnSpMk id="450" creationId="{ED96578A-0408-1454-EEFC-4E2C026846FF}"/>
          </ac:cxnSpMkLst>
        </pc:cxnChg>
        <pc:cxnChg chg="add mod">
          <ac:chgData name="Afzal, Tanzeel" userId="4c1bee66-eab8-4968-ab2a-d2fc86f622d3" providerId="ADAL" clId="{379C0618-42FE-451D-8FAA-3258774ED7D0}" dt="2023-12-11T08:44:33.670" v="1"/>
          <ac:cxnSpMkLst>
            <pc:docMk/>
            <pc:sldMk cId="1060625888" sldId="2147469628"/>
            <ac:cxnSpMk id="451" creationId="{26786728-39D4-5D6A-9092-B2F236D46E73}"/>
          </ac:cxnSpMkLst>
        </pc:cxnChg>
        <pc:cxnChg chg="add mod">
          <ac:chgData name="Afzal, Tanzeel" userId="4c1bee66-eab8-4968-ab2a-d2fc86f622d3" providerId="ADAL" clId="{379C0618-42FE-451D-8FAA-3258774ED7D0}" dt="2023-12-11T08:44:33.670" v="1"/>
          <ac:cxnSpMkLst>
            <pc:docMk/>
            <pc:sldMk cId="1060625888" sldId="2147469628"/>
            <ac:cxnSpMk id="508" creationId="{73C47CBE-17F7-667B-9D6E-694A870B56CA}"/>
          </ac:cxnSpMkLst>
        </pc:cxnChg>
        <pc:cxnChg chg="add mod">
          <ac:chgData name="Afzal, Tanzeel" userId="4c1bee66-eab8-4968-ab2a-d2fc86f622d3" providerId="ADAL" clId="{379C0618-42FE-451D-8FAA-3258774ED7D0}" dt="2023-12-11T08:44:33.670" v="1"/>
          <ac:cxnSpMkLst>
            <pc:docMk/>
            <pc:sldMk cId="1060625888" sldId="2147469628"/>
            <ac:cxnSpMk id="509" creationId="{4F84B23C-9EE7-F629-8CDC-12EA76AC9D18}"/>
          </ac:cxnSpMkLst>
        </pc:cxnChg>
      </pc:sldChg>
      <pc:sldChg chg="add del">
        <pc:chgData name="Afzal, Tanzeel" userId="4c1bee66-eab8-4968-ab2a-d2fc86f622d3" providerId="ADAL" clId="{379C0618-42FE-451D-8FAA-3258774ED7D0}" dt="2023-12-11T13:39:37.417" v="535" actId="47"/>
        <pc:sldMkLst>
          <pc:docMk/>
          <pc:sldMk cId="2395370317" sldId="2147469676"/>
        </pc:sldMkLst>
      </pc:sldChg>
      <pc:sldChg chg="add del">
        <pc:chgData name="Afzal, Tanzeel" userId="4c1bee66-eab8-4968-ab2a-d2fc86f622d3" providerId="ADAL" clId="{379C0618-42FE-451D-8FAA-3258774ED7D0}" dt="2023-12-11T13:39:27.983" v="530" actId="47"/>
        <pc:sldMkLst>
          <pc:docMk/>
          <pc:sldMk cId="4051661529" sldId="2147469679"/>
        </pc:sldMkLst>
      </pc:sldChg>
      <pc:sldChg chg="ord">
        <pc:chgData name="Afzal, Tanzeel" userId="4c1bee66-eab8-4968-ab2a-d2fc86f622d3" providerId="ADAL" clId="{379C0618-42FE-451D-8FAA-3258774ED7D0}" dt="2023-12-11T17:48:20.202" v="1830"/>
        <pc:sldMkLst>
          <pc:docMk/>
          <pc:sldMk cId="4174887321" sldId="2147469690"/>
        </pc:sldMkLst>
      </pc:sldChg>
      <pc:sldChg chg="ord">
        <pc:chgData name="Afzal, Tanzeel" userId="4c1bee66-eab8-4968-ab2a-d2fc86f622d3" providerId="ADAL" clId="{379C0618-42FE-451D-8FAA-3258774ED7D0}" dt="2023-12-11T17:48:20.202" v="1830"/>
        <pc:sldMkLst>
          <pc:docMk/>
          <pc:sldMk cId="2182095511" sldId="2147469697"/>
        </pc:sldMkLst>
      </pc:sldChg>
      <pc:sldChg chg="add del ord">
        <pc:chgData name="Afzal, Tanzeel" userId="4c1bee66-eab8-4968-ab2a-d2fc86f622d3" providerId="ADAL" clId="{379C0618-42FE-451D-8FAA-3258774ED7D0}" dt="2023-12-11T17:47:50.463" v="1828"/>
        <pc:sldMkLst>
          <pc:docMk/>
          <pc:sldMk cId="3552140453" sldId="2147469713"/>
        </pc:sldMkLst>
      </pc:sldChg>
      <pc:sldChg chg="add del">
        <pc:chgData name="Afzal, Tanzeel" userId="4c1bee66-eab8-4968-ab2a-d2fc86f622d3" providerId="ADAL" clId="{379C0618-42FE-451D-8FAA-3258774ED7D0}" dt="2023-12-11T13:39:38.665" v="536" actId="47"/>
        <pc:sldMkLst>
          <pc:docMk/>
          <pc:sldMk cId="3421570468" sldId="2147469727"/>
        </pc:sldMkLst>
      </pc:sldChg>
      <pc:sldChg chg="add del">
        <pc:chgData name="Afzal, Tanzeel" userId="4c1bee66-eab8-4968-ab2a-d2fc86f622d3" providerId="ADAL" clId="{379C0618-42FE-451D-8FAA-3258774ED7D0}" dt="2023-12-11T13:39:32.675" v="532" actId="47"/>
        <pc:sldMkLst>
          <pc:docMk/>
          <pc:sldMk cId="2051449330" sldId="2147469821"/>
        </pc:sldMkLst>
      </pc:sldChg>
      <pc:sldChg chg="add del ord">
        <pc:chgData name="Afzal, Tanzeel" userId="4c1bee66-eab8-4968-ab2a-d2fc86f622d3" providerId="ADAL" clId="{379C0618-42FE-451D-8FAA-3258774ED7D0}" dt="2023-12-11T17:47:50.463" v="1828"/>
        <pc:sldMkLst>
          <pc:docMk/>
          <pc:sldMk cId="4277273097" sldId="2147472019"/>
        </pc:sldMkLst>
      </pc:sldChg>
      <pc:sldChg chg="modSp mod">
        <pc:chgData name="Afzal, Tanzeel" userId="4c1bee66-eab8-4968-ab2a-d2fc86f622d3" providerId="ADAL" clId="{379C0618-42FE-451D-8FAA-3258774ED7D0}" dt="2023-12-11T14:35:20.247" v="752"/>
        <pc:sldMkLst>
          <pc:docMk/>
          <pc:sldMk cId="402931147" sldId="2147472039"/>
        </pc:sldMkLst>
        <pc:spChg chg="mod">
          <ac:chgData name="Afzal, Tanzeel" userId="4c1bee66-eab8-4968-ab2a-d2fc86f622d3" providerId="ADAL" clId="{379C0618-42FE-451D-8FAA-3258774ED7D0}" dt="2023-12-11T10:16:09.344" v="135" actId="20577"/>
          <ac:spMkLst>
            <pc:docMk/>
            <pc:sldMk cId="402931147" sldId="2147472039"/>
            <ac:spMk id="75" creationId="{0B00487E-9A8E-46E0-B60F-BB884C23310C}"/>
          </ac:spMkLst>
        </pc:spChg>
        <pc:spChg chg="mod">
          <ac:chgData name="Afzal, Tanzeel" userId="4c1bee66-eab8-4968-ab2a-d2fc86f622d3" providerId="ADAL" clId="{379C0618-42FE-451D-8FAA-3258774ED7D0}" dt="2023-12-11T14:35:20.247" v="752"/>
          <ac:spMkLst>
            <pc:docMk/>
            <pc:sldMk cId="402931147" sldId="2147472039"/>
            <ac:spMk id="76" creationId="{11F95CE4-70DC-4FF6-9740-A5C6EC6923E7}"/>
          </ac:spMkLst>
        </pc:spChg>
      </pc:sldChg>
      <pc:sldChg chg="ord">
        <pc:chgData name="Afzal, Tanzeel" userId="4c1bee66-eab8-4968-ab2a-d2fc86f622d3" providerId="ADAL" clId="{379C0618-42FE-451D-8FAA-3258774ED7D0}" dt="2023-12-11T17:48:20.202" v="1830"/>
        <pc:sldMkLst>
          <pc:docMk/>
          <pc:sldMk cId="649601760" sldId="2147472044"/>
        </pc:sldMkLst>
      </pc:sldChg>
      <pc:sldChg chg="add del">
        <pc:chgData name="Afzal, Tanzeel" userId="4c1bee66-eab8-4968-ab2a-d2fc86f622d3" providerId="ADAL" clId="{379C0618-42FE-451D-8FAA-3258774ED7D0}" dt="2023-12-11T13:39:49.664" v="539" actId="47"/>
        <pc:sldMkLst>
          <pc:docMk/>
          <pc:sldMk cId="3420591866" sldId="2147472053"/>
        </pc:sldMkLst>
      </pc:sldChg>
      <pc:sldChg chg="add del">
        <pc:chgData name="Afzal, Tanzeel" userId="4c1bee66-eab8-4968-ab2a-d2fc86f622d3" providerId="ADAL" clId="{379C0618-42FE-451D-8FAA-3258774ED7D0}" dt="2023-12-11T13:39:47.995" v="538" actId="47"/>
        <pc:sldMkLst>
          <pc:docMk/>
          <pc:sldMk cId="1232049386" sldId="2147472054"/>
        </pc:sldMkLst>
      </pc:sldChg>
      <pc:sldChg chg="add del">
        <pc:chgData name="Afzal, Tanzeel" userId="4c1bee66-eab8-4968-ab2a-d2fc86f622d3" providerId="ADAL" clId="{379C0618-42FE-451D-8FAA-3258774ED7D0}" dt="2023-12-11T13:39:36.251" v="534" actId="47"/>
        <pc:sldMkLst>
          <pc:docMk/>
          <pc:sldMk cId="1837128297" sldId="2147472055"/>
        </pc:sldMkLst>
      </pc:sldChg>
      <pc:sldChg chg="add del">
        <pc:chgData name="Afzal, Tanzeel" userId="4c1bee66-eab8-4968-ab2a-d2fc86f622d3" providerId="ADAL" clId="{379C0618-42FE-451D-8FAA-3258774ED7D0}" dt="2023-12-11T13:39:30.483" v="531" actId="47"/>
        <pc:sldMkLst>
          <pc:docMk/>
          <pc:sldMk cId="1069096551" sldId="2147472056"/>
        </pc:sldMkLst>
      </pc:sldChg>
      <pc:sldChg chg="add del">
        <pc:chgData name="Afzal, Tanzeel" userId="4c1bee66-eab8-4968-ab2a-d2fc86f622d3" providerId="ADAL" clId="{379C0618-42FE-451D-8FAA-3258774ED7D0}" dt="2023-12-11T12:33:38.180" v="386" actId="47"/>
        <pc:sldMkLst>
          <pc:docMk/>
          <pc:sldMk cId="1421739971" sldId="2147472073"/>
        </pc:sldMkLst>
      </pc:sldChg>
      <pc:sldChg chg="ord">
        <pc:chgData name="Afzal, Tanzeel" userId="4c1bee66-eab8-4968-ab2a-d2fc86f622d3" providerId="ADAL" clId="{379C0618-42FE-451D-8FAA-3258774ED7D0}" dt="2023-12-11T17:48:20.202" v="1830"/>
        <pc:sldMkLst>
          <pc:docMk/>
          <pc:sldMk cId="3381015075" sldId="2147472080"/>
        </pc:sldMkLst>
      </pc:sldChg>
      <pc:sldChg chg="addSp modSp">
        <pc:chgData name="Afzal, Tanzeel" userId="4c1bee66-eab8-4968-ab2a-d2fc86f622d3" providerId="ADAL" clId="{379C0618-42FE-451D-8FAA-3258774ED7D0}" dt="2023-12-11T17:46:51.124" v="1823"/>
        <pc:sldMkLst>
          <pc:docMk/>
          <pc:sldMk cId="3805662702" sldId="2147472089"/>
        </pc:sldMkLst>
        <pc:spChg chg="add mod">
          <ac:chgData name="Afzal, Tanzeel" userId="4c1bee66-eab8-4968-ab2a-d2fc86f622d3" providerId="ADAL" clId="{379C0618-42FE-451D-8FAA-3258774ED7D0}" dt="2023-12-11T17:46:51.124" v="1823"/>
          <ac:spMkLst>
            <pc:docMk/>
            <pc:sldMk cId="3805662702" sldId="2147472089"/>
            <ac:spMk id="2" creationId="{A90A0F03-9DAD-F31A-9319-19429C62FBB2}"/>
          </ac:spMkLst>
        </pc:spChg>
      </pc:sldChg>
      <pc:sldChg chg="addSp modSp mod">
        <pc:chgData name="Afzal, Tanzeel" userId="4c1bee66-eab8-4968-ab2a-d2fc86f622d3" providerId="ADAL" clId="{379C0618-42FE-451D-8FAA-3258774ED7D0}" dt="2023-12-11T17:46:29.965" v="1822" actId="313"/>
        <pc:sldMkLst>
          <pc:docMk/>
          <pc:sldMk cId="2464809623" sldId="2147472094"/>
        </pc:sldMkLst>
        <pc:spChg chg="add mod">
          <ac:chgData name="Afzal, Tanzeel" userId="4c1bee66-eab8-4968-ab2a-d2fc86f622d3" providerId="ADAL" clId="{379C0618-42FE-451D-8FAA-3258774ED7D0}" dt="2023-12-11T17:46:29.965" v="1822" actId="313"/>
          <ac:spMkLst>
            <pc:docMk/>
            <pc:sldMk cId="2464809623" sldId="2147472094"/>
            <ac:spMk id="2" creationId="{0E6EE4A0-DA89-6C44-95B9-BDC2D9AAAECB}"/>
          </ac:spMkLst>
        </pc:spChg>
      </pc:sldChg>
      <pc:sldChg chg="del">
        <pc:chgData name="Afzal, Tanzeel" userId="4c1bee66-eab8-4968-ab2a-d2fc86f622d3" providerId="ADAL" clId="{379C0618-42FE-451D-8FAA-3258774ED7D0}" dt="2023-12-11T16:11:16.596" v="1231" actId="47"/>
        <pc:sldMkLst>
          <pc:docMk/>
          <pc:sldMk cId="874800551" sldId="2147472104"/>
        </pc:sldMkLst>
      </pc:sldChg>
      <pc:sldChg chg="add del">
        <pc:chgData name="Afzal, Tanzeel" userId="4c1bee66-eab8-4968-ab2a-d2fc86f622d3" providerId="ADAL" clId="{379C0618-42FE-451D-8FAA-3258774ED7D0}" dt="2023-12-11T13:39:34.821" v="533" actId="47"/>
        <pc:sldMkLst>
          <pc:docMk/>
          <pc:sldMk cId="700740145" sldId="2147472106"/>
        </pc:sldMkLst>
      </pc:sldChg>
      <pc:sldChg chg="add del ord addCm delCm">
        <pc:chgData name="Afzal, Tanzeel" userId="4c1bee66-eab8-4968-ab2a-d2fc86f622d3" providerId="ADAL" clId="{379C0618-42FE-451D-8FAA-3258774ED7D0}" dt="2023-12-11T17:47:50.463" v="1828"/>
        <pc:sldMkLst>
          <pc:docMk/>
          <pc:sldMk cId="122339857" sldId="2147472107"/>
        </pc:sldMkLst>
      </pc:sldChg>
      <pc:sldChg chg="add del ord">
        <pc:chgData name="Afzal, Tanzeel" userId="4c1bee66-eab8-4968-ab2a-d2fc86f622d3" providerId="ADAL" clId="{379C0618-42FE-451D-8FAA-3258774ED7D0}" dt="2023-12-11T17:47:50.463" v="1828"/>
        <pc:sldMkLst>
          <pc:docMk/>
          <pc:sldMk cId="2924804974" sldId="2147472108"/>
        </pc:sldMkLst>
      </pc:sldChg>
      <pc:sldChg chg="modSp mod ord modCm">
        <pc:chgData name="Afzal, Tanzeel" userId="4c1bee66-eab8-4968-ab2a-d2fc86f622d3" providerId="ADAL" clId="{379C0618-42FE-451D-8FAA-3258774ED7D0}" dt="2023-12-11T18:54:20.516" v="2932"/>
        <pc:sldMkLst>
          <pc:docMk/>
          <pc:sldMk cId="3957932871" sldId="2147472109"/>
        </pc:sldMkLst>
        <pc:spChg chg="mod">
          <ac:chgData name="Afzal, Tanzeel" userId="4c1bee66-eab8-4968-ab2a-d2fc86f622d3" providerId="ADAL" clId="{379C0618-42FE-451D-8FAA-3258774ED7D0}" dt="2023-12-11T17:51:43.752" v="1862" actId="20577"/>
          <ac:spMkLst>
            <pc:docMk/>
            <pc:sldMk cId="3957932871" sldId="2147472109"/>
            <ac:spMk id="752" creationId="{00000000-0000-0000-0000-000000000000}"/>
          </ac:spMkLst>
        </pc:spChg>
      </pc:sldChg>
      <pc:sldChg chg="addSp delSp modSp mod delCm modCm">
        <pc:chgData name="Afzal, Tanzeel" userId="4c1bee66-eab8-4968-ab2a-d2fc86f622d3" providerId="ADAL" clId="{379C0618-42FE-451D-8FAA-3258774ED7D0}" dt="2023-12-11T18:43:06.329" v="2748"/>
        <pc:sldMkLst>
          <pc:docMk/>
          <pc:sldMk cId="1696513067" sldId="2147472113"/>
        </pc:sldMkLst>
        <pc:spChg chg="del">
          <ac:chgData name="Afzal, Tanzeel" userId="4c1bee66-eab8-4968-ab2a-d2fc86f622d3" providerId="ADAL" clId="{379C0618-42FE-451D-8FAA-3258774ED7D0}" dt="2023-12-11T11:25:38.788" v="260" actId="478"/>
          <ac:spMkLst>
            <pc:docMk/>
            <pc:sldMk cId="1696513067" sldId="2147472113"/>
            <ac:spMk id="17" creationId="{515850B6-2599-BADD-6E63-74A6E333528C}"/>
          </ac:spMkLst>
        </pc:spChg>
        <pc:spChg chg="del">
          <ac:chgData name="Afzal, Tanzeel" userId="4c1bee66-eab8-4968-ab2a-d2fc86f622d3" providerId="ADAL" clId="{379C0618-42FE-451D-8FAA-3258774ED7D0}" dt="2023-12-11T11:25:26.782" v="259" actId="478"/>
          <ac:spMkLst>
            <pc:docMk/>
            <pc:sldMk cId="1696513067" sldId="2147472113"/>
            <ac:spMk id="18" creationId="{5C31A5B5-F48D-6B74-5CF0-405FA651DEF6}"/>
          </ac:spMkLst>
        </pc:spChg>
        <pc:spChg chg="del">
          <ac:chgData name="Afzal, Tanzeel" userId="4c1bee66-eab8-4968-ab2a-d2fc86f622d3" providerId="ADAL" clId="{379C0618-42FE-451D-8FAA-3258774ED7D0}" dt="2023-12-11T11:25:41.733" v="261" actId="478"/>
          <ac:spMkLst>
            <pc:docMk/>
            <pc:sldMk cId="1696513067" sldId="2147472113"/>
            <ac:spMk id="19" creationId="{43A7A239-1E3E-0920-3F8C-FF0ACAA30362}"/>
          </ac:spMkLst>
        </pc:spChg>
        <pc:spChg chg="add mod">
          <ac:chgData name="Afzal, Tanzeel" userId="4c1bee66-eab8-4968-ab2a-d2fc86f622d3" providerId="ADAL" clId="{379C0618-42FE-451D-8FAA-3258774ED7D0}" dt="2023-12-11T11:30:38.920" v="276" actId="1076"/>
          <ac:spMkLst>
            <pc:docMk/>
            <pc:sldMk cId="1696513067" sldId="2147472113"/>
            <ac:spMk id="20" creationId="{AD718D3A-6B39-4D57-F0FA-0C7222133A60}"/>
          </ac:spMkLst>
        </pc:spChg>
        <pc:graphicFrameChg chg="mod modGraphic">
          <ac:chgData name="Afzal, Tanzeel" userId="4c1bee66-eab8-4968-ab2a-d2fc86f622d3" providerId="ADAL" clId="{379C0618-42FE-451D-8FAA-3258774ED7D0}" dt="2023-12-11T11:30:21.281" v="275" actId="6549"/>
          <ac:graphicFrameMkLst>
            <pc:docMk/>
            <pc:sldMk cId="1696513067" sldId="2147472113"/>
            <ac:graphicFrameMk id="5" creationId="{7103F971-4A93-2F70-F6A0-619401FC13D9}"/>
          </ac:graphicFrameMkLst>
        </pc:graphicFrameChg>
      </pc:sldChg>
      <pc:sldChg chg="addSp delSp modSp mod addCm">
        <pc:chgData name="Afzal, Tanzeel" userId="4c1bee66-eab8-4968-ab2a-d2fc86f622d3" providerId="ADAL" clId="{379C0618-42FE-451D-8FAA-3258774ED7D0}" dt="2023-12-11T13:00:54.962" v="406"/>
        <pc:sldMkLst>
          <pc:docMk/>
          <pc:sldMk cId="3628798650" sldId="2147472116"/>
        </pc:sldMkLst>
        <pc:spChg chg="mod">
          <ac:chgData name="Afzal, Tanzeel" userId="4c1bee66-eab8-4968-ab2a-d2fc86f622d3" providerId="ADAL" clId="{379C0618-42FE-451D-8FAA-3258774ED7D0}" dt="2023-12-11T12:38:49.039" v="405" actId="1076"/>
          <ac:spMkLst>
            <pc:docMk/>
            <pc:sldMk cId="3628798650" sldId="2147472116"/>
            <ac:spMk id="5" creationId="{73BAA790-FE7B-E03B-2C71-7FAEFECCC5A0}"/>
          </ac:spMkLst>
        </pc:spChg>
        <pc:spChg chg="del">
          <ac:chgData name="Afzal, Tanzeel" userId="4c1bee66-eab8-4968-ab2a-d2fc86f622d3" providerId="ADAL" clId="{379C0618-42FE-451D-8FAA-3258774ED7D0}" dt="2023-12-11T12:35:22.399" v="388" actId="478"/>
          <ac:spMkLst>
            <pc:docMk/>
            <pc:sldMk cId="3628798650" sldId="2147472116"/>
            <ac:spMk id="7" creationId="{717A39A3-B156-42F3-2746-A969D37ABAD9}"/>
          </ac:spMkLst>
        </pc:spChg>
        <pc:graphicFrameChg chg="del">
          <ac:chgData name="Afzal, Tanzeel" userId="4c1bee66-eab8-4968-ab2a-d2fc86f622d3" providerId="ADAL" clId="{379C0618-42FE-451D-8FAA-3258774ED7D0}" dt="2023-12-11T12:35:54.016" v="403" actId="478"/>
          <ac:graphicFrameMkLst>
            <pc:docMk/>
            <pc:sldMk cId="3628798650" sldId="2147472116"/>
            <ac:graphicFrameMk id="6" creationId="{9447EE7C-5B56-9028-C6E8-B09B4DE14466}"/>
          </ac:graphicFrameMkLst>
        </pc:graphicFrameChg>
        <pc:graphicFrameChg chg="add mod modGraphic">
          <ac:chgData name="Afzal, Tanzeel" userId="4c1bee66-eab8-4968-ab2a-d2fc86f622d3" providerId="ADAL" clId="{379C0618-42FE-451D-8FAA-3258774ED7D0}" dt="2023-12-11T12:35:50.135" v="402" actId="14100"/>
          <ac:graphicFrameMkLst>
            <pc:docMk/>
            <pc:sldMk cId="3628798650" sldId="2147472116"/>
            <ac:graphicFrameMk id="8" creationId="{F65DAD3C-2831-F938-0BA2-912C2CD31C0F}"/>
          </ac:graphicFrameMkLst>
        </pc:graphicFrameChg>
        <pc:graphicFrameChg chg="del">
          <ac:chgData name="Afzal, Tanzeel" userId="4c1bee66-eab8-4968-ab2a-d2fc86f622d3" providerId="ADAL" clId="{379C0618-42FE-451D-8FAA-3258774ED7D0}" dt="2023-12-11T12:35:20.409" v="387" actId="478"/>
          <ac:graphicFrameMkLst>
            <pc:docMk/>
            <pc:sldMk cId="3628798650" sldId="2147472116"/>
            <ac:graphicFrameMk id="9" creationId="{349D2306-980E-B8D0-F9D6-7AE63F870E7C}"/>
          </ac:graphicFrameMkLst>
        </pc:graphicFrameChg>
      </pc:sldChg>
      <pc:sldChg chg="delSp modSp mod modCm">
        <pc:chgData name="Afzal, Tanzeel" userId="4c1bee66-eab8-4968-ab2a-d2fc86f622d3" providerId="ADAL" clId="{379C0618-42FE-451D-8FAA-3258774ED7D0}" dt="2023-12-11T18:42:56.155" v="2747"/>
        <pc:sldMkLst>
          <pc:docMk/>
          <pc:sldMk cId="2880389519" sldId="2147472117"/>
        </pc:sldMkLst>
        <pc:spChg chg="mod">
          <ac:chgData name="Afzal, Tanzeel" userId="4c1bee66-eab8-4968-ab2a-d2fc86f622d3" providerId="ADAL" clId="{379C0618-42FE-451D-8FAA-3258774ED7D0}" dt="2023-12-11T17:50:45.083" v="1845" actId="21"/>
          <ac:spMkLst>
            <pc:docMk/>
            <pc:sldMk cId="2880389519" sldId="2147472117"/>
            <ac:spMk id="4" creationId="{1CDE2912-910F-C6F8-3582-AFB28F4DBB4B}"/>
          </ac:spMkLst>
        </pc:spChg>
        <pc:spChg chg="mod">
          <ac:chgData name="Afzal, Tanzeel" userId="4c1bee66-eab8-4968-ab2a-d2fc86f622d3" providerId="ADAL" clId="{379C0618-42FE-451D-8FAA-3258774ED7D0}" dt="2023-12-11T17:50:37.753" v="1843" actId="21"/>
          <ac:spMkLst>
            <pc:docMk/>
            <pc:sldMk cId="2880389519" sldId="2147472117"/>
            <ac:spMk id="5" creationId="{4C3421BE-7DEC-EB84-EC44-0EF7CA85C895}"/>
          </ac:spMkLst>
        </pc:spChg>
        <pc:spChg chg="mod">
          <ac:chgData name="Afzal, Tanzeel" userId="4c1bee66-eab8-4968-ab2a-d2fc86f622d3" providerId="ADAL" clId="{379C0618-42FE-451D-8FAA-3258774ED7D0}" dt="2023-12-11T15:15:03.398" v="994"/>
          <ac:spMkLst>
            <pc:docMk/>
            <pc:sldMk cId="2880389519" sldId="2147472117"/>
            <ac:spMk id="7" creationId="{C2CBAE67-A811-BBF8-B428-B9225CE227C2}"/>
          </ac:spMkLst>
        </pc:spChg>
        <pc:spChg chg="del">
          <ac:chgData name="Afzal, Tanzeel" userId="4c1bee66-eab8-4968-ab2a-d2fc86f622d3" providerId="ADAL" clId="{379C0618-42FE-451D-8FAA-3258774ED7D0}" dt="2023-12-11T10:13:57.266" v="132" actId="478"/>
          <ac:spMkLst>
            <pc:docMk/>
            <pc:sldMk cId="2880389519" sldId="2147472117"/>
            <ac:spMk id="14" creationId="{CB26A48A-5FF7-4E7F-1687-20CCBA45AAEC}"/>
          </ac:spMkLst>
        </pc:spChg>
        <pc:spChg chg="mod">
          <ac:chgData name="Afzal, Tanzeel" userId="4c1bee66-eab8-4968-ab2a-d2fc86f622d3" providerId="ADAL" clId="{379C0618-42FE-451D-8FAA-3258774ED7D0}" dt="2023-12-11T17:50:48.281" v="1846"/>
          <ac:spMkLst>
            <pc:docMk/>
            <pc:sldMk cId="2880389519" sldId="2147472117"/>
            <ac:spMk id="52" creationId="{0591DDEE-AC9D-44E4-8E3A-45EA9543ADA4}"/>
          </ac:spMkLst>
        </pc:spChg>
        <pc:spChg chg="mod">
          <ac:chgData name="Afzal, Tanzeel" userId="4c1bee66-eab8-4968-ab2a-d2fc86f622d3" providerId="ADAL" clId="{379C0618-42FE-451D-8FAA-3258774ED7D0}" dt="2023-12-11T17:47:10.018" v="1825" actId="21"/>
          <ac:spMkLst>
            <pc:docMk/>
            <pc:sldMk cId="2880389519" sldId="2147472117"/>
            <ac:spMk id="427" creationId="{00000000-0000-0000-0000-000000000000}"/>
          </ac:spMkLst>
        </pc:spChg>
        <pc:spChg chg="mod">
          <ac:chgData name="Afzal, Tanzeel" userId="4c1bee66-eab8-4968-ab2a-d2fc86f622d3" providerId="ADAL" clId="{379C0618-42FE-451D-8FAA-3258774ED7D0}" dt="2023-12-11T17:51:21.403" v="1854" actId="20577"/>
          <ac:spMkLst>
            <pc:docMk/>
            <pc:sldMk cId="2880389519" sldId="2147472117"/>
            <ac:spMk id="429" creationId="{00000000-0000-0000-0000-000000000000}"/>
          </ac:spMkLst>
        </pc:spChg>
        <pc:grpChg chg="del">
          <ac:chgData name="Afzal, Tanzeel" userId="4c1bee66-eab8-4968-ab2a-d2fc86f622d3" providerId="ADAL" clId="{379C0618-42FE-451D-8FAA-3258774ED7D0}" dt="2023-12-11T15:15:06.150" v="995" actId="478"/>
          <ac:grpSpMkLst>
            <pc:docMk/>
            <pc:sldMk cId="2880389519" sldId="2147472117"/>
            <ac:grpSpMk id="55" creationId="{EED0618C-3B59-416E-513E-A190B64CD2B8}"/>
          </ac:grpSpMkLst>
        </pc:grpChg>
      </pc:sldChg>
      <pc:sldChg chg="delSp modSp add del mod ord">
        <pc:chgData name="Afzal, Tanzeel" userId="4c1bee66-eab8-4968-ab2a-d2fc86f622d3" providerId="ADAL" clId="{379C0618-42FE-451D-8FAA-3258774ED7D0}" dt="2023-12-11T17:49:18.124" v="1835" actId="2696"/>
        <pc:sldMkLst>
          <pc:docMk/>
          <pc:sldMk cId="289734734" sldId="2147472121"/>
        </pc:sldMkLst>
        <pc:spChg chg="del">
          <ac:chgData name="Afzal, Tanzeel" userId="4c1bee66-eab8-4968-ab2a-d2fc86f622d3" providerId="ADAL" clId="{379C0618-42FE-451D-8FAA-3258774ED7D0}" dt="2023-12-11T15:26:56.732" v="999" actId="478"/>
          <ac:spMkLst>
            <pc:docMk/>
            <pc:sldMk cId="289734734" sldId="2147472121"/>
            <ac:spMk id="4" creationId="{3CD1177A-3E2E-D4FE-9B80-21DAA76997D5}"/>
          </ac:spMkLst>
        </pc:spChg>
        <pc:graphicFrameChg chg="mod modGraphic">
          <ac:chgData name="Afzal, Tanzeel" userId="4c1bee66-eab8-4968-ab2a-d2fc86f622d3" providerId="ADAL" clId="{379C0618-42FE-451D-8FAA-3258774ED7D0}" dt="2023-12-11T15:38:58.073" v="1158" actId="313"/>
          <ac:graphicFrameMkLst>
            <pc:docMk/>
            <pc:sldMk cId="289734734" sldId="2147472121"/>
            <ac:graphicFrameMk id="5" creationId="{E9AE7BA3-E382-37AF-A4D7-457B619974F4}"/>
          </ac:graphicFrameMkLst>
        </pc:graphicFrameChg>
      </pc:sldChg>
      <pc:sldChg chg="modSp add mod addCm modCm">
        <pc:chgData name="Afzal, Tanzeel" userId="4c1bee66-eab8-4968-ab2a-d2fc86f622d3" providerId="ADAL" clId="{379C0618-42FE-451D-8FAA-3258774ED7D0}" dt="2023-12-11T19:24:44.397" v="3344"/>
        <pc:sldMkLst>
          <pc:docMk/>
          <pc:sldMk cId="1863641052" sldId="2147472121"/>
        </pc:sldMkLst>
        <pc:graphicFrameChg chg="modGraphic">
          <ac:chgData name="Afzal, Tanzeel" userId="4c1bee66-eab8-4968-ab2a-d2fc86f622d3" providerId="ADAL" clId="{379C0618-42FE-451D-8FAA-3258774ED7D0}" dt="2023-12-11T19:16:09.189" v="3298" actId="20577"/>
          <ac:graphicFrameMkLst>
            <pc:docMk/>
            <pc:sldMk cId="1863641052" sldId="2147472121"/>
            <ac:graphicFrameMk id="5" creationId="{E9AE7BA3-E382-37AF-A4D7-457B619974F4}"/>
          </ac:graphicFrameMkLst>
        </pc:graphicFrameChg>
      </pc:sldChg>
      <pc:sldChg chg="delSp modSp mod ord">
        <pc:chgData name="Afzal, Tanzeel" userId="4c1bee66-eab8-4968-ab2a-d2fc86f622d3" providerId="ADAL" clId="{379C0618-42FE-451D-8FAA-3258774ED7D0}" dt="2023-12-11T17:56:57.572" v="1878" actId="313"/>
        <pc:sldMkLst>
          <pc:docMk/>
          <pc:sldMk cId="3332771343" sldId="2147472122"/>
        </pc:sldMkLst>
        <pc:spChg chg="mod">
          <ac:chgData name="Afzal, Tanzeel" userId="4c1bee66-eab8-4968-ab2a-d2fc86f622d3" providerId="ADAL" clId="{379C0618-42FE-451D-8FAA-3258774ED7D0}" dt="2023-12-11T17:56:57.572" v="1878" actId="313"/>
          <ac:spMkLst>
            <pc:docMk/>
            <pc:sldMk cId="3332771343" sldId="2147472122"/>
            <ac:spMk id="17" creationId="{2088C13B-BB36-4AC2-91B8-77D54C41899C}"/>
          </ac:spMkLst>
        </pc:spChg>
        <pc:spChg chg="del mod">
          <ac:chgData name="Afzal, Tanzeel" userId="4c1bee66-eab8-4968-ab2a-d2fc86f622d3" providerId="ADAL" clId="{379C0618-42FE-451D-8FAA-3258774ED7D0}" dt="2023-12-11T10:05:57.968" v="63" actId="478"/>
          <ac:spMkLst>
            <pc:docMk/>
            <pc:sldMk cId="3332771343" sldId="2147472122"/>
            <ac:spMk id="28" creationId="{4980EA97-2472-4252-92A9-90258BE17AFC}"/>
          </ac:spMkLst>
        </pc:spChg>
        <pc:spChg chg="del">
          <ac:chgData name="Afzal, Tanzeel" userId="4c1bee66-eab8-4968-ab2a-d2fc86f622d3" providerId="ADAL" clId="{379C0618-42FE-451D-8FAA-3258774ED7D0}" dt="2023-12-11T10:06:00.681" v="64" actId="478"/>
          <ac:spMkLst>
            <pc:docMk/>
            <pc:sldMk cId="3332771343" sldId="2147472122"/>
            <ac:spMk id="29" creationId="{D512C01C-1CE1-4456-A0DC-7865B737085A}"/>
          </ac:spMkLst>
        </pc:spChg>
        <pc:spChg chg="mod">
          <ac:chgData name="Afzal, Tanzeel" userId="4c1bee66-eab8-4968-ab2a-d2fc86f622d3" providerId="ADAL" clId="{379C0618-42FE-451D-8FAA-3258774ED7D0}" dt="2023-12-11T10:05:36.836" v="61" actId="20577"/>
          <ac:spMkLst>
            <pc:docMk/>
            <pc:sldMk cId="3332771343" sldId="2147472122"/>
            <ac:spMk id="75" creationId="{0B00487E-9A8E-46E0-B60F-BB884C23310C}"/>
          </ac:spMkLst>
        </pc:spChg>
      </pc:sldChg>
      <pc:sldChg chg="modSp mod">
        <pc:chgData name="Afzal, Tanzeel" userId="4c1bee66-eab8-4968-ab2a-d2fc86f622d3" providerId="ADAL" clId="{379C0618-42FE-451D-8FAA-3258774ED7D0}" dt="2023-12-11T10:05:32.594" v="60" actId="20577"/>
        <pc:sldMkLst>
          <pc:docMk/>
          <pc:sldMk cId="2854616059" sldId="2147472123"/>
        </pc:sldMkLst>
        <pc:spChg chg="mod">
          <ac:chgData name="Afzal, Tanzeel" userId="4c1bee66-eab8-4968-ab2a-d2fc86f622d3" providerId="ADAL" clId="{379C0618-42FE-451D-8FAA-3258774ED7D0}" dt="2023-12-11T10:05:32.594" v="60" actId="20577"/>
          <ac:spMkLst>
            <pc:docMk/>
            <pc:sldMk cId="2854616059" sldId="2147472123"/>
            <ac:spMk id="5" creationId="{D9EFB992-68F5-4CAC-9C22-A198D259AEE8}"/>
          </ac:spMkLst>
        </pc:spChg>
      </pc:sldChg>
      <pc:sldChg chg="modSp mod ord">
        <pc:chgData name="Afzal, Tanzeel" userId="4c1bee66-eab8-4968-ab2a-d2fc86f622d3" providerId="ADAL" clId="{379C0618-42FE-451D-8FAA-3258774ED7D0}" dt="2023-12-11T15:35:05.486" v="1094" actId="20577"/>
        <pc:sldMkLst>
          <pc:docMk/>
          <pc:sldMk cId="1486479302" sldId="2147472127"/>
        </pc:sldMkLst>
        <pc:spChg chg="mod">
          <ac:chgData name="Afzal, Tanzeel" userId="4c1bee66-eab8-4968-ab2a-d2fc86f622d3" providerId="ADAL" clId="{379C0618-42FE-451D-8FAA-3258774ED7D0}" dt="2023-12-11T10:13:32.607" v="129" actId="1076"/>
          <ac:spMkLst>
            <pc:docMk/>
            <pc:sldMk cId="1486479302" sldId="2147472127"/>
            <ac:spMk id="4" creationId="{2FB613DC-9E56-5E8D-AE42-C0F5E44C310A}"/>
          </ac:spMkLst>
        </pc:spChg>
        <pc:spChg chg="mod">
          <ac:chgData name="Afzal, Tanzeel" userId="4c1bee66-eab8-4968-ab2a-d2fc86f622d3" providerId="ADAL" clId="{379C0618-42FE-451D-8FAA-3258774ED7D0}" dt="2023-12-11T10:13:36.503" v="130" actId="1076"/>
          <ac:spMkLst>
            <pc:docMk/>
            <pc:sldMk cId="1486479302" sldId="2147472127"/>
            <ac:spMk id="5" creationId="{9E0DBC6F-0431-8CD1-D12B-D63573D75633}"/>
          </ac:spMkLst>
        </pc:spChg>
        <pc:spChg chg="mod">
          <ac:chgData name="Afzal, Tanzeel" userId="4c1bee66-eab8-4968-ab2a-d2fc86f622d3" providerId="ADAL" clId="{379C0618-42FE-451D-8FAA-3258774ED7D0}" dt="2023-12-11T15:35:05.486" v="1094" actId="20577"/>
          <ac:spMkLst>
            <pc:docMk/>
            <pc:sldMk cId="1486479302" sldId="2147472127"/>
            <ac:spMk id="75" creationId="{0B00487E-9A8E-46E0-B60F-BB884C23310C}"/>
          </ac:spMkLst>
        </pc:spChg>
      </pc:sldChg>
      <pc:sldChg chg="modSp del mod">
        <pc:chgData name="Afzal, Tanzeel" userId="4c1bee66-eab8-4968-ab2a-d2fc86f622d3" providerId="ADAL" clId="{379C0618-42FE-451D-8FAA-3258774ED7D0}" dt="2023-12-11T15:05:54.682" v="902" actId="47"/>
        <pc:sldMkLst>
          <pc:docMk/>
          <pc:sldMk cId="252821583" sldId="2147472130"/>
        </pc:sldMkLst>
        <pc:spChg chg="mod">
          <ac:chgData name="Afzal, Tanzeel" userId="4c1bee66-eab8-4968-ab2a-d2fc86f622d3" providerId="ADAL" clId="{379C0618-42FE-451D-8FAA-3258774ED7D0}" dt="2023-12-11T10:16:25.204" v="137" actId="20577"/>
          <ac:spMkLst>
            <pc:docMk/>
            <pc:sldMk cId="252821583" sldId="2147472130"/>
            <ac:spMk id="75" creationId="{0B00487E-9A8E-46E0-B60F-BB884C23310C}"/>
          </ac:spMkLst>
        </pc:spChg>
      </pc:sldChg>
      <pc:sldChg chg="addSp delSp modSp del mod">
        <pc:chgData name="Afzal, Tanzeel" userId="4c1bee66-eab8-4968-ab2a-d2fc86f622d3" providerId="ADAL" clId="{379C0618-42FE-451D-8FAA-3258774ED7D0}" dt="2023-12-11T13:35:15.923" v="409" actId="47"/>
        <pc:sldMkLst>
          <pc:docMk/>
          <pc:sldMk cId="3817932163" sldId="2147472136"/>
        </pc:sldMkLst>
        <pc:spChg chg="del">
          <ac:chgData name="Afzal, Tanzeel" userId="4c1bee66-eab8-4968-ab2a-d2fc86f622d3" providerId="ADAL" clId="{379C0618-42FE-451D-8FAA-3258774ED7D0}" dt="2023-12-11T10:09:01.197" v="81" actId="478"/>
          <ac:spMkLst>
            <pc:docMk/>
            <pc:sldMk cId="3817932163" sldId="2147472136"/>
            <ac:spMk id="2" creationId="{02FE5F0B-ADE4-D53B-D7AF-6D40D360DB0B}"/>
          </ac:spMkLst>
        </pc:spChg>
        <pc:spChg chg="del">
          <ac:chgData name="Afzal, Tanzeel" userId="4c1bee66-eab8-4968-ab2a-d2fc86f622d3" providerId="ADAL" clId="{379C0618-42FE-451D-8FAA-3258774ED7D0}" dt="2023-12-11T10:09:17.685" v="84" actId="478"/>
          <ac:spMkLst>
            <pc:docMk/>
            <pc:sldMk cId="3817932163" sldId="2147472136"/>
            <ac:spMk id="3" creationId="{142CE3D6-5D8D-B471-78B0-5C4102A46C9A}"/>
          </ac:spMkLst>
        </pc:spChg>
        <pc:spChg chg="del">
          <ac:chgData name="Afzal, Tanzeel" userId="4c1bee66-eab8-4968-ab2a-d2fc86f622d3" providerId="ADAL" clId="{379C0618-42FE-451D-8FAA-3258774ED7D0}" dt="2023-12-11T10:09:20.839" v="85" actId="478"/>
          <ac:spMkLst>
            <pc:docMk/>
            <pc:sldMk cId="3817932163" sldId="2147472136"/>
            <ac:spMk id="4" creationId="{5CA2A789-5540-E90B-B779-2894A105DB41}"/>
          </ac:spMkLst>
        </pc:spChg>
        <pc:spChg chg="del">
          <ac:chgData name="Afzal, Tanzeel" userId="4c1bee66-eab8-4968-ab2a-d2fc86f622d3" providerId="ADAL" clId="{379C0618-42FE-451D-8FAA-3258774ED7D0}" dt="2023-12-11T10:09:01.197" v="81" actId="478"/>
          <ac:spMkLst>
            <pc:docMk/>
            <pc:sldMk cId="3817932163" sldId="2147472136"/>
            <ac:spMk id="5" creationId="{A6F1B87A-1D67-108B-D9FF-7D841CF7ED5D}"/>
          </ac:spMkLst>
        </pc:spChg>
        <pc:spChg chg="del">
          <ac:chgData name="Afzal, Tanzeel" userId="4c1bee66-eab8-4968-ab2a-d2fc86f622d3" providerId="ADAL" clId="{379C0618-42FE-451D-8FAA-3258774ED7D0}" dt="2023-12-11T10:09:01.197" v="81" actId="478"/>
          <ac:spMkLst>
            <pc:docMk/>
            <pc:sldMk cId="3817932163" sldId="2147472136"/>
            <ac:spMk id="6" creationId="{4ECA6469-5B12-B2A8-68C7-BBCA7342F2A2}"/>
          </ac:spMkLst>
        </pc:spChg>
        <pc:spChg chg="del">
          <ac:chgData name="Afzal, Tanzeel" userId="4c1bee66-eab8-4968-ab2a-d2fc86f622d3" providerId="ADAL" clId="{379C0618-42FE-451D-8FAA-3258774ED7D0}" dt="2023-12-11T10:09:01.197" v="81" actId="478"/>
          <ac:spMkLst>
            <pc:docMk/>
            <pc:sldMk cId="3817932163" sldId="2147472136"/>
            <ac:spMk id="10" creationId="{2414A52B-975E-9BA4-3623-4F84E4ADD492}"/>
          </ac:spMkLst>
        </pc:spChg>
        <pc:spChg chg="del">
          <ac:chgData name="Afzal, Tanzeel" userId="4c1bee66-eab8-4968-ab2a-d2fc86f622d3" providerId="ADAL" clId="{379C0618-42FE-451D-8FAA-3258774ED7D0}" dt="2023-12-11T10:08:44.310" v="80" actId="478"/>
          <ac:spMkLst>
            <pc:docMk/>
            <pc:sldMk cId="3817932163" sldId="2147472136"/>
            <ac:spMk id="17" creationId="{CD63809A-7551-2B68-F27E-68DB4F0CBC1A}"/>
          </ac:spMkLst>
        </pc:spChg>
        <pc:spChg chg="del">
          <ac:chgData name="Afzal, Tanzeel" userId="4c1bee66-eab8-4968-ab2a-d2fc86f622d3" providerId="ADAL" clId="{379C0618-42FE-451D-8FAA-3258774ED7D0}" dt="2023-12-11T10:09:29.804" v="88" actId="478"/>
          <ac:spMkLst>
            <pc:docMk/>
            <pc:sldMk cId="3817932163" sldId="2147472136"/>
            <ac:spMk id="18" creationId="{34C5D708-2E9C-F17D-18D5-6D58329C9AA6}"/>
          </ac:spMkLst>
        </pc:spChg>
        <pc:spChg chg="add del mod">
          <ac:chgData name="Afzal, Tanzeel" userId="4c1bee66-eab8-4968-ab2a-d2fc86f622d3" providerId="ADAL" clId="{379C0618-42FE-451D-8FAA-3258774ED7D0}" dt="2023-12-11T10:09:43.816" v="94"/>
          <ac:spMkLst>
            <pc:docMk/>
            <pc:sldMk cId="3817932163" sldId="2147472136"/>
            <ac:spMk id="24" creationId="{2267B036-CFDA-2717-96A0-FA6E2215EF63}"/>
          </ac:spMkLst>
        </pc:spChg>
        <pc:spChg chg="add del mod">
          <ac:chgData name="Afzal, Tanzeel" userId="4c1bee66-eab8-4968-ab2a-d2fc86f622d3" providerId="ADAL" clId="{379C0618-42FE-451D-8FAA-3258774ED7D0}" dt="2023-12-11T10:09:43.816" v="94"/>
          <ac:spMkLst>
            <pc:docMk/>
            <pc:sldMk cId="3817932163" sldId="2147472136"/>
            <ac:spMk id="25" creationId="{3300911C-60EE-7119-C24D-2B139D62A233}"/>
          </ac:spMkLst>
        </pc:spChg>
        <pc:spChg chg="add del mod">
          <ac:chgData name="Afzal, Tanzeel" userId="4c1bee66-eab8-4968-ab2a-d2fc86f622d3" providerId="ADAL" clId="{379C0618-42FE-451D-8FAA-3258774ED7D0}" dt="2023-12-11T10:09:43.816" v="94"/>
          <ac:spMkLst>
            <pc:docMk/>
            <pc:sldMk cId="3817932163" sldId="2147472136"/>
            <ac:spMk id="26" creationId="{3BE438DA-AEB2-2C28-817F-3D768544CE4C}"/>
          </ac:spMkLst>
        </pc:spChg>
        <pc:spChg chg="add del mod">
          <ac:chgData name="Afzal, Tanzeel" userId="4c1bee66-eab8-4968-ab2a-d2fc86f622d3" providerId="ADAL" clId="{379C0618-42FE-451D-8FAA-3258774ED7D0}" dt="2023-12-11T10:09:43.816" v="94"/>
          <ac:spMkLst>
            <pc:docMk/>
            <pc:sldMk cId="3817932163" sldId="2147472136"/>
            <ac:spMk id="27" creationId="{4EBB3F73-21BE-61E3-1F6C-D15B5FA351E4}"/>
          </ac:spMkLst>
        </pc:spChg>
        <pc:spChg chg="mod">
          <ac:chgData name="Afzal, Tanzeel" userId="4c1bee66-eab8-4968-ab2a-d2fc86f622d3" providerId="ADAL" clId="{379C0618-42FE-451D-8FAA-3258774ED7D0}" dt="2023-12-11T10:13:45.384" v="131" actId="20577"/>
          <ac:spMkLst>
            <pc:docMk/>
            <pc:sldMk cId="3817932163" sldId="2147472136"/>
            <ac:spMk id="31" creationId="{B4B517F9-2521-6E56-2F34-946E50903788}"/>
          </ac:spMkLst>
        </pc:spChg>
        <pc:spChg chg="mod">
          <ac:chgData name="Afzal, Tanzeel" userId="4c1bee66-eab8-4968-ab2a-d2fc86f622d3" providerId="ADAL" clId="{379C0618-42FE-451D-8FAA-3258774ED7D0}" dt="2023-12-11T10:09:41.692" v="93"/>
          <ac:spMkLst>
            <pc:docMk/>
            <pc:sldMk cId="3817932163" sldId="2147472136"/>
            <ac:spMk id="38" creationId="{FF3A9A71-2C3E-3E89-81DB-4C35F74194BB}"/>
          </ac:spMkLst>
        </pc:spChg>
        <pc:spChg chg="mod">
          <ac:chgData name="Afzal, Tanzeel" userId="4c1bee66-eab8-4968-ab2a-d2fc86f622d3" providerId="ADAL" clId="{379C0618-42FE-451D-8FAA-3258774ED7D0}" dt="2023-12-11T10:09:41.692" v="93"/>
          <ac:spMkLst>
            <pc:docMk/>
            <pc:sldMk cId="3817932163" sldId="2147472136"/>
            <ac:spMk id="39" creationId="{0B829B9A-A015-5009-4190-7C3ED095AB97}"/>
          </ac:spMkLst>
        </pc:spChg>
        <pc:spChg chg="del">
          <ac:chgData name="Afzal, Tanzeel" userId="4c1bee66-eab8-4968-ab2a-d2fc86f622d3" providerId="ADAL" clId="{379C0618-42FE-451D-8FAA-3258774ED7D0}" dt="2023-12-11T10:09:35.470" v="90" actId="478"/>
          <ac:spMkLst>
            <pc:docMk/>
            <pc:sldMk cId="3817932163" sldId="2147472136"/>
            <ac:spMk id="52" creationId="{F7BCC40A-2F40-C5BC-11E4-B9CD810E55E8}"/>
          </ac:spMkLst>
        </pc:spChg>
        <pc:spChg chg="mod">
          <ac:chgData name="Afzal, Tanzeel" userId="4c1bee66-eab8-4968-ab2a-d2fc86f622d3" providerId="ADAL" clId="{379C0618-42FE-451D-8FAA-3258774ED7D0}" dt="2023-12-11T10:09:41.692" v="93"/>
          <ac:spMkLst>
            <pc:docMk/>
            <pc:sldMk cId="3817932163" sldId="2147472136"/>
            <ac:spMk id="53" creationId="{102E87F9-0EE1-903C-0806-9D37EA68BEAD}"/>
          </ac:spMkLst>
        </pc:spChg>
        <pc:spChg chg="mod">
          <ac:chgData name="Afzal, Tanzeel" userId="4c1bee66-eab8-4968-ab2a-d2fc86f622d3" providerId="ADAL" clId="{379C0618-42FE-451D-8FAA-3258774ED7D0}" dt="2023-12-11T10:09:41.692" v="93"/>
          <ac:spMkLst>
            <pc:docMk/>
            <pc:sldMk cId="3817932163" sldId="2147472136"/>
            <ac:spMk id="55" creationId="{453F43E5-FC51-84AB-18D6-9DF8A8A43B28}"/>
          </ac:spMkLst>
        </pc:spChg>
        <pc:spChg chg="mod">
          <ac:chgData name="Afzal, Tanzeel" userId="4c1bee66-eab8-4968-ab2a-d2fc86f622d3" providerId="ADAL" clId="{379C0618-42FE-451D-8FAA-3258774ED7D0}" dt="2023-12-11T10:09:41.692" v="93"/>
          <ac:spMkLst>
            <pc:docMk/>
            <pc:sldMk cId="3817932163" sldId="2147472136"/>
            <ac:spMk id="58" creationId="{D171D2A6-149D-E69B-6680-0A7FBBF45E92}"/>
          </ac:spMkLst>
        </pc:spChg>
        <pc:spChg chg="del">
          <ac:chgData name="Afzal, Tanzeel" userId="4c1bee66-eab8-4968-ab2a-d2fc86f622d3" providerId="ADAL" clId="{379C0618-42FE-451D-8FAA-3258774ED7D0}" dt="2023-12-11T10:09:40.922" v="92" actId="478"/>
          <ac:spMkLst>
            <pc:docMk/>
            <pc:sldMk cId="3817932163" sldId="2147472136"/>
            <ac:spMk id="62" creationId="{527CBD87-1831-2D57-823C-5EAF0114AC79}"/>
          </ac:spMkLst>
        </pc:spChg>
        <pc:spChg chg="del">
          <ac:chgData name="Afzal, Tanzeel" userId="4c1bee66-eab8-4968-ab2a-d2fc86f622d3" providerId="ADAL" clId="{379C0618-42FE-451D-8FAA-3258774ED7D0}" dt="2023-12-11T10:09:01.197" v="81" actId="478"/>
          <ac:spMkLst>
            <pc:docMk/>
            <pc:sldMk cId="3817932163" sldId="2147472136"/>
            <ac:spMk id="66" creationId="{27B827B0-4E7A-2D6F-7D2C-EF628CF55655}"/>
          </ac:spMkLst>
        </pc:spChg>
        <pc:spChg chg="del">
          <ac:chgData name="Afzal, Tanzeel" userId="4c1bee66-eab8-4968-ab2a-d2fc86f622d3" providerId="ADAL" clId="{379C0618-42FE-451D-8FAA-3258774ED7D0}" dt="2023-12-11T10:09:01.197" v="81" actId="478"/>
          <ac:spMkLst>
            <pc:docMk/>
            <pc:sldMk cId="3817932163" sldId="2147472136"/>
            <ac:spMk id="67" creationId="{86216FC8-0D37-CE99-0214-30C41A92D7EC}"/>
          </ac:spMkLst>
        </pc:spChg>
        <pc:spChg chg="mod">
          <ac:chgData name="Afzal, Tanzeel" userId="4c1bee66-eab8-4968-ab2a-d2fc86f622d3" providerId="ADAL" clId="{379C0618-42FE-451D-8FAA-3258774ED7D0}" dt="2023-12-11T10:09:41.692" v="93"/>
          <ac:spMkLst>
            <pc:docMk/>
            <pc:sldMk cId="3817932163" sldId="2147472136"/>
            <ac:spMk id="68" creationId="{DB6FAD85-BEB4-B2F7-E9B6-16D2A71B46A6}"/>
          </ac:spMkLst>
        </pc:spChg>
        <pc:spChg chg="mod">
          <ac:chgData name="Afzal, Tanzeel" userId="4c1bee66-eab8-4968-ab2a-d2fc86f622d3" providerId="ADAL" clId="{379C0618-42FE-451D-8FAA-3258774ED7D0}" dt="2023-12-11T10:09:41.692" v="93"/>
          <ac:spMkLst>
            <pc:docMk/>
            <pc:sldMk cId="3817932163" sldId="2147472136"/>
            <ac:spMk id="70" creationId="{8B6E6EED-1EF0-1AF1-1C06-78942ABF317B}"/>
          </ac:spMkLst>
        </pc:spChg>
        <pc:spChg chg="mod">
          <ac:chgData name="Afzal, Tanzeel" userId="4c1bee66-eab8-4968-ab2a-d2fc86f622d3" providerId="ADAL" clId="{379C0618-42FE-451D-8FAA-3258774ED7D0}" dt="2023-12-11T10:09:41.692" v="93"/>
          <ac:spMkLst>
            <pc:docMk/>
            <pc:sldMk cId="3817932163" sldId="2147472136"/>
            <ac:spMk id="71" creationId="{F23A52C4-DE20-A108-402A-06192C8314D7}"/>
          </ac:spMkLst>
        </pc:spChg>
        <pc:spChg chg="mod">
          <ac:chgData name="Afzal, Tanzeel" userId="4c1bee66-eab8-4968-ab2a-d2fc86f622d3" providerId="ADAL" clId="{379C0618-42FE-451D-8FAA-3258774ED7D0}" dt="2023-12-11T10:09:41.692" v="93"/>
          <ac:spMkLst>
            <pc:docMk/>
            <pc:sldMk cId="3817932163" sldId="2147472136"/>
            <ac:spMk id="73" creationId="{8D82F265-A5EA-4C7A-BE5C-EC68ECEE684F}"/>
          </ac:spMkLst>
        </pc:spChg>
        <pc:spChg chg="mod">
          <ac:chgData name="Afzal, Tanzeel" userId="4c1bee66-eab8-4968-ab2a-d2fc86f622d3" providerId="ADAL" clId="{379C0618-42FE-451D-8FAA-3258774ED7D0}" dt="2023-12-11T10:09:41.692" v="93"/>
          <ac:spMkLst>
            <pc:docMk/>
            <pc:sldMk cId="3817932163" sldId="2147472136"/>
            <ac:spMk id="74" creationId="{1ED652FA-1EE4-7377-F2E1-95E89FA8F1B6}"/>
          </ac:spMkLst>
        </pc:spChg>
        <pc:spChg chg="mod">
          <ac:chgData name="Afzal, Tanzeel" userId="4c1bee66-eab8-4968-ab2a-d2fc86f622d3" providerId="ADAL" clId="{379C0618-42FE-451D-8FAA-3258774ED7D0}" dt="2023-12-11T10:09:41.692" v="93"/>
          <ac:spMkLst>
            <pc:docMk/>
            <pc:sldMk cId="3817932163" sldId="2147472136"/>
            <ac:spMk id="76" creationId="{ABDA5B48-DA08-9CA9-E491-42E29486EA6E}"/>
          </ac:spMkLst>
        </pc:spChg>
        <pc:spChg chg="mod">
          <ac:chgData name="Afzal, Tanzeel" userId="4c1bee66-eab8-4968-ab2a-d2fc86f622d3" providerId="ADAL" clId="{379C0618-42FE-451D-8FAA-3258774ED7D0}" dt="2023-12-11T10:09:41.692" v="93"/>
          <ac:spMkLst>
            <pc:docMk/>
            <pc:sldMk cId="3817932163" sldId="2147472136"/>
            <ac:spMk id="77" creationId="{9F1DAAAE-8957-F4EE-B403-5D386D58AFD8}"/>
          </ac:spMkLst>
        </pc:spChg>
        <pc:spChg chg="mod">
          <ac:chgData name="Afzal, Tanzeel" userId="4c1bee66-eab8-4968-ab2a-d2fc86f622d3" providerId="ADAL" clId="{379C0618-42FE-451D-8FAA-3258774ED7D0}" dt="2023-12-11T10:09:41.692" v="93"/>
          <ac:spMkLst>
            <pc:docMk/>
            <pc:sldMk cId="3817932163" sldId="2147472136"/>
            <ac:spMk id="79" creationId="{0F378C7B-7654-5884-4C45-FC686343FFEE}"/>
          </ac:spMkLst>
        </pc:spChg>
        <pc:spChg chg="mod">
          <ac:chgData name="Afzal, Tanzeel" userId="4c1bee66-eab8-4968-ab2a-d2fc86f622d3" providerId="ADAL" clId="{379C0618-42FE-451D-8FAA-3258774ED7D0}" dt="2023-12-11T10:09:41.692" v="93"/>
          <ac:spMkLst>
            <pc:docMk/>
            <pc:sldMk cId="3817932163" sldId="2147472136"/>
            <ac:spMk id="80" creationId="{71F921A5-ED7A-0C3D-09B8-B318F7552948}"/>
          </ac:spMkLst>
        </pc:spChg>
        <pc:spChg chg="mod">
          <ac:chgData name="Afzal, Tanzeel" userId="4c1bee66-eab8-4968-ab2a-d2fc86f622d3" providerId="ADAL" clId="{379C0618-42FE-451D-8FAA-3258774ED7D0}" dt="2023-12-11T10:09:41.692" v="93"/>
          <ac:spMkLst>
            <pc:docMk/>
            <pc:sldMk cId="3817932163" sldId="2147472136"/>
            <ac:spMk id="82" creationId="{48BAC17E-2EBD-E37B-B725-BBCBD5179F94}"/>
          </ac:spMkLst>
        </pc:spChg>
        <pc:spChg chg="mod">
          <ac:chgData name="Afzal, Tanzeel" userId="4c1bee66-eab8-4968-ab2a-d2fc86f622d3" providerId="ADAL" clId="{379C0618-42FE-451D-8FAA-3258774ED7D0}" dt="2023-12-11T10:09:41.692" v="93"/>
          <ac:spMkLst>
            <pc:docMk/>
            <pc:sldMk cId="3817932163" sldId="2147472136"/>
            <ac:spMk id="83" creationId="{38DEBA3D-8511-7E91-D84A-2E0236628F78}"/>
          </ac:spMkLst>
        </pc:spChg>
        <pc:spChg chg="add mod">
          <ac:chgData name="Afzal, Tanzeel" userId="4c1bee66-eab8-4968-ab2a-d2fc86f622d3" providerId="ADAL" clId="{379C0618-42FE-451D-8FAA-3258774ED7D0}" dt="2023-12-11T10:09:53.997" v="95"/>
          <ac:spMkLst>
            <pc:docMk/>
            <pc:sldMk cId="3817932163" sldId="2147472136"/>
            <ac:spMk id="85" creationId="{DF94748D-9E62-0CA2-8B6B-461B9F1A841A}"/>
          </ac:spMkLst>
        </pc:spChg>
        <pc:spChg chg="add mod">
          <ac:chgData name="Afzal, Tanzeel" userId="4c1bee66-eab8-4968-ab2a-d2fc86f622d3" providerId="ADAL" clId="{379C0618-42FE-451D-8FAA-3258774ED7D0}" dt="2023-12-11T10:09:53.997" v="95"/>
          <ac:spMkLst>
            <pc:docMk/>
            <pc:sldMk cId="3817932163" sldId="2147472136"/>
            <ac:spMk id="86" creationId="{873D9B5A-AC60-FC86-1623-1EE839D01A0A}"/>
          </ac:spMkLst>
        </pc:spChg>
        <pc:spChg chg="add mod">
          <ac:chgData name="Afzal, Tanzeel" userId="4c1bee66-eab8-4968-ab2a-d2fc86f622d3" providerId="ADAL" clId="{379C0618-42FE-451D-8FAA-3258774ED7D0}" dt="2023-12-11T10:09:53.997" v="95"/>
          <ac:spMkLst>
            <pc:docMk/>
            <pc:sldMk cId="3817932163" sldId="2147472136"/>
            <ac:spMk id="87" creationId="{EAAD4F7E-CB9F-AA18-DFDC-7AC510A2D6F5}"/>
          </ac:spMkLst>
        </pc:spChg>
        <pc:spChg chg="add mod">
          <ac:chgData name="Afzal, Tanzeel" userId="4c1bee66-eab8-4968-ab2a-d2fc86f622d3" providerId="ADAL" clId="{379C0618-42FE-451D-8FAA-3258774ED7D0}" dt="2023-12-11T10:09:53.997" v="95"/>
          <ac:spMkLst>
            <pc:docMk/>
            <pc:sldMk cId="3817932163" sldId="2147472136"/>
            <ac:spMk id="88" creationId="{1C5AB84D-31A9-93B0-E694-4E887A69FDC3}"/>
          </ac:spMkLst>
        </pc:spChg>
        <pc:spChg chg="add mod">
          <ac:chgData name="Afzal, Tanzeel" userId="4c1bee66-eab8-4968-ab2a-d2fc86f622d3" providerId="ADAL" clId="{379C0618-42FE-451D-8FAA-3258774ED7D0}" dt="2023-12-11T10:09:53.997" v="95"/>
          <ac:spMkLst>
            <pc:docMk/>
            <pc:sldMk cId="3817932163" sldId="2147472136"/>
            <ac:spMk id="89" creationId="{DE3BAA44-7C30-9281-EADE-5F0CEECF0DBC}"/>
          </ac:spMkLst>
        </pc:spChg>
        <pc:spChg chg="add mod">
          <ac:chgData name="Afzal, Tanzeel" userId="4c1bee66-eab8-4968-ab2a-d2fc86f622d3" providerId="ADAL" clId="{379C0618-42FE-451D-8FAA-3258774ED7D0}" dt="2023-12-11T10:09:53.997" v="95"/>
          <ac:spMkLst>
            <pc:docMk/>
            <pc:sldMk cId="3817932163" sldId="2147472136"/>
            <ac:spMk id="90" creationId="{6901E7CC-8567-21B9-41D5-634F5F579DFA}"/>
          </ac:spMkLst>
        </pc:spChg>
        <pc:spChg chg="mod">
          <ac:chgData name="Afzal, Tanzeel" userId="4c1bee66-eab8-4968-ab2a-d2fc86f622d3" providerId="ADAL" clId="{379C0618-42FE-451D-8FAA-3258774ED7D0}" dt="2023-12-11T10:09:53.997" v="95"/>
          <ac:spMkLst>
            <pc:docMk/>
            <pc:sldMk cId="3817932163" sldId="2147472136"/>
            <ac:spMk id="92" creationId="{5A66B25E-A23E-35A4-01BE-D848483001D4}"/>
          </ac:spMkLst>
        </pc:spChg>
        <pc:spChg chg="mod">
          <ac:chgData name="Afzal, Tanzeel" userId="4c1bee66-eab8-4968-ab2a-d2fc86f622d3" providerId="ADAL" clId="{379C0618-42FE-451D-8FAA-3258774ED7D0}" dt="2023-12-11T10:09:53.997" v="95"/>
          <ac:spMkLst>
            <pc:docMk/>
            <pc:sldMk cId="3817932163" sldId="2147472136"/>
            <ac:spMk id="93" creationId="{85406C37-676B-53CA-F359-D1E1EF0C298C}"/>
          </ac:spMkLst>
        </pc:spChg>
        <pc:spChg chg="mod">
          <ac:chgData name="Afzal, Tanzeel" userId="4c1bee66-eab8-4968-ab2a-d2fc86f622d3" providerId="ADAL" clId="{379C0618-42FE-451D-8FAA-3258774ED7D0}" dt="2023-12-11T10:39:03.901" v="192" actId="1038"/>
          <ac:spMkLst>
            <pc:docMk/>
            <pc:sldMk cId="3817932163" sldId="2147472136"/>
            <ac:spMk id="95" creationId="{5CF57C96-B5B5-C654-9147-6507B096B38E}"/>
          </ac:spMkLst>
        </pc:spChg>
        <pc:spChg chg="mod">
          <ac:chgData name="Afzal, Tanzeel" userId="4c1bee66-eab8-4968-ab2a-d2fc86f622d3" providerId="ADAL" clId="{379C0618-42FE-451D-8FAA-3258774ED7D0}" dt="2023-12-11T10:38:55.978" v="179" actId="1038"/>
          <ac:spMkLst>
            <pc:docMk/>
            <pc:sldMk cId="3817932163" sldId="2147472136"/>
            <ac:spMk id="96" creationId="{1396F492-BABB-0B75-B8BC-6053014EDAD9}"/>
          </ac:spMkLst>
        </pc:spChg>
        <pc:spChg chg="mod">
          <ac:chgData name="Afzal, Tanzeel" userId="4c1bee66-eab8-4968-ab2a-d2fc86f622d3" providerId="ADAL" clId="{379C0618-42FE-451D-8FAA-3258774ED7D0}" dt="2023-12-11T10:09:53.997" v="95"/>
          <ac:spMkLst>
            <pc:docMk/>
            <pc:sldMk cId="3817932163" sldId="2147472136"/>
            <ac:spMk id="98" creationId="{F76013D3-50F1-D310-4319-FD195AE1DC31}"/>
          </ac:spMkLst>
        </pc:spChg>
        <pc:spChg chg="mod">
          <ac:chgData name="Afzal, Tanzeel" userId="4c1bee66-eab8-4968-ab2a-d2fc86f622d3" providerId="ADAL" clId="{379C0618-42FE-451D-8FAA-3258774ED7D0}" dt="2023-12-11T10:09:53.997" v="95"/>
          <ac:spMkLst>
            <pc:docMk/>
            <pc:sldMk cId="3817932163" sldId="2147472136"/>
            <ac:spMk id="99" creationId="{7AF6C7D8-FE55-81B0-A073-BA06A04C1BB9}"/>
          </ac:spMkLst>
        </pc:spChg>
        <pc:spChg chg="del mod topLvl">
          <ac:chgData name="Afzal, Tanzeel" userId="4c1bee66-eab8-4968-ab2a-d2fc86f622d3" providerId="ADAL" clId="{379C0618-42FE-451D-8FAA-3258774ED7D0}" dt="2023-12-11T10:38:32.623" v="164" actId="478"/>
          <ac:spMkLst>
            <pc:docMk/>
            <pc:sldMk cId="3817932163" sldId="2147472136"/>
            <ac:spMk id="101" creationId="{D5F3ED8E-E154-2391-814B-AA040BE59BF9}"/>
          </ac:spMkLst>
        </pc:spChg>
        <pc:spChg chg="del mod topLvl">
          <ac:chgData name="Afzal, Tanzeel" userId="4c1bee66-eab8-4968-ab2a-d2fc86f622d3" providerId="ADAL" clId="{379C0618-42FE-451D-8FAA-3258774ED7D0}" dt="2023-12-11T10:38:35.714" v="165" actId="478"/>
          <ac:spMkLst>
            <pc:docMk/>
            <pc:sldMk cId="3817932163" sldId="2147472136"/>
            <ac:spMk id="102" creationId="{7C233274-567A-FC09-28FF-82B91F8098C9}"/>
          </ac:spMkLst>
        </pc:spChg>
        <pc:spChg chg="mod">
          <ac:chgData name="Afzal, Tanzeel" userId="4c1bee66-eab8-4968-ab2a-d2fc86f622d3" providerId="ADAL" clId="{379C0618-42FE-451D-8FAA-3258774ED7D0}" dt="2023-12-11T10:09:53.997" v="95"/>
          <ac:spMkLst>
            <pc:docMk/>
            <pc:sldMk cId="3817932163" sldId="2147472136"/>
            <ac:spMk id="104" creationId="{7A3BAA69-A3BF-07D2-FCEC-58D018F2ECA4}"/>
          </ac:spMkLst>
        </pc:spChg>
        <pc:spChg chg="mod">
          <ac:chgData name="Afzal, Tanzeel" userId="4c1bee66-eab8-4968-ab2a-d2fc86f622d3" providerId="ADAL" clId="{379C0618-42FE-451D-8FAA-3258774ED7D0}" dt="2023-12-11T10:09:53.997" v="95"/>
          <ac:spMkLst>
            <pc:docMk/>
            <pc:sldMk cId="3817932163" sldId="2147472136"/>
            <ac:spMk id="105" creationId="{B8B31946-3E33-9BF4-61A9-483DDEE1D47D}"/>
          </ac:spMkLst>
        </pc:spChg>
        <pc:spChg chg="mod">
          <ac:chgData name="Afzal, Tanzeel" userId="4c1bee66-eab8-4968-ab2a-d2fc86f622d3" providerId="ADAL" clId="{379C0618-42FE-451D-8FAA-3258774ED7D0}" dt="2023-12-11T10:09:53.997" v="95"/>
          <ac:spMkLst>
            <pc:docMk/>
            <pc:sldMk cId="3817932163" sldId="2147472136"/>
            <ac:spMk id="107" creationId="{F8CFFA9F-AF78-A78D-EA77-E417F51A2B29}"/>
          </ac:spMkLst>
        </pc:spChg>
        <pc:spChg chg="mod">
          <ac:chgData name="Afzal, Tanzeel" userId="4c1bee66-eab8-4968-ab2a-d2fc86f622d3" providerId="ADAL" clId="{379C0618-42FE-451D-8FAA-3258774ED7D0}" dt="2023-12-11T10:09:53.997" v="95"/>
          <ac:spMkLst>
            <pc:docMk/>
            <pc:sldMk cId="3817932163" sldId="2147472136"/>
            <ac:spMk id="108" creationId="{0CA01585-9B00-A549-78B1-4784E8EF8E70}"/>
          </ac:spMkLst>
        </pc:spChg>
        <pc:spChg chg="mod">
          <ac:chgData name="Afzal, Tanzeel" userId="4c1bee66-eab8-4968-ab2a-d2fc86f622d3" providerId="ADAL" clId="{379C0618-42FE-451D-8FAA-3258774ED7D0}" dt="2023-12-11T10:09:53.997" v="95"/>
          <ac:spMkLst>
            <pc:docMk/>
            <pc:sldMk cId="3817932163" sldId="2147472136"/>
            <ac:spMk id="110" creationId="{844EB7D0-E814-327D-5C74-1B73CE67C31C}"/>
          </ac:spMkLst>
        </pc:spChg>
        <pc:spChg chg="mod">
          <ac:chgData name="Afzal, Tanzeel" userId="4c1bee66-eab8-4968-ab2a-d2fc86f622d3" providerId="ADAL" clId="{379C0618-42FE-451D-8FAA-3258774ED7D0}" dt="2023-12-11T10:09:53.997" v="95"/>
          <ac:spMkLst>
            <pc:docMk/>
            <pc:sldMk cId="3817932163" sldId="2147472136"/>
            <ac:spMk id="111" creationId="{698CC83F-CCA5-B1E5-22F7-CD556A76FA8E}"/>
          </ac:spMkLst>
        </pc:spChg>
        <pc:spChg chg="mod">
          <ac:chgData name="Afzal, Tanzeel" userId="4c1bee66-eab8-4968-ab2a-d2fc86f622d3" providerId="ADAL" clId="{379C0618-42FE-451D-8FAA-3258774ED7D0}" dt="2023-12-11T10:09:53.997" v="95"/>
          <ac:spMkLst>
            <pc:docMk/>
            <pc:sldMk cId="3817932163" sldId="2147472136"/>
            <ac:spMk id="113" creationId="{436AEA1F-9417-ACF0-D047-DC860E9F226B}"/>
          </ac:spMkLst>
        </pc:spChg>
        <pc:spChg chg="mod">
          <ac:chgData name="Afzal, Tanzeel" userId="4c1bee66-eab8-4968-ab2a-d2fc86f622d3" providerId="ADAL" clId="{379C0618-42FE-451D-8FAA-3258774ED7D0}" dt="2023-12-11T10:09:53.997" v="95"/>
          <ac:spMkLst>
            <pc:docMk/>
            <pc:sldMk cId="3817932163" sldId="2147472136"/>
            <ac:spMk id="114" creationId="{D07197D8-08D3-2586-D022-1ADDA23560BA}"/>
          </ac:spMkLst>
        </pc:spChg>
        <pc:spChg chg="mod">
          <ac:chgData name="Afzal, Tanzeel" userId="4c1bee66-eab8-4968-ab2a-d2fc86f622d3" providerId="ADAL" clId="{379C0618-42FE-451D-8FAA-3258774ED7D0}" dt="2023-12-11T10:10:20.490" v="96"/>
          <ac:spMkLst>
            <pc:docMk/>
            <pc:sldMk cId="3817932163" sldId="2147472136"/>
            <ac:spMk id="116" creationId="{F5BFD78A-63AD-9B3F-6FB0-001480E965FA}"/>
          </ac:spMkLst>
        </pc:spChg>
        <pc:spChg chg="mod">
          <ac:chgData name="Afzal, Tanzeel" userId="4c1bee66-eab8-4968-ab2a-d2fc86f622d3" providerId="ADAL" clId="{379C0618-42FE-451D-8FAA-3258774ED7D0}" dt="2023-12-11T10:10:20.490" v="96"/>
          <ac:spMkLst>
            <pc:docMk/>
            <pc:sldMk cId="3817932163" sldId="2147472136"/>
            <ac:spMk id="117" creationId="{8CEF6784-7F6E-F227-D7EA-3991DBC2EB7B}"/>
          </ac:spMkLst>
        </pc:spChg>
        <pc:spChg chg="mod">
          <ac:chgData name="Afzal, Tanzeel" userId="4c1bee66-eab8-4968-ab2a-d2fc86f622d3" providerId="ADAL" clId="{379C0618-42FE-451D-8FAA-3258774ED7D0}" dt="2023-12-11T10:10:20.490" v="96"/>
          <ac:spMkLst>
            <pc:docMk/>
            <pc:sldMk cId="3817932163" sldId="2147472136"/>
            <ac:spMk id="119" creationId="{1CAC1696-844B-ED9B-4148-2244710133AD}"/>
          </ac:spMkLst>
        </pc:spChg>
        <pc:spChg chg="mod">
          <ac:chgData name="Afzal, Tanzeel" userId="4c1bee66-eab8-4968-ab2a-d2fc86f622d3" providerId="ADAL" clId="{379C0618-42FE-451D-8FAA-3258774ED7D0}" dt="2023-12-11T10:10:20.490" v="96"/>
          <ac:spMkLst>
            <pc:docMk/>
            <pc:sldMk cId="3817932163" sldId="2147472136"/>
            <ac:spMk id="120" creationId="{D3ADE174-AE75-7D9C-153D-253B9BFED87B}"/>
          </ac:spMkLst>
        </pc:spChg>
        <pc:spChg chg="mod">
          <ac:chgData name="Afzal, Tanzeel" userId="4c1bee66-eab8-4968-ab2a-d2fc86f622d3" providerId="ADAL" clId="{379C0618-42FE-451D-8FAA-3258774ED7D0}" dt="2023-12-11T10:10:20.490" v="96"/>
          <ac:spMkLst>
            <pc:docMk/>
            <pc:sldMk cId="3817932163" sldId="2147472136"/>
            <ac:spMk id="122" creationId="{82183F72-2E35-D58A-017F-D590C7BA2170}"/>
          </ac:spMkLst>
        </pc:spChg>
        <pc:spChg chg="mod">
          <ac:chgData name="Afzal, Tanzeel" userId="4c1bee66-eab8-4968-ab2a-d2fc86f622d3" providerId="ADAL" clId="{379C0618-42FE-451D-8FAA-3258774ED7D0}" dt="2023-12-11T10:10:20.490" v="96"/>
          <ac:spMkLst>
            <pc:docMk/>
            <pc:sldMk cId="3817932163" sldId="2147472136"/>
            <ac:spMk id="123" creationId="{6985F131-178B-49BC-15E4-A93C509E7247}"/>
          </ac:spMkLst>
        </pc:spChg>
        <pc:grpChg chg="del">
          <ac:chgData name="Afzal, Tanzeel" userId="4c1bee66-eab8-4968-ab2a-d2fc86f622d3" providerId="ADAL" clId="{379C0618-42FE-451D-8FAA-3258774ED7D0}" dt="2023-12-11T10:09:13.645" v="82" actId="478"/>
          <ac:grpSpMkLst>
            <pc:docMk/>
            <pc:sldMk cId="3817932163" sldId="2147472136"/>
            <ac:grpSpMk id="7" creationId="{E17FBD70-4AD3-8E44-6BF4-4354D3E948F1}"/>
          </ac:grpSpMkLst>
        </pc:grpChg>
        <pc:grpChg chg="del">
          <ac:chgData name="Afzal, Tanzeel" userId="4c1bee66-eab8-4968-ab2a-d2fc86f622d3" providerId="ADAL" clId="{379C0618-42FE-451D-8FAA-3258774ED7D0}" dt="2023-12-11T10:09:13.645" v="82" actId="478"/>
          <ac:grpSpMkLst>
            <pc:docMk/>
            <pc:sldMk cId="3817932163" sldId="2147472136"/>
            <ac:grpSpMk id="11" creationId="{CC9C601C-7CD3-AC43-3514-CBA0BE71D66F}"/>
          </ac:grpSpMkLst>
        </pc:grpChg>
        <pc:grpChg chg="del">
          <ac:chgData name="Afzal, Tanzeel" userId="4c1bee66-eab8-4968-ab2a-d2fc86f622d3" providerId="ADAL" clId="{379C0618-42FE-451D-8FAA-3258774ED7D0}" dt="2023-12-11T10:09:01.197" v="81" actId="478"/>
          <ac:grpSpMkLst>
            <pc:docMk/>
            <pc:sldMk cId="3817932163" sldId="2147472136"/>
            <ac:grpSpMk id="16" creationId="{FD27FDB3-428F-BED1-BA46-BD866CCBB435}"/>
          </ac:grpSpMkLst>
        </pc:grpChg>
        <pc:grpChg chg="del">
          <ac:chgData name="Afzal, Tanzeel" userId="4c1bee66-eab8-4968-ab2a-d2fc86f622d3" providerId="ADAL" clId="{379C0618-42FE-451D-8FAA-3258774ED7D0}" dt="2023-12-11T10:09:13.645" v="82" actId="478"/>
          <ac:grpSpMkLst>
            <pc:docMk/>
            <pc:sldMk cId="3817932163" sldId="2147472136"/>
            <ac:grpSpMk id="20" creationId="{D2F08C99-C95D-FF4B-6EDB-B42462E17D75}"/>
          </ac:grpSpMkLst>
        </pc:grpChg>
        <pc:grpChg chg="del">
          <ac:chgData name="Afzal, Tanzeel" userId="4c1bee66-eab8-4968-ab2a-d2fc86f622d3" providerId="ADAL" clId="{379C0618-42FE-451D-8FAA-3258774ED7D0}" dt="2023-12-11T10:09:27.240" v="87" actId="478"/>
          <ac:grpSpMkLst>
            <pc:docMk/>
            <pc:sldMk cId="3817932163" sldId="2147472136"/>
            <ac:grpSpMk id="28" creationId="{498648EB-B4FF-FF23-F1C9-9A4F62588089}"/>
          </ac:grpSpMkLst>
        </pc:grpChg>
        <pc:grpChg chg="add del mod">
          <ac:chgData name="Afzal, Tanzeel" userId="4c1bee66-eab8-4968-ab2a-d2fc86f622d3" providerId="ADAL" clId="{379C0618-42FE-451D-8FAA-3258774ED7D0}" dt="2023-12-11T10:09:43.816" v="94"/>
          <ac:grpSpMkLst>
            <pc:docMk/>
            <pc:sldMk cId="3817932163" sldId="2147472136"/>
            <ac:grpSpMk id="30" creationId="{59111295-D5E3-02CB-AA1D-14092110D95F}"/>
          </ac:grpSpMkLst>
        </pc:grpChg>
        <pc:grpChg chg="del">
          <ac:chgData name="Afzal, Tanzeel" userId="4c1bee66-eab8-4968-ab2a-d2fc86f622d3" providerId="ADAL" clId="{379C0618-42FE-451D-8FAA-3258774ED7D0}" dt="2023-12-11T10:09:16.033" v="83" actId="478"/>
          <ac:grpSpMkLst>
            <pc:docMk/>
            <pc:sldMk cId="3817932163" sldId="2147472136"/>
            <ac:grpSpMk id="35" creationId="{A0CC7BAF-C56F-881C-C139-8298198C8548}"/>
          </ac:grpSpMkLst>
        </pc:grpChg>
        <pc:grpChg chg="add del mod">
          <ac:chgData name="Afzal, Tanzeel" userId="4c1bee66-eab8-4968-ab2a-d2fc86f622d3" providerId="ADAL" clId="{379C0618-42FE-451D-8FAA-3258774ED7D0}" dt="2023-12-11T10:09:43.816" v="94"/>
          <ac:grpSpMkLst>
            <pc:docMk/>
            <pc:sldMk cId="3817932163" sldId="2147472136"/>
            <ac:grpSpMk id="40" creationId="{80D087A7-488A-3E5E-0EF1-719183C6B943}"/>
          </ac:grpSpMkLst>
        </pc:grpChg>
        <pc:grpChg chg="del">
          <ac:chgData name="Afzal, Tanzeel" userId="4c1bee66-eab8-4968-ab2a-d2fc86f622d3" providerId="ADAL" clId="{379C0618-42FE-451D-8FAA-3258774ED7D0}" dt="2023-12-11T10:09:23.072" v="86" actId="478"/>
          <ac:grpSpMkLst>
            <pc:docMk/>
            <pc:sldMk cId="3817932163" sldId="2147472136"/>
            <ac:grpSpMk id="41" creationId="{0247A120-5484-BD80-9FAA-7CD91B7E78AE}"/>
          </ac:grpSpMkLst>
        </pc:grpChg>
        <pc:grpChg chg="del">
          <ac:chgData name="Afzal, Tanzeel" userId="4c1bee66-eab8-4968-ab2a-d2fc86f622d3" providerId="ADAL" clId="{379C0618-42FE-451D-8FAA-3258774ED7D0}" dt="2023-12-11T10:09:32.744" v="89" actId="478"/>
          <ac:grpSpMkLst>
            <pc:docMk/>
            <pc:sldMk cId="3817932163" sldId="2147472136"/>
            <ac:grpSpMk id="44" creationId="{BED7820C-48E8-A15A-D7CE-95A79314E1CE}"/>
          </ac:grpSpMkLst>
        </pc:grpChg>
        <pc:grpChg chg="del">
          <ac:chgData name="Afzal, Tanzeel" userId="4c1bee66-eab8-4968-ab2a-d2fc86f622d3" providerId="ADAL" clId="{379C0618-42FE-451D-8FAA-3258774ED7D0}" dt="2023-12-11T10:09:38.238" v="91" actId="478"/>
          <ac:grpSpMkLst>
            <pc:docMk/>
            <pc:sldMk cId="3817932163" sldId="2147472136"/>
            <ac:grpSpMk id="54" creationId="{20E448D5-89D0-0763-0A8B-458BCA0E1CC4}"/>
          </ac:grpSpMkLst>
        </pc:grpChg>
        <pc:grpChg chg="add del mod">
          <ac:chgData name="Afzal, Tanzeel" userId="4c1bee66-eab8-4968-ab2a-d2fc86f622d3" providerId="ADAL" clId="{379C0618-42FE-451D-8FAA-3258774ED7D0}" dt="2023-12-11T10:09:43.816" v="94"/>
          <ac:grpSpMkLst>
            <pc:docMk/>
            <pc:sldMk cId="3817932163" sldId="2147472136"/>
            <ac:grpSpMk id="57" creationId="{A8223EC5-79A0-B62C-C6EB-346DF4D8AD81}"/>
          </ac:grpSpMkLst>
        </pc:grpChg>
        <pc:grpChg chg="del">
          <ac:chgData name="Afzal, Tanzeel" userId="4c1bee66-eab8-4968-ab2a-d2fc86f622d3" providerId="ADAL" clId="{379C0618-42FE-451D-8FAA-3258774ED7D0}" dt="2023-12-11T10:09:01.197" v="81" actId="478"/>
          <ac:grpSpMkLst>
            <pc:docMk/>
            <pc:sldMk cId="3817932163" sldId="2147472136"/>
            <ac:grpSpMk id="63" creationId="{1EF02FAD-BF74-E68D-7B8D-2AB98111BD61}"/>
          </ac:grpSpMkLst>
        </pc:grpChg>
        <pc:grpChg chg="add del mod">
          <ac:chgData name="Afzal, Tanzeel" userId="4c1bee66-eab8-4968-ab2a-d2fc86f622d3" providerId="ADAL" clId="{379C0618-42FE-451D-8FAA-3258774ED7D0}" dt="2023-12-11T10:09:43.816" v="94"/>
          <ac:grpSpMkLst>
            <pc:docMk/>
            <pc:sldMk cId="3817932163" sldId="2147472136"/>
            <ac:grpSpMk id="69" creationId="{25A5CF10-FFEF-20A1-378F-1B2C729E7B49}"/>
          </ac:grpSpMkLst>
        </pc:grpChg>
        <pc:grpChg chg="add del mod">
          <ac:chgData name="Afzal, Tanzeel" userId="4c1bee66-eab8-4968-ab2a-d2fc86f622d3" providerId="ADAL" clId="{379C0618-42FE-451D-8FAA-3258774ED7D0}" dt="2023-12-11T10:09:43.816" v="94"/>
          <ac:grpSpMkLst>
            <pc:docMk/>
            <pc:sldMk cId="3817932163" sldId="2147472136"/>
            <ac:grpSpMk id="72" creationId="{1688F377-6B40-1A9F-E691-73AB8F0C1235}"/>
          </ac:grpSpMkLst>
        </pc:grpChg>
        <pc:grpChg chg="add del mod">
          <ac:chgData name="Afzal, Tanzeel" userId="4c1bee66-eab8-4968-ab2a-d2fc86f622d3" providerId="ADAL" clId="{379C0618-42FE-451D-8FAA-3258774ED7D0}" dt="2023-12-11T10:09:43.816" v="94"/>
          <ac:grpSpMkLst>
            <pc:docMk/>
            <pc:sldMk cId="3817932163" sldId="2147472136"/>
            <ac:grpSpMk id="75" creationId="{95A4B9A7-1F1A-2971-7C78-FB317AC58C0A}"/>
          </ac:grpSpMkLst>
        </pc:grpChg>
        <pc:grpChg chg="add del mod">
          <ac:chgData name="Afzal, Tanzeel" userId="4c1bee66-eab8-4968-ab2a-d2fc86f622d3" providerId="ADAL" clId="{379C0618-42FE-451D-8FAA-3258774ED7D0}" dt="2023-12-11T10:09:43.816" v="94"/>
          <ac:grpSpMkLst>
            <pc:docMk/>
            <pc:sldMk cId="3817932163" sldId="2147472136"/>
            <ac:grpSpMk id="78" creationId="{7D6A296C-CC55-D702-2B07-50DE31CFEF98}"/>
          </ac:grpSpMkLst>
        </pc:grpChg>
        <pc:grpChg chg="add del mod">
          <ac:chgData name="Afzal, Tanzeel" userId="4c1bee66-eab8-4968-ab2a-d2fc86f622d3" providerId="ADAL" clId="{379C0618-42FE-451D-8FAA-3258774ED7D0}" dt="2023-12-11T10:09:43.816" v="94"/>
          <ac:grpSpMkLst>
            <pc:docMk/>
            <pc:sldMk cId="3817932163" sldId="2147472136"/>
            <ac:grpSpMk id="81" creationId="{9EF238BE-CC94-5507-3077-6C7639FEEE09}"/>
          </ac:grpSpMkLst>
        </pc:grpChg>
        <pc:grpChg chg="add mod">
          <ac:chgData name="Afzal, Tanzeel" userId="4c1bee66-eab8-4968-ab2a-d2fc86f622d3" providerId="ADAL" clId="{379C0618-42FE-451D-8FAA-3258774ED7D0}" dt="2023-12-11T10:09:53.997" v="95"/>
          <ac:grpSpMkLst>
            <pc:docMk/>
            <pc:sldMk cId="3817932163" sldId="2147472136"/>
            <ac:grpSpMk id="91" creationId="{FB8538BE-1162-0964-D958-E626082D2C68}"/>
          </ac:grpSpMkLst>
        </pc:grpChg>
        <pc:grpChg chg="add mod">
          <ac:chgData name="Afzal, Tanzeel" userId="4c1bee66-eab8-4968-ab2a-d2fc86f622d3" providerId="ADAL" clId="{379C0618-42FE-451D-8FAA-3258774ED7D0}" dt="2023-12-11T10:39:12.557" v="220" actId="1037"/>
          <ac:grpSpMkLst>
            <pc:docMk/>
            <pc:sldMk cId="3817932163" sldId="2147472136"/>
            <ac:grpSpMk id="94" creationId="{1894367C-9A4B-173D-F821-E37FB239930E}"/>
          </ac:grpSpMkLst>
        </pc:grpChg>
        <pc:grpChg chg="add mod">
          <ac:chgData name="Afzal, Tanzeel" userId="4c1bee66-eab8-4968-ab2a-d2fc86f622d3" providerId="ADAL" clId="{379C0618-42FE-451D-8FAA-3258774ED7D0}" dt="2023-12-11T10:09:53.997" v="95"/>
          <ac:grpSpMkLst>
            <pc:docMk/>
            <pc:sldMk cId="3817932163" sldId="2147472136"/>
            <ac:grpSpMk id="97" creationId="{FA05C56E-ED4F-0F81-9CDE-31242C2ADC4A}"/>
          </ac:grpSpMkLst>
        </pc:grpChg>
        <pc:grpChg chg="add del mod">
          <ac:chgData name="Afzal, Tanzeel" userId="4c1bee66-eab8-4968-ab2a-d2fc86f622d3" providerId="ADAL" clId="{379C0618-42FE-451D-8FAA-3258774ED7D0}" dt="2023-12-11T10:38:32.623" v="164" actId="478"/>
          <ac:grpSpMkLst>
            <pc:docMk/>
            <pc:sldMk cId="3817932163" sldId="2147472136"/>
            <ac:grpSpMk id="100" creationId="{3184E24C-35E6-5EC0-F08C-AB561C36F072}"/>
          </ac:grpSpMkLst>
        </pc:grpChg>
        <pc:grpChg chg="add mod">
          <ac:chgData name="Afzal, Tanzeel" userId="4c1bee66-eab8-4968-ab2a-d2fc86f622d3" providerId="ADAL" clId="{379C0618-42FE-451D-8FAA-3258774ED7D0}" dt="2023-12-11T10:09:53.997" v="95"/>
          <ac:grpSpMkLst>
            <pc:docMk/>
            <pc:sldMk cId="3817932163" sldId="2147472136"/>
            <ac:grpSpMk id="103" creationId="{232118A0-5CDF-C8DA-C2E3-E70341EBCFF9}"/>
          </ac:grpSpMkLst>
        </pc:grpChg>
        <pc:grpChg chg="add mod">
          <ac:chgData name="Afzal, Tanzeel" userId="4c1bee66-eab8-4968-ab2a-d2fc86f622d3" providerId="ADAL" clId="{379C0618-42FE-451D-8FAA-3258774ED7D0}" dt="2023-12-11T10:09:53.997" v="95"/>
          <ac:grpSpMkLst>
            <pc:docMk/>
            <pc:sldMk cId="3817932163" sldId="2147472136"/>
            <ac:grpSpMk id="106" creationId="{580FF801-98C3-156C-8593-16D1DD25F477}"/>
          </ac:grpSpMkLst>
        </pc:grpChg>
        <pc:grpChg chg="add mod">
          <ac:chgData name="Afzal, Tanzeel" userId="4c1bee66-eab8-4968-ab2a-d2fc86f622d3" providerId="ADAL" clId="{379C0618-42FE-451D-8FAA-3258774ED7D0}" dt="2023-12-11T10:09:53.997" v="95"/>
          <ac:grpSpMkLst>
            <pc:docMk/>
            <pc:sldMk cId="3817932163" sldId="2147472136"/>
            <ac:grpSpMk id="109" creationId="{776208BC-C9FD-FB41-7B27-874709A260FD}"/>
          </ac:grpSpMkLst>
        </pc:grpChg>
        <pc:grpChg chg="add mod">
          <ac:chgData name="Afzal, Tanzeel" userId="4c1bee66-eab8-4968-ab2a-d2fc86f622d3" providerId="ADAL" clId="{379C0618-42FE-451D-8FAA-3258774ED7D0}" dt="2023-12-11T10:09:53.997" v="95"/>
          <ac:grpSpMkLst>
            <pc:docMk/>
            <pc:sldMk cId="3817932163" sldId="2147472136"/>
            <ac:grpSpMk id="112" creationId="{FBDA9D14-AAA3-824F-2B88-1B25BB203469}"/>
          </ac:grpSpMkLst>
        </pc:grpChg>
        <pc:grpChg chg="add mod">
          <ac:chgData name="Afzal, Tanzeel" userId="4c1bee66-eab8-4968-ab2a-d2fc86f622d3" providerId="ADAL" clId="{379C0618-42FE-451D-8FAA-3258774ED7D0}" dt="2023-12-11T10:10:20.490" v="96"/>
          <ac:grpSpMkLst>
            <pc:docMk/>
            <pc:sldMk cId="3817932163" sldId="2147472136"/>
            <ac:grpSpMk id="115" creationId="{D9708F25-1D44-0C2E-7A28-7781EAD1482D}"/>
          </ac:grpSpMkLst>
        </pc:grpChg>
        <pc:grpChg chg="add mod">
          <ac:chgData name="Afzal, Tanzeel" userId="4c1bee66-eab8-4968-ab2a-d2fc86f622d3" providerId="ADAL" clId="{379C0618-42FE-451D-8FAA-3258774ED7D0}" dt="2023-12-11T10:10:20.490" v="96"/>
          <ac:grpSpMkLst>
            <pc:docMk/>
            <pc:sldMk cId="3817932163" sldId="2147472136"/>
            <ac:grpSpMk id="118" creationId="{90F827C1-EE49-E4F9-0B5E-8FA2C9CAB384}"/>
          </ac:grpSpMkLst>
        </pc:grpChg>
        <pc:grpChg chg="add mod">
          <ac:chgData name="Afzal, Tanzeel" userId="4c1bee66-eab8-4968-ab2a-d2fc86f622d3" providerId="ADAL" clId="{379C0618-42FE-451D-8FAA-3258774ED7D0}" dt="2023-12-11T10:10:20.490" v="96"/>
          <ac:grpSpMkLst>
            <pc:docMk/>
            <pc:sldMk cId="3817932163" sldId="2147472136"/>
            <ac:grpSpMk id="121" creationId="{2DF16A7A-8D60-BD54-AE60-6D21439CD782}"/>
          </ac:grpSpMkLst>
        </pc:grpChg>
        <pc:graphicFrameChg chg="del">
          <ac:chgData name="Afzal, Tanzeel" userId="4c1bee66-eab8-4968-ab2a-d2fc86f622d3" providerId="ADAL" clId="{379C0618-42FE-451D-8FAA-3258774ED7D0}" dt="2023-12-11T10:09:01.197" v="81" actId="478"/>
          <ac:graphicFrameMkLst>
            <pc:docMk/>
            <pc:sldMk cId="3817932163" sldId="2147472136"/>
            <ac:graphicFrameMk id="12" creationId="{D9CDF493-1DB9-5EAC-0082-D8A61C28B0D9}"/>
          </ac:graphicFrameMkLst>
        </pc:graphicFrameChg>
        <pc:graphicFrameChg chg="add del mod">
          <ac:chgData name="Afzal, Tanzeel" userId="4c1bee66-eab8-4968-ab2a-d2fc86f622d3" providerId="ADAL" clId="{379C0618-42FE-451D-8FAA-3258774ED7D0}" dt="2023-12-11T10:09:43.816" v="94"/>
          <ac:graphicFrameMkLst>
            <pc:docMk/>
            <pc:sldMk cId="3817932163" sldId="2147472136"/>
            <ac:graphicFrameMk id="23" creationId="{29E29B9D-C21C-029D-4E9E-A440C1503F80}"/>
          </ac:graphicFrameMkLst>
        </pc:graphicFrameChg>
        <pc:graphicFrameChg chg="add mod">
          <ac:chgData name="Afzal, Tanzeel" userId="4c1bee66-eab8-4968-ab2a-d2fc86f622d3" providerId="ADAL" clId="{379C0618-42FE-451D-8FAA-3258774ED7D0}" dt="2023-12-11T10:09:53.997" v="95"/>
          <ac:graphicFrameMkLst>
            <pc:docMk/>
            <pc:sldMk cId="3817932163" sldId="2147472136"/>
            <ac:graphicFrameMk id="84" creationId="{99F35D71-39EE-A52F-F294-45230DCC49BA}"/>
          </ac:graphicFrameMkLst>
        </pc:graphicFrameChg>
      </pc:sldChg>
      <pc:sldChg chg="modSp add del mod">
        <pc:chgData name="Afzal, Tanzeel" userId="4c1bee66-eab8-4968-ab2a-d2fc86f622d3" providerId="ADAL" clId="{379C0618-42FE-451D-8FAA-3258774ED7D0}" dt="2023-12-11T17:49:18.124" v="1835" actId="2696"/>
        <pc:sldMkLst>
          <pc:docMk/>
          <pc:sldMk cId="2524185890" sldId="2147472156"/>
        </pc:sldMkLst>
        <pc:graphicFrameChg chg="mod modGraphic">
          <ac:chgData name="Afzal, Tanzeel" userId="4c1bee66-eab8-4968-ab2a-d2fc86f622d3" providerId="ADAL" clId="{379C0618-42FE-451D-8FAA-3258774ED7D0}" dt="2023-12-11T17:12:44.451" v="1596" actId="108"/>
          <ac:graphicFrameMkLst>
            <pc:docMk/>
            <pc:sldMk cId="2524185890" sldId="2147472156"/>
            <ac:graphicFrameMk id="5" creationId="{E9AE7BA3-E382-37AF-A4D7-457B619974F4}"/>
          </ac:graphicFrameMkLst>
        </pc:graphicFrameChg>
      </pc:sldChg>
      <pc:sldChg chg="add">
        <pc:chgData name="Afzal, Tanzeel" userId="4c1bee66-eab8-4968-ab2a-d2fc86f622d3" providerId="ADAL" clId="{379C0618-42FE-451D-8FAA-3258774ED7D0}" dt="2023-12-11T17:49:21.842" v="1836"/>
        <pc:sldMkLst>
          <pc:docMk/>
          <pc:sldMk cId="3036512581" sldId="2147472156"/>
        </pc:sldMkLst>
      </pc:sldChg>
      <pc:sldChg chg="add del ord">
        <pc:chgData name="Afzal, Tanzeel" userId="4c1bee66-eab8-4968-ab2a-d2fc86f622d3" providerId="ADAL" clId="{379C0618-42FE-451D-8FAA-3258774ED7D0}" dt="2023-12-11T17:47:50.463" v="1828"/>
        <pc:sldMkLst>
          <pc:docMk/>
          <pc:sldMk cId="2264297352" sldId="2147472159"/>
        </pc:sldMkLst>
      </pc:sldChg>
      <pc:sldChg chg="add del">
        <pc:chgData name="Afzal, Tanzeel" userId="4c1bee66-eab8-4968-ab2a-d2fc86f622d3" providerId="ADAL" clId="{379C0618-42FE-451D-8FAA-3258774ED7D0}" dt="2023-12-11T13:39:42.811" v="537" actId="47"/>
        <pc:sldMkLst>
          <pc:docMk/>
          <pc:sldMk cId="764710435" sldId="2147472160"/>
        </pc:sldMkLst>
      </pc:sldChg>
      <pc:sldChg chg="modSp mod modCm">
        <pc:chgData name="Afzal, Tanzeel" userId="4c1bee66-eab8-4968-ab2a-d2fc86f622d3" providerId="ADAL" clId="{379C0618-42FE-451D-8FAA-3258774ED7D0}" dt="2023-12-11T19:21:18.228" v="3343" actId="20577"/>
        <pc:sldMkLst>
          <pc:docMk/>
          <pc:sldMk cId="4195177294" sldId="2147472168"/>
        </pc:sldMkLst>
        <pc:graphicFrameChg chg="mod modGraphic">
          <ac:chgData name="Afzal, Tanzeel" userId="4c1bee66-eab8-4968-ab2a-d2fc86f622d3" providerId="ADAL" clId="{379C0618-42FE-451D-8FAA-3258774ED7D0}" dt="2023-12-11T19:21:18.228" v="3343" actId="20577"/>
          <ac:graphicFrameMkLst>
            <pc:docMk/>
            <pc:sldMk cId="4195177294" sldId="2147472168"/>
            <ac:graphicFrameMk id="4" creationId="{8F73AE33-156D-48F2-7633-0C4AB5141029}"/>
          </ac:graphicFrameMkLst>
        </pc:graphicFrameChg>
      </pc:sldChg>
      <pc:sldChg chg="modSp mod">
        <pc:chgData name="Afzal, Tanzeel" userId="4c1bee66-eab8-4968-ab2a-d2fc86f622d3" providerId="ADAL" clId="{379C0618-42FE-451D-8FAA-3258774ED7D0}" dt="2023-12-11T19:13:27.466" v="3290" actId="20577"/>
        <pc:sldMkLst>
          <pc:docMk/>
          <pc:sldMk cId="3043470878" sldId="2147472171"/>
        </pc:sldMkLst>
        <pc:spChg chg="mod">
          <ac:chgData name="Afzal, Tanzeel" userId="4c1bee66-eab8-4968-ab2a-d2fc86f622d3" providerId="ADAL" clId="{379C0618-42FE-451D-8FAA-3258774ED7D0}" dt="2023-12-11T17:58:54.788" v="1929" actId="14100"/>
          <ac:spMkLst>
            <pc:docMk/>
            <pc:sldMk cId="3043470878" sldId="2147472171"/>
            <ac:spMk id="3" creationId="{6182B964-A5BA-9B39-6022-3BA9E148A94E}"/>
          </ac:spMkLst>
        </pc:spChg>
        <pc:spChg chg="mod">
          <ac:chgData name="Afzal, Tanzeel" userId="4c1bee66-eab8-4968-ab2a-d2fc86f622d3" providerId="ADAL" clId="{379C0618-42FE-451D-8FAA-3258774ED7D0}" dt="2023-12-11T17:59:06.665" v="1932" actId="14100"/>
          <ac:spMkLst>
            <pc:docMk/>
            <pc:sldMk cId="3043470878" sldId="2147472171"/>
            <ac:spMk id="5" creationId="{3A2D222A-3C97-12C0-ED18-9BF0DF7BB7E8}"/>
          </ac:spMkLst>
        </pc:spChg>
        <pc:spChg chg="mod">
          <ac:chgData name="Afzal, Tanzeel" userId="4c1bee66-eab8-4968-ab2a-d2fc86f622d3" providerId="ADAL" clId="{379C0618-42FE-451D-8FAA-3258774ED7D0}" dt="2023-12-11T17:59:03.292" v="1931" actId="14100"/>
          <ac:spMkLst>
            <pc:docMk/>
            <pc:sldMk cId="3043470878" sldId="2147472171"/>
            <ac:spMk id="6" creationId="{14DF282D-7FD8-5772-53A3-8E242EAB6C90}"/>
          </ac:spMkLst>
        </pc:spChg>
        <pc:spChg chg="mod">
          <ac:chgData name="Afzal, Tanzeel" userId="4c1bee66-eab8-4968-ab2a-d2fc86f622d3" providerId="ADAL" clId="{379C0618-42FE-451D-8FAA-3258774ED7D0}" dt="2023-12-11T18:23:58.342" v="2743" actId="1076"/>
          <ac:spMkLst>
            <pc:docMk/>
            <pc:sldMk cId="3043470878" sldId="2147472171"/>
            <ac:spMk id="7" creationId="{9F5BE641-23A4-C34C-CEE8-C97440071CE6}"/>
          </ac:spMkLst>
        </pc:spChg>
        <pc:graphicFrameChg chg="mod modGraphic">
          <ac:chgData name="Afzal, Tanzeel" userId="4c1bee66-eab8-4968-ab2a-d2fc86f622d3" providerId="ADAL" clId="{379C0618-42FE-451D-8FAA-3258774ED7D0}" dt="2023-12-11T19:13:27.466" v="3290" actId="20577"/>
          <ac:graphicFrameMkLst>
            <pc:docMk/>
            <pc:sldMk cId="3043470878" sldId="2147472171"/>
            <ac:graphicFrameMk id="4" creationId="{8F73AE33-156D-48F2-7633-0C4AB5141029}"/>
          </ac:graphicFrameMkLst>
        </pc:graphicFrameChg>
      </pc:sldChg>
      <pc:sldChg chg="del">
        <pc:chgData name="Afzal, Tanzeel" userId="4c1bee66-eab8-4968-ab2a-d2fc86f622d3" providerId="ADAL" clId="{379C0618-42FE-451D-8FAA-3258774ED7D0}" dt="2023-12-11T14:02:28.334" v="736" actId="47"/>
        <pc:sldMkLst>
          <pc:docMk/>
          <pc:sldMk cId="1827888238" sldId="2147472187"/>
        </pc:sldMkLst>
      </pc:sldChg>
      <pc:sldChg chg="modSp mod delCm modCm">
        <pc:chgData name="Afzal, Tanzeel" userId="4c1bee66-eab8-4968-ab2a-d2fc86f622d3" providerId="ADAL" clId="{379C0618-42FE-451D-8FAA-3258774ED7D0}" dt="2023-12-11T18:14:51.415" v="2690" actId="20577"/>
        <pc:sldMkLst>
          <pc:docMk/>
          <pc:sldMk cId="429018731" sldId="2147472188"/>
        </pc:sldMkLst>
        <pc:spChg chg="mod">
          <ac:chgData name="Afzal, Tanzeel" userId="4c1bee66-eab8-4968-ab2a-d2fc86f622d3" providerId="ADAL" clId="{379C0618-42FE-451D-8FAA-3258774ED7D0}" dt="2023-12-11T18:14:51.415" v="2690" actId="20577"/>
          <ac:spMkLst>
            <pc:docMk/>
            <pc:sldMk cId="429018731" sldId="2147472188"/>
            <ac:spMk id="20" creationId="{071650C5-E541-3BDA-444A-D2E1A781D34D}"/>
          </ac:spMkLst>
        </pc:spChg>
      </pc:sldChg>
      <pc:sldChg chg="delCm">
        <pc:chgData name="Afzal, Tanzeel" userId="4c1bee66-eab8-4968-ab2a-d2fc86f622d3" providerId="ADAL" clId="{379C0618-42FE-451D-8FAA-3258774ED7D0}" dt="2023-12-11T18:12:58.246" v="2679"/>
        <pc:sldMkLst>
          <pc:docMk/>
          <pc:sldMk cId="3016214707" sldId="2147472191"/>
        </pc:sldMkLst>
      </pc:sldChg>
      <pc:sldChg chg="modSp mod delCm">
        <pc:chgData name="Afzal, Tanzeel" userId="4c1bee66-eab8-4968-ab2a-d2fc86f622d3" providerId="ADAL" clId="{379C0618-42FE-451D-8FAA-3258774ED7D0}" dt="2023-12-11T18:13:04.274" v="2680"/>
        <pc:sldMkLst>
          <pc:docMk/>
          <pc:sldMk cId="1730741612" sldId="2147472192"/>
        </pc:sldMkLst>
        <pc:spChg chg="mod">
          <ac:chgData name="Afzal, Tanzeel" userId="4c1bee66-eab8-4968-ab2a-d2fc86f622d3" providerId="ADAL" clId="{379C0618-42FE-451D-8FAA-3258774ED7D0}" dt="2023-12-11T17:53:17.377" v="1865" actId="108"/>
          <ac:spMkLst>
            <pc:docMk/>
            <pc:sldMk cId="1730741612" sldId="2147472192"/>
            <ac:spMk id="17" creationId="{06C0066E-45D8-F23A-6F3A-FD4356816B2F}"/>
          </ac:spMkLst>
        </pc:spChg>
      </pc:sldChg>
      <pc:sldChg chg="modSp mod">
        <pc:chgData name="Afzal, Tanzeel" userId="4c1bee66-eab8-4968-ab2a-d2fc86f622d3" providerId="ADAL" clId="{379C0618-42FE-451D-8FAA-3258774ED7D0}" dt="2023-12-11T18:16:23.693" v="2725" actId="20577"/>
        <pc:sldMkLst>
          <pc:docMk/>
          <pc:sldMk cId="470543264" sldId="2147472193"/>
        </pc:sldMkLst>
        <pc:spChg chg="mod">
          <ac:chgData name="Afzal, Tanzeel" userId="4c1bee66-eab8-4968-ab2a-d2fc86f622d3" providerId="ADAL" clId="{379C0618-42FE-451D-8FAA-3258774ED7D0}" dt="2023-12-11T17:53:22.801" v="1866" actId="108"/>
          <ac:spMkLst>
            <pc:docMk/>
            <pc:sldMk cId="470543264" sldId="2147472193"/>
            <ac:spMk id="13" creationId="{33DDE945-E8CA-2113-0778-A7C5E1D6F168}"/>
          </ac:spMkLst>
        </pc:spChg>
        <pc:spChg chg="mod">
          <ac:chgData name="Afzal, Tanzeel" userId="4c1bee66-eab8-4968-ab2a-d2fc86f622d3" providerId="ADAL" clId="{379C0618-42FE-451D-8FAA-3258774ED7D0}" dt="2023-12-11T18:16:23.693" v="2725" actId="20577"/>
          <ac:spMkLst>
            <pc:docMk/>
            <pc:sldMk cId="470543264" sldId="2147472193"/>
            <ac:spMk id="14" creationId="{74E8D412-29B6-7CB8-793B-7E0D9E36ADE2}"/>
          </ac:spMkLst>
        </pc:spChg>
      </pc:sldChg>
      <pc:sldChg chg="modSp mod">
        <pc:chgData name="Afzal, Tanzeel" userId="4c1bee66-eab8-4968-ab2a-d2fc86f622d3" providerId="ADAL" clId="{379C0618-42FE-451D-8FAA-3258774ED7D0}" dt="2023-12-11T18:15:30.680" v="2707" actId="20577"/>
        <pc:sldMkLst>
          <pc:docMk/>
          <pc:sldMk cId="3653975131" sldId="2147472194"/>
        </pc:sldMkLst>
        <pc:spChg chg="mod">
          <ac:chgData name="Afzal, Tanzeel" userId="4c1bee66-eab8-4968-ab2a-d2fc86f622d3" providerId="ADAL" clId="{379C0618-42FE-451D-8FAA-3258774ED7D0}" dt="2023-12-11T17:53:28.559" v="1867" actId="108"/>
          <ac:spMkLst>
            <pc:docMk/>
            <pc:sldMk cId="3653975131" sldId="2147472194"/>
            <ac:spMk id="10" creationId="{4A4E9868-08F0-40A0-4083-29A435C2F06E}"/>
          </ac:spMkLst>
        </pc:spChg>
        <pc:spChg chg="mod">
          <ac:chgData name="Afzal, Tanzeel" userId="4c1bee66-eab8-4968-ab2a-d2fc86f622d3" providerId="ADAL" clId="{379C0618-42FE-451D-8FAA-3258774ED7D0}" dt="2023-12-11T18:15:30.680" v="2707" actId="20577"/>
          <ac:spMkLst>
            <pc:docMk/>
            <pc:sldMk cId="3653975131" sldId="2147472194"/>
            <ac:spMk id="11" creationId="{F9E1113D-3AF1-A00F-BCB9-DE3E35BD6CE0}"/>
          </ac:spMkLst>
        </pc:spChg>
      </pc:sldChg>
      <pc:sldChg chg="modSp mod">
        <pc:chgData name="Afzal, Tanzeel" userId="4c1bee66-eab8-4968-ab2a-d2fc86f622d3" providerId="ADAL" clId="{379C0618-42FE-451D-8FAA-3258774ED7D0}" dt="2023-12-11T17:53:53.434" v="1876" actId="20577"/>
        <pc:sldMkLst>
          <pc:docMk/>
          <pc:sldMk cId="500158311" sldId="2147472195"/>
        </pc:sldMkLst>
        <pc:spChg chg="mod">
          <ac:chgData name="Afzal, Tanzeel" userId="4c1bee66-eab8-4968-ab2a-d2fc86f622d3" providerId="ADAL" clId="{379C0618-42FE-451D-8FAA-3258774ED7D0}" dt="2023-12-11T17:53:53.434" v="1876" actId="20577"/>
          <ac:spMkLst>
            <pc:docMk/>
            <pc:sldMk cId="500158311" sldId="2147472195"/>
            <ac:spMk id="11" creationId="{1C3CCC62-2981-BB74-4A98-A7E48A081623}"/>
          </ac:spMkLst>
        </pc:spChg>
      </pc:sldChg>
      <pc:sldChg chg="modSp mod modCm">
        <pc:chgData name="Afzal, Tanzeel" userId="4c1bee66-eab8-4968-ab2a-d2fc86f622d3" providerId="ADAL" clId="{379C0618-42FE-451D-8FAA-3258774ED7D0}" dt="2023-12-11T19:12:28.078" v="3221" actId="20577"/>
        <pc:sldMkLst>
          <pc:docMk/>
          <pc:sldMk cId="1828999297" sldId="2147472197"/>
        </pc:sldMkLst>
        <pc:spChg chg="mod">
          <ac:chgData name="Afzal, Tanzeel" userId="4c1bee66-eab8-4968-ab2a-d2fc86f622d3" providerId="ADAL" clId="{379C0618-42FE-451D-8FAA-3258774ED7D0}" dt="2023-12-11T19:12:28.078" v="3221" actId="20577"/>
          <ac:spMkLst>
            <pc:docMk/>
            <pc:sldMk cId="1828999297" sldId="2147472197"/>
            <ac:spMk id="10" creationId="{1F7DB244-02B0-10C9-FA3B-98DF03FB98E6}"/>
          </ac:spMkLst>
        </pc:spChg>
        <pc:spChg chg="mod">
          <ac:chgData name="Afzal, Tanzeel" userId="4c1bee66-eab8-4968-ab2a-d2fc86f622d3" providerId="ADAL" clId="{379C0618-42FE-451D-8FAA-3258774ED7D0}" dt="2023-12-11T19:11:35.504" v="3168" actId="20577"/>
          <ac:spMkLst>
            <pc:docMk/>
            <pc:sldMk cId="1828999297" sldId="2147472197"/>
            <ac:spMk id="12" creationId="{42A96840-F8AA-87A4-B9EB-2ABA7D1655F9}"/>
          </ac:spMkLst>
        </pc:spChg>
      </pc:sldChg>
      <pc:sldChg chg="modSp mod delCm">
        <pc:chgData name="Afzal, Tanzeel" userId="4c1bee66-eab8-4968-ab2a-d2fc86f622d3" providerId="ADAL" clId="{379C0618-42FE-451D-8FAA-3258774ED7D0}" dt="2023-12-11T19:08:48.624" v="3108" actId="20577"/>
        <pc:sldMkLst>
          <pc:docMk/>
          <pc:sldMk cId="2197289722" sldId="2147472198"/>
        </pc:sldMkLst>
        <pc:spChg chg="mod">
          <ac:chgData name="Afzal, Tanzeel" userId="4c1bee66-eab8-4968-ab2a-d2fc86f622d3" providerId="ADAL" clId="{379C0618-42FE-451D-8FAA-3258774ED7D0}" dt="2023-12-11T19:08:48.624" v="3108" actId="20577"/>
          <ac:spMkLst>
            <pc:docMk/>
            <pc:sldMk cId="2197289722" sldId="2147472198"/>
            <ac:spMk id="11" creationId="{196927F8-D599-0D53-F130-21C837637033}"/>
          </ac:spMkLst>
        </pc:spChg>
      </pc:sldChg>
      <pc:sldChg chg="modSp mod">
        <pc:chgData name="Afzal, Tanzeel" userId="4c1bee66-eab8-4968-ab2a-d2fc86f622d3" providerId="ADAL" clId="{379C0618-42FE-451D-8FAA-3258774ED7D0}" dt="2023-12-11T19:10:00.836" v="3159" actId="20577"/>
        <pc:sldMkLst>
          <pc:docMk/>
          <pc:sldMk cId="3234539576" sldId="2147472199"/>
        </pc:sldMkLst>
        <pc:spChg chg="mod">
          <ac:chgData name="Afzal, Tanzeel" userId="4c1bee66-eab8-4968-ab2a-d2fc86f622d3" providerId="ADAL" clId="{379C0618-42FE-451D-8FAA-3258774ED7D0}" dt="2023-12-11T19:10:00.836" v="3159" actId="20577"/>
          <ac:spMkLst>
            <pc:docMk/>
            <pc:sldMk cId="3234539576" sldId="2147472199"/>
            <ac:spMk id="5" creationId="{C3312F2F-4FB6-B12D-8FAA-40326E0088D8}"/>
          </ac:spMkLst>
        </pc:spChg>
        <pc:spChg chg="mod">
          <ac:chgData name="Afzal, Tanzeel" userId="4c1bee66-eab8-4968-ab2a-d2fc86f622d3" providerId="ADAL" clId="{379C0618-42FE-451D-8FAA-3258774ED7D0}" dt="2023-12-11T19:07:45.698" v="3049" actId="20577"/>
          <ac:spMkLst>
            <pc:docMk/>
            <pc:sldMk cId="3234539576" sldId="2147472199"/>
            <ac:spMk id="11" creationId="{393457C2-C9BC-A043-40AA-5C5E933D158C}"/>
          </ac:spMkLst>
        </pc:spChg>
        <pc:spChg chg="mod">
          <ac:chgData name="Afzal, Tanzeel" userId="4c1bee66-eab8-4968-ab2a-d2fc86f622d3" providerId="ADAL" clId="{379C0618-42FE-451D-8FAA-3258774ED7D0}" dt="2023-12-11T17:59:28.069" v="1943" actId="1036"/>
          <ac:spMkLst>
            <pc:docMk/>
            <pc:sldMk cId="3234539576" sldId="2147472199"/>
            <ac:spMk id="19" creationId="{39657589-1F87-6CA1-9229-740FAE9AE2A4}"/>
          </ac:spMkLst>
        </pc:spChg>
        <pc:picChg chg="mod">
          <ac:chgData name="Afzal, Tanzeel" userId="4c1bee66-eab8-4968-ab2a-d2fc86f622d3" providerId="ADAL" clId="{379C0618-42FE-451D-8FAA-3258774ED7D0}" dt="2023-12-11T17:59:22.696" v="1933" actId="14100"/>
          <ac:picMkLst>
            <pc:docMk/>
            <pc:sldMk cId="3234539576" sldId="2147472199"/>
            <ac:picMk id="17" creationId="{BC0003CE-7173-94A8-0C87-43FB0CB68481}"/>
          </ac:picMkLst>
        </pc:picChg>
      </pc:sldChg>
      <pc:sldChg chg="modSp mod">
        <pc:chgData name="Afzal, Tanzeel" userId="4c1bee66-eab8-4968-ab2a-d2fc86f622d3" providerId="ADAL" clId="{379C0618-42FE-451D-8FAA-3258774ED7D0}" dt="2023-12-11T19:08:15.453" v="3078" actId="20577"/>
        <pc:sldMkLst>
          <pc:docMk/>
          <pc:sldMk cId="3627460361" sldId="2147472200"/>
        </pc:sldMkLst>
        <pc:spChg chg="mod">
          <ac:chgData name="Afzal, Tanzeel" userId="4c1bee66-eab8-4968-ab2a-d2fc86f622d3" providerId="ADAL" clId="{379C0618-42FE-451D-8FAA-3258774ED7D0}" dt="2023-12-11T19:08:15.453" v="3078" actId="20577"/>
          <ac:spMkLst>
            <pc:docMk/>
            <pc:sldMk cId="3627460361" sldId="2147472200"/>
            <ac:spMk id="11" creationId="{85F8F49E-8474-8A18-57F5-135FAD0E6B14}"/>
          </ac:spMkLst>
        </pc:spChg>
        <pc:spChg chg="mod">
          <ac:chgData name="Afzal, Tanzeel" userId="4c1bee66-eab8-4968-ab2a-d2fc86f622d3" providerId="ADAL" clId="{379C0618-42FE-451D-8FAA-3258774ED7D0}" dt="2023-12-11T19:08:09.319" v="3067" actId="20577"/>
          <ac:spMkLst>
            <pc:docMk/>
            <pc:sldMk cId="3627460361" sldId="2147472200"/>
            <ac:spMk id="21" creationId="{F55C1565-307D-C071-4A5C-48C9F8D0C388}"/>
          </ac:spMkLst>
        </pc:spChg>
      </pc:sldChg>
      <pc:sldChg chg="modSp mod">
        <pc:chgData name="Afzal, Tanzeel" userId="4c1bee66-eab8-4968-ab2a-d2fc86f622d3" providerId="ADAL" clId="{379C0618-42FE-451D-8FAA-3258774ED7D0}" dt="2023-12-11T19:09:11.444" v="3157" actId="20577"/>
        <pc:sldMkLst>
          <pc:docMk/>
          <pc:sldMk cId="3489560597" sldId="2147472201"/>
        </pc:sldMkLst>
        <pc:spChg chg="mod">
          <ac:chgData name="Afzal, Tanzeel" userId="4c1bee66-eab8-4968-ab2a-d2fc86f622d3" providerId="ADAL" clId="{379C0618-42FE-451D-8FAA-3258774ED7D0}" dt="2023-12-11T19:09:11.444" v="3157" actId="20577"/>
          <ac:spMkLst>
            <pc:docMk/>
            <pc:sldMk cId="3489560597" sldId="2147472201"/>
            <ac:spMk id="11" creationId="{18316A99-F272-294B-2DDC-F696B1DD9C07}"/>
          </ac:spMkLst>
        </pc:spChg>
        <pc:spChg chg="mod">
          <ac:chgData name="Afzal, Tanzeel" userId="4c1bee66-eab8-4968-ab2a-d2fc86f622d3" providerId="ADAL" clId="{379C0618-42FE-451D-8FAA-3258774ED7D0}" dt="2023-12-11T19:08:28.058" v="3087" actId="20577"/>
          <ac:spMkLst>
            <pc:docMk/>
            <pc:sldMk cId="3489560597" sldId="2147472201"/>
            <ac:spMk id="20" creationId="{64961E83-4FE9-D911-4217-D5680A3C7F81}"/>
          </ac:spMkLst>
        </pc:spChg>
      </pc:sldChg>
      <pc:sldChg chg="del">
        <pc:chgData name="Afzal, Tanzeel" userId="4c1bee66-eab8-4968-ab2a-d2fc86f622d3" providerId="ADAL" clId="{379C0618-42FE-451D-8FAA-3258774ED7D0}" dt="2023-12-11T13:43:26.754" v="542" actId="47"/>
        <pc:sldMkLst>
          <pc:docMk/>
          <pc:sldMk cId="2356935174" sldId="2147473730"/>
        </pc:sldMkLst>
      </pc:sldChg>
      <pc:sldChg chg="del">
        <pc:chgData name="Afzal, Tanzeel" userId="4c1bee66-eab8-4968-ab2a-d2fc86f622d3" providerId="ADAL" clId="{379C0618-42FE-451D-8FAA-3258774ED7D0}" dt="2023-12-11T13:43:26.754" v="542" actId="47"/>
        <pc:sldMkLst>
          <pc:docMk/>
          <pc:sldMk cId="383220649" sldId="2147476328"/>
        </pc:sldMkLst>
      </pc:sldChg>
      <pc:sldChg chg="del">
        <pc:chgData name="Afzal, Tanzeel" userId="4c1bee66-eab8-4968-ab2a-d2fc86f622d3" providerId="ADAL" clId="{379C0618-42FE-451D-8FAA-3258774ED7D0}" dt="2023-12-11T13:43:26.754" v="542" actId="47"/>
        <pc:sldMkLst>
          <pc:docMk/>
          <pc:sldMk cId="786828874" sldId="2147479462"/>
        </pc:sldMkLst>
      </pc:sldChg>
      <pc:sldChg chg="del">
        <pc:chgData name="Afzal, Tanzeel" userId="4c1bee66-eab8-4968-ab2a-d2fc86f622d3" providerId="ADAL" clId="{379C0618-42FE-451D-8FAA-3258774ED7D0}" dt="2023-12-11T13:43:26.754" v="542" actId="47"/>
        <pc:sldMkLst>
          <pc:docMk/>
          <pc:sldMk cId="2721963779" sldId="2147479494"/>
        </pc:sldMkLst>
      </pc:sldChg>
      <pc:sldChg chg="del">
        <pc:chgData name="Afzal, Tanzeel" userId="4c1bee66-eab8-4968-ab2a-d2fc86f622d3" providerId="ADAL" clId="{379C0618-42FE-451D-8FAA-3258774ED7D0}" dt="2023-12-11T13:43:26.754" v="542" actId="47"/>
        <pc:sldMkLst>
          <pc:docMk/>
          <pc:sldMk cId="2848571312" sldId="2147479497"/>
        </pc:sldMkLst>
      </pc:sldChg>
      <pc:sldChg chg="del">
        <pc:chgData name="Afzal, Tanzeel" userId="4c1bee66-eab8-4968-ab2a-d2fc86f622d3" providerId="ADAL" clId="{379C0618-42FE-451D-8FAA-3258774ED7D0}" dt="2023-12-11T13:43:26.754" v="542" actId="47"/>
        <pc:sldMkLst>
          <pc:docMk/>
          <pc:sldMk cId="3387039022" sldId="2147479499"/>
        </pc:sldMkLst>
      </pc:sldChg>
      <pc:sldChg chg="del">
        <pc:chgData name="Afzal, Tanzeel" userId="4c1bee66-eab8-4968-ab2a-d2fc86f622d3" providerId="ADAL" clId="{379C0618-42FE-451D-8FAA-3258774ED7D0}" dt="2023-12-11T13:43:26.754" v="542" actId="47"/>
        <pc:sldMkLst>
          <pc:docMk/>
          <pc:sldMk cId="2873505281" sldId="2147479511"/>
        </pc:sldMkLst>
      </pc:sldChg>
      <pc:sldChg chg="del">
        <pc:chgData name="Afzal, Tanzeel" userId="4c1bee66-eab8-4968-ab2a-d2fc86f622d3" providerId="ADAL" clId="{379C0618-42FE-451D-8FAA-3258774ED7D0}" dt="2023-12-11T13:43:26.754" v="542" actId="47"/>
        <pc:sldMkLst>
          <pc:docMk/>
          <pc:sldMk cId="4223918987" sldId="2147479512"/>
        </pc:sldMkLst>
      </pc:sldChg>
      <pc:sldChg chg="del">
        <pc:chgData name="Afzal, Tanzeel" userId="4c1bee66-eab8-4968-ab2a-d2fc86f622d3" providerId="ADAL" clId="{379C0618-42FE-451D-8FAA-3258774ED7D0}" dt="2023-12-11T13:43:26.754" v="542" actId="47"/>
        <pc:sldMkLst>
          <pc:docMk/>
          <pc:sldMk cId="805712824" sldId="2147479513"/>
        </pc:sldMkLst>
      </pc:sldChg>
      <pc:sldChg chg="del">
        <pc:chgData name="Afzal, Tanzeel" userId="4c1bee66-eab8-4968-ab2a-d2fc86f622d3" providerId="ADAL" clId="{379C0618-42FE-451D-8FAA-3258774ED7D0}" dt="2023-12-11T13:43:26.754" v="542" actId="47"/>
        <pc:sldMkLst>
          <pc:docMk/>
          <pc:sldMk cId="3760287160" sldId="2147479514"/>
        </pc:sldMkLst>
      </pc:sldChg>
      <pc:sldChg chg="add del">
        <pc:chgData name="Afzal, Tanzeel" userId="4c1bee66-eab8-4968-ab2a-d2fc86f622d3" providerId="ADAL" clId="{379C0618-42FE-451D-8FAA-3258774ED7D0}" dt="2023-12-11T12:35:32.871" v="400"/>
        <pc:sldMkLst>
          <pc:docMk/>
          <pc:sldMk cId="201742819" sldId="2147479516"/>
        </pc:sldMkLst>
      </pc:sldChg>
      <pc:sldChg chg="del">
        <pc:chgData name="Afzal, Tanzeel" userId="4c1bee66-eab8-4968-ab2a-d2fc86f622d3" providerId="ADAL" clId="{379C0618-42FE-451D-8FAA-3258774ED7D0}" dt="2023-12-11T13:43:26.754" v="542" actId="47"/>
        <pc:sldMkLst>
          <pc:docMk/>
          <pc:sldMk cId="3260192946" sldId="2147479526"/>
        </pc:sldMkLst>
      </pc:sldChg>
      <pc:sldChg chg="del">
        <pc:chgData name="Afzal, Tanzeel" userId="4c1bee66-eab8-4968-ab2a-d2fc86f622d3" providerId="ADAL" clId="{379C0618-42FE-451D-8FAA-3258774ED7D0}" dt="2023-12-11T13:43:26.754" v="542" actId="47"/>
        <pc:sldMkLst>
          <pc:docMk/>
          <pc:sldMk cId="3608451694" sldId="2147479527"/>
        </pc:sldMkLst>
      </pc:sldChg>
      <pc:sldChg chg="del">
        <pc:chgData name="Afzal, Tanzeel" userId="4c1bee66-eab8-4968-ab2a-d2fc86f622d3" providerId="ADAL" clId="{379C0618-42FE-451D-8FAA-3258774ED7D0}" dt="2023-12-11T13:43:26.754" v="542" actId="47"/>
        <pc:sldMkLst>
          <pc:docMk/>
          <pc:sldMk cId="2476463555" sldId="2147479528"/>
        </pc:sldMkLst>
      </pc:sldChg>
      <pc:sldChg chg="del">
        <pc:chgData name="Afzal, Tanzeel" userId="4c1bee66-eab8-4968-ab2a-d2fc86f622d3" providerId="ADAL" clId="{379C0618-42FE-451D-8FAA-3258774ED7D0}" dt="2023-12-11T13:43:26.754" v="542" actId="47"/>
        <pc:sldMkLst>
          <pc:docMk/>
          <pc:sldMk cId="3070421313" sldId="2147479531"/>
        </pc:sldMkLst>
      </pc:sldChg>
      <pc:sldChg chg="del">
        <pc:chgData name="Afzal, Tanzeel" userId="4c1bee66-eab8-4968-ab2a-d2fc86f622d3" providerId="ADAL" clId="{379C0618-42FE-451D-8FAA-3258774ED7D0}" dt="2023-12-11T13:43:26.754" v="542" actId="47"/>
        <pc:sldMkLst>
          <pc:docMk/>
          <pc:sldMk cId="1552758633" sldId="2147479532"/>
        </pc:sldMkLst>
      </pc:sldChg>
      <pc:sldChg chg="del">
        <pc:chgData name="Afzal, Tanzeel" userId="4c1bee66-eab8-4968-ab2a-d2fc86f622d3" providerId="ADAL" clId="{379C0618-42FE-451D-8FAA-3258774ED7D0}" dt="2023-12-11T13:43:26.754" v="542" actId="47"/>
        <pc:sldMkLst>
          <pc:docMk/>
          <pc:sldMk cId="3030712378" sldId="2147479533"/>
        </pc:sldMkLst>
      </pc:sldChg>
      <pc:sldChg chg="del">
        <pc:chgData name="Afzal, Tanzeel" userId="4c1bee66-eab8-4968-ab2a-d2fc86f622d3" providerId="ADAL" clId="{379C0618-42FE-451D-8FAA-3258774ED7D0}" dt="2023-12-11T13:43:26.754" v="542" actId="47"/>
        <pc:sldMkLst>
          <pc:docMk/>
          <pc:sldMk cId="816362414" sldId="2147479534"/>
        </pc:sldMkLst>
      </pc:sldChg>
      <pc:sldChg chg="add del">
        <pc:chgData name="Afzal, Tanzeel" userId="4c1bee66-eab8-4968-ab2a-d2fc86f622d3" providerId="ADAL" clId="{379C0618-42FE-451D-8FAA-3258774ED7D0}" dt="2023-12-11T12:35:32.871" v="400"/>
        <pc:sldMkLst>
          <pc:docMk/>
          <pc:sldMk cId="2749204844" sldId="2147479535"/>
        </pc:sldMkLst>
      </pc:sldChg>
      <pc:sldChg chg="modSp mod ord addCm delCm">
        <pc:chgData name="Afzal, Tanzeel" userId="4c1bee66-eab8-4968-ab2a-d2fc86f622d3" providerId="ADAL" clId="{379C0618-42FE-451D-8FAA-3258774ED7D0}" dt="2023-12-11T18:14:11.081" v="2683"/>
        <pc:sldMkLst>
          <pc:docMk/>
          <pc:sldMk cId="3106695573" sldId="2147479536"/>
        </pc:sldMkLst>
        <pc:spChg chg="mod">
          <ac:chgData name="Afzal, Tanzeel" userId="4c1bee66-eab8-4968-ab2a-d2fc86f622d3" providerId="ADAL" clId="{379C0618-42FE-451D-8FAA-3258774ED7D0}" dt="2023-12-11T17:57:30.571" v="1886" actId="1035"/>
          <ac:spMkLst>
            <pc:docMk/>
            <pc:sldMk cId="3106695573" sldId="2147479536"/>
            <ac:spMk id="62" creationId="{A38C9148-6E4D-599B-4D15-39DB09BC144F}"/>
          </ac:spMkLst>
        </pc:spChg>
        <pc:spChg chg="mod">
          <ac:chgData name="Afzal, Tanzeel" userId="4c1bee66-eab8-4968-ab2a-d2fc86f622d3" providerId="ADAL" clId="{379C0618-42FE-451D-8FAA-3258774ED7D0}" dt="2023-12-11T17:57:42.842" v="1905" actId="1035"/>
          <ac:spMkLst>
            <pc:docMk/>
            <pc:sldMk cId="3106695573" sldId="2147479536"/>
            <ac:spMk id="65" creationId="{366963D1-B1C5-4ADE-A086-1A121A2FF2A2}"/>
          </ac:spMkLst>
        </pc:spChg>
        <pc:spChg chg="mod">
          <ac:chgData name="Afzal, Tanzeel" userId="4c1bee66-eab8-4968-ab2a-d2fc86f622d3" providerId="ADAL" clId="{379C0618-42FE-451D-8FAA-3258774ED7D0}" dt="2023-12-11T17:57:38.261" v="1897" actId="1035"/>
          <ac:spMkLst>
            <pc:docMk/>
            <pc:sldMk cId="3106695573" sldId="2147479536"/>
            <ac:spMk id="66" creationId="{3FC5B420-FEA6-023D-EDA7-3DF3A6B3E701}"/>
          </ac:spMkLst>
        </pc:spChg>
      </pc:sldChg>
      <pc:sldChg chg="addSp delSp modSp add mod ord modCm">
        <pc:chgData name="Afzal, Tanzeel" userId="4c1bee66-eab8-4968-ab2a-d2fc86f622d3" providerId="ADAL" clId="{379C0618-42FE-451D-8FAA-3258774ED7D0}" dt="2023-12-11T18:48:42.328" v="2921"/>
        <pc:sldMkLst>
          <pc:docMk/>
          <pc:sldMk cId="4029893540" sldId="2147479537"/>
        </pc:sldMkLst>
        <pc:spChg chg="add mod">
          <ac:chgData name="Afzal, Tanzeel" userId="4c1bee66-eab8-4968-ab2a-d2fc86f622d3" providerId="ADAL" clId="{379C0618-42FE-451D-8FAA-3258774ED7D0}" dt="2023-12-11T18:48:36.042" v="2920" actId="207"/>
          <ac:spMkLst>
            <pc:docMk/>
            <pc:sldMk cId="4029893540" sldId="2147479537"/>
            <ac:spMk id="2" creationId="{2E021508-94F7-22FA-5E40-A81C56062659}"/>
          </ac:spMkLst>
        </pc:spChg>
        <pc:spChg chg="add mod">
          <ac:chgData name="Afzal, Tanzeel" userId="4c1bee66-eab8-4968-ab2a-d2fc86f622d3" providerId="ADAL" clId="{379C0618-42FE-451D-8FAA-3258774ED7D0}" dt="2023-12-11T10:06:58.127" v="70"/>
          <ac:spMkLst>
            <pc:docMk/>
            <pc:sldMk cId="4029893540" sldId="2147479537"/>
            <ac:spMk id="3" creationId="{CB921BC6-E533-24E9-3CF3-327F017D4AD6}"/>
          </ac:spMkLst>
        </pc:spChg>
        <pc:spChg chg="del">
          <ac:chgData name="Afzal, Tanzeel" userId="4c1bee66-eab8-4968-ab2a-d2fc86f622d3" providerId="ADAL" clId="{379C0618-42FE-451D-8FAA-3258774ED7D0}" dt="2023-12-11T10:06:57.178" v="69" actId="478"/>
          <ac:spMkLst>
            <pc:docMk/>
            <pc:sldMk cId="4029893540" sldId="2147479537"/>
            <ac:spMk id="4" creationId="{2FB613DC-9E56-5E8D-AE42-C0F5E44C310A}"/>
          </ac:spMkLst>
        </pc:spChg>
        <pc:spChg chg="del">
          <ac:chgData name="Afzal, Tanzeel" userId="4c1bee66-eab8-4968-ab2a-d2fc86f622d3" providerId="ADAL" clId="{379C0618-42FE-451D-8FAA-3258774ED7D0}" dt="2023-12-11T10:06:48.790" v="66" actId="478"/>
          <ac:spMkLst>
            <pc:docMk/>
            <pc:sldMk cId="4029893540" sldId="2147479537"/>
            <ac:spMk id="5" creationId="{9E0DBC6F-0431-8CD1-D12B-D63573D75633}"/>
          </ac:spMkLst>
        </pc:spChg>
        <pc:spChg chg="add mod">
          <ac:chgData name="Afzal, Tanzeel" userId="4c1bee66-eab8-4968-ab2a-d2fc86f622d3" providerId="ADAL" clId="{379C0618-42FE-451D-8FAA-3258774ED7D0}" dt="2023-12-11T10:06:58.127" v="70"/>
          <ac:spMkLst>
            <pc:docMk/>
            <pc:sldMk cId="4029893540" sldId="2147479537"/>
            <ac:spMk id="6" creationId="{ECB8CD6E-2A28-81CF-E6A2-0EB9F10BD51E}"/>
          </ac:spMkLst>
        </pc:spChg>
        <pc:spChg chg="add mod">
          <ac:chgData name="Afzal, Tanzeel" userId="4c1bee66-eab8-4968-ab2a-d2fc86f622d3" providerId="ADAL" clId="{379C0618-42FE-451D-8FAA-3258774ED7D0}" dt="2023-12-11T10:06:58.127" v="70"/>
          <ac:spMkLst>
            <pc:docMk/>
            <pc:sldMk cId="4029893540" sldId="2147479537"/>
            <ac:spMk id="8" creationId="{5F37E36D-DC3E-801E-6EC8-D2A6E6367D3C}"/>
          </ac:spMkLst>
        </pc:spChg>
        <pc:spChg chg="add mod">
          <ac:chgData name="Afzal, Tanzeel" userId="4c1bee66-eab8-4968-ab2a-d2fc86f622d3" providerId="ADAL" clId="{379C0618-42FE-451D-8FAA-3258774ED7D0}" dt="2023-12-11T10:06:58.127" v="70"/>
          <ac:spMkLst>
            <pc:docMk/>
            <pc:sldMk cId="4029893540" sldId="2147479537"/>
            <ac:spMk id="9" creationId="{C28C6D4A-3E98-4777-1525-51F4FA0742C0}"/>
          </ac:spMkLst>
        </pc:spChg>
        <pc:spChg chg="add mod">
          <ac:chgData name="Afzal, Tanzeel" userId="4c1bee66-eab8-4968-ab2a-d2fc86f622d3" providerId="ADAL" clId="{379C0618-42FE-451D-8FAA-3258774ED7D0}" dt="2023-12-11T10:06:58.127" v="70"/>
          <ac:spMkLst>
            <pc:docMk/>
            <pc:sldMk cId="4029893540" sldId="2147479537"/>
            <ac:spMk id="10" creationId="{477C4FA3-89DE-B2E1-16AF-C47A8B815F71}"/>
          </ac:spMkLst>
        </pc:spChg>
        <pc:spChg chg="add mod">
          <ac:chgData name="Afzal, Tanzeel" userId="4c1bee66-eab8-4968-ab2a-d2fc86f622d3" providerId="ADAL" clId="{379C0618-42FE-451D-8FAA-3258774ED7D0}" dt="2023-12-11T10:06:58.127" v="70"/>
          <ac:spMkLst>
            <pc:docMk/>
            <pc:sldMk cId="4029893540" sldId="2147479537"/>
            <ac:spMk id="11" creationId="{3D8C2F92-D4FF-2A2A-A936-8983E7C27B3B}"/>
          </ac:spMkLst>
        </pc:spChg>
        <pc:spChg chg="add mod">
          <ac:chgData name="Afzal, Tanzeel" userId="4c1bee66-eab8-4968-ab2a-d2fc86f622d3" providerId="ADAL" clId="{379C0618-42FE-451D-8FAA-3258774ED7D0}" dt="2023-12-11T10:06:58.127" v="70"/>
          <ac:spMkLst>
            <pc:docMk/>
            <pc:sldMk cId="4029893540" sldId="2147479537"/>
            <ac:spMk id="13" creationId="{7A099613-4435-68E9-F040-4F8A1904C46D}"/>
          </ac:spMkLst>
        </pc:spChg>
        <pc:spChg chg="del">
          <ac:chgData name="Afzal, Tanzeel" userId="4c1bee66-eab8-4968-ab2a-d2fc86f622d3" providerId="ADAL" clId="{379C0618-42FE-451D-8FAA-3258774ED7D0}" dt="2023-12-11T10:06:51.031" v="67" actId="478"/>
          <ac:spMkLst>
            <pc:docMk/>
            <pc:sldMk cId="4029893540" sldId="2147479537"/>
            <ac:spMk id="14" creationId="{D335CBCB-D52C-9466-7212-89055DCC8353}"/>
          </ac:spMkLst>
        </pc:spChg>
        <pc:spChg chg="del">
          <ac:chgData name="Afzal, Tanzeel" userId="4c1bee66-eab8-4968-ab2a-d2fc86f622d3" providerId="ADAL" clId="{379C0618-42FE-451D-8FAA-3258774ED7D0}" dt="2023-12-11T10:06:54.207" v="68" actId="478"/>
          <ac:spMkLst>
            <pc:docMk/>
            <pc:sldMk cId="4029893540" sldId="2147479537"/>
            <ac:spMk id="15" creationId="{27208783-AB24-8BB8-E9D1-19AE746C2F6B}"/>
          </ac:spMkLst>
        </pc:spChg>
        <pc:spChg chg="add mod">
          <ac:chgData name="Afzal, Tanzeel" userId="4c1bee66-eab8-4968-ab2a-d2fc86f622d3" providerId="ADAL" clId="{379C0618-42FE-451D-8FAA-3258774ED7D0}" dt="2023-12-11T10:06:58.127" v="70"/>
          <ac:spMkLst>
            <pc:docMk/>
            <pc:sldMk cId="4029893540" sldId="2147479537"/>
            <ac:spMk id="16" creationId="{7BFC4527-98F0-51AF-ACD3-169BB5B78CD4}"/>
          </ac:spMkLst>
        </pc:spChg>
        <pc:spChg chg="add mod">
          <ac:chgData name="Afzal, Tanzeel" userId="4c1bee66-eab8-4968-ab2a-d2fc86f622d3" providerId="ADAL" clId="{379C0618-42FE-451D-8FAA-3258774ED7D0}" dt="2023-12-11T10:06:58.127" v="70"/>
          <ac:spMkLst>
            <pc:docMk/>
            <pc:sldMk cId="4029893540" sldId="2147479537"/>
            <ac:spMk id="18" creationId="{1C4C9C0E-9859-C4BC-6149-F65292BA5BE8}"/>
          </ac:spMkLst>
        </pc:spChg>
        <pc:spChg chg="mod">
          <ac:chgData name="Afzal, Tanzeel" userId="4c1bee66-eab8-4968-ab2a-d2fc86f622d3" providerId="ADAL" clId="{379C0618-42FE-451D-8FAA-3258774ED7D0}" dt="2023-12-11T10:07:52.410" v="77"/>
          <ac:spMkLst>
            <pc:docMk/>
            <pc:sldMk cId="4029893540" sldId="2147479537"/>
            <ac:spMk id="75" creationId="{0B00487E-9A8E-46E0-B60F-BB884C23310C}"/>
          </ac:spMkLst>
        </pc:spChg>
        <pc:picChg chg="add mod">
          <ac:chgData name="Afzal, Tanzeel" userId="4c1bee66-eab8-4968-ab2a-d2fc86f622d3" providerId="ADAL" clId="{379C0618-42FE-451D-8FAA-3258774ED7D0}" dt="2023-12-11T10:06:58.127" v="70"/>
          <ac:picMkLst>
            <pc:docMk/>
            <pc:sldMk cId="4029893540" sldId="2147479537"/>
            <ac:picMk id="7" creationId="{99F4484F-A30E-39E6-735C-4C610BDF4835}"/>
          </ac:picMkLst>
        </pc:picChg>
        <pc:picChg chg="add mod">
          <ac:chgData name="Afzal, Tanzeel" userId="4c1bee66-eab8-4968-ab2a-d2fc86f622d3" providerId="ADAL" clId="{379C0618-42FE-451D-8FAA-3258774ED7D0}" dt="2023-12-11T10:06:58.127" v="70"/>
          <ac:picMkLst>
            <pc:docMk/>
            <pc:sldMk cId="4029893540" sldId="2147479537"/>
            <ac:picMk id="12" creationId="{156612E3-3D43-FF52-6791-9FB929D8176B}"/>
          </ac:picMkLst>
        </pc:picChg>
        <pc:picChg chg="add mod">
          <ac:chgData name="Afzal, Tanzeel" userId="4c1bee66-eab8-4968-ab2a-d2fc86f622d3" providerId="ADAL" clId="{379C0618-42FE-451D-8FAA-3258774ED7D0}" dt="2023-12-11T10:06:58.127" v="70"/>
          <ac:picMkLst>
            <pc:docMk/>
            <pc:sldMk cId="4029893540" sldId="2147479537"/>
            <ac:picMk id="17" creationId="{4C27A0B6-B933-7D23-B742-D62803B0D84E}"/>
          </ac:picMkLst>
        </pc:picChg>
        <pc:picChg chg="add mod">
          <ac:chgData name="Afzal, Tanzeel" userId="4c1bee66-eab8-4968-ab2a-d2fc86f622d3" providerId="ADAL" clId="{379C0618-42FE-451D-8FAA-3258774ED7D0}" dt="2023-12-11T10:06:58.127" v="70"/>
          <ac:picMkLst>
            <pc:docMk/>
            <pc:sldMk cId="4029893540" sldId="2147479537"/>
            <ac:picMk id="19" creationId="{F5AF8C3E-DC74-73C6-0885-AB89111E268D}"/>
          </ac:picMkLst>
        </pc:picChg>
      </pc:sldChg>
      <pc:sldChg chg="new del">
        <pc:chgData name="Afzal, Tanzeel" userId="4c1bee66-eab8-4968-ab2a-d2fc86f622d3" providerId="ADAL" clId="{379C0618-42FE-451D-8FAA-3258774ED7D0}" dt="2023-12-11T10:11:55.445" v="98" actId="680"/>
        <pc:sldMkLst>
          <pc:docMk/>
          <pc:sldMk cId="798903789" sldId="2147479538"/>
        </pc:sldMkLst>
      </pc:sldChg>
      <pc:sldChg chg="addSp delSp modSp add mod ord">
        <pc:chgData name="Afzal, Tanzeel" userId="4c1bee66-eab8-4968-ab2a-d2fc86f622d3" providerId="ADAL" clId="{379C0618-42FE-451D-8FAA-3258774ED7D0}" dt="2023-12-11T15:35:13.407" v="1095"/>
        <pc:sldMkLst>
          <pc:docMk/>
          <pc:sldMk cId="1829617626" sldId="2147479538"/>
        </pc:sldMkLst>
        <pc:spChg chg="add mod">
          <ac:chgData name="Afzal, Tanzeel" userId="4c1bee66-eab8-4968-ab2a-d2fc86f622d3" providerId="ADAL" clId="{379C0618-42FE-451D-8FAA-3258774ED7D0}" dt="2023-12-11T15:35:13.407" v="1095"/>
          <ac:spMkLst>
            <pc:docMk/>
            <pc:sldMk cId="1829617626" sldId="2147479538"/>
            <ac:spMk id="2" creationId="{92BFE787-C89C-515D-0EF6-0B83A6890AE7}"/>
          </ac:spMkLst>
        </pc:spChg>
        <pc:spChg chg="del">
          <ac:chgData name="Afzal, Tanzeel" userId="4c1bee66-eab8-4968-ab2a-d2fc86f622d3" providerId="ADAL" clId="{379C0618-42FE-451D-8FAA-3258774ED7D0}" dt="2023-12-11T10:12:10.826" v="101" actId="478"/>
          <ac:spMkLst>
            <pc:docMk/>
            <pc:sldMk cId="1829617626" sldId="2147479538"/>
            <ac:spMk id="4" creationId="{2FB613DC-9E56-5E8D-AE42-C0F5E44C310A}"/>
          </ac:spMkLst>
        </pc:spChg>
        <pc:spChg chg="del">
          <ac:chgData name="Afzal, Tanzeel" userId="4c1bee66-eab8-4968-ab2a-d2fc86f622d3" providerId="ADAL" clId="{379C0618-42FE-451D-8FAA-3258774ED7D0}" dt="2023-12-11T10:12:08.203" v="100" actId="478"/>
          <ac:spMkLst>
            <pc:docMk/>
            <pc:sldMk cId="1829617626" sldId="2147479538"/>
            <ac:spMk id="5" creationId="{9E0DBC6F-0431-8CD1-D12B-D63573D75633}"/>
          </ac:spMkLst>
        </pc:spChg>
        <pc:spChg chg="mod">
          <ac:chgData name="Afzal, Tanzeel" userId="4c1bee66-eab8-4968-ab2a-d2fc86f622d3" providerId="ADAL" clId="{379C0618-42FE-451D-8FAA-3258774ED7D0}" dt="2023-12-11T10:12:11.617" v="102"/>
          <ac:spMkLst>
            <pc:docMk/>
            <pc:sldMk cId="1829617626" sldId="2147479538"/>
            <ac:spMk id="6" creationId="{60740F1F-71BB-C6C0-B121-D264B6F1FB94}"/>
          </ac:spMkLst>
        </pc:spChg>
        <pc:spChg chg="mod">
          <ac:chgData name="Afzal, Tanzeel" userId="4c1bee66-eab8-4968-ab2a-d2fc86f622d3" providerId="ADAL" clId="{379C0618-42FE-451D-8FAA-3258774ED7D0}" dt="2023-12-11T10:12:11.617" v="102"/>
          <ac:spMkLst>
            <pc:docMk/>
            <pc:sldMk cId="1829617626" sldId="2147479538"/>
            <ac:spMk id="8" creationId="{030754DF-CC6B-9924-1696-479834BEF96A}"/>
          </ac:spMkLst>
        </pc:spChg>
        <pc:spChg chg="mod">
          <ac:chgData name="Afzal, Tanzeel" userId="4c1bee66-eab8-4968-ab2a-d2fc86f622d3" providerId="ADAL" clId="{379C0618-42FE-451D-8FAA-3258774ED7D0}" dt="2023-12-11T10:12:11.617" v="102"/>
          <ac:spMkLst>
            <pc:docMk/>
            <pc:sldMk cId="1829617626" sldId="2147479538"/>
            <ac:spMk id="10" creationId="{7956B72E-313F-418E-1B08-503D27937830}"/>
          </ac:spMkLst>
        </pc:spChg>
        <pc:spChg chg="mod">
          <ac:chgData name="Afzal, Tanzeel" userId="4c1bee66-eab8-4968-ab2a-d2fc86f622d3" providerId="ADAL" clId="{379C0618-42FE-451D-8FAA-3258774ED7D0}" dt="2023-12-11T10:12:11.617" v="102"/>
          <ac:spMkLst>
            <pc:docMk/>
            <pc:sldMk cId="1829617626" sldId="2147479538"/>
            <ac:spMk id="12" creationId="{223B5BB8-94F8-FCF2-D976-85264D0C254D}"/>
          </ac:spMkLst>
        </pc:spChg>
        <pc:spChg chg="del">
          <ac:chgData name="Afzal, Tanzeel" userId="4c1bee66-eab8-4968-ab2a-d2fc86f622d3" providerId="ADAL" clId="{379C0618-42FE-451D-8FAA-3258774ED7D0}" dt="2023-12-11T10:12:08.203" v="100" actId="478"/>
          <ac:spMkLst>
            <pc:docMk/>
            <pc:sldMk cId="1829617626" sldId="2147479538"/>
            <ac:spMk id="14" creationId="{D335CBCB-D52C-9466-7212-89055DCC8353}"/>
          </ac:spMkLst>
        </pc:spChg>
        <pc:spChg chg="del">
          <ac:chgData name="Afzal, Tanzeel" userId="4c1bee66-eab8-4968-ab2a-d2fc86f622d3" providerId="ADAL" clId="{379C0618-42FE-451D-8FAA-3258774ED7D0}" dt="2023-12-11T10:12:08.203" v="100" actId="478"/>
          <ac:spMkLst>
            <pc:docMk/>
            <pc:sldMk cId="1829617626" sldId="2147479538"/>
            <ac:spMk id="15" creationId="{27208783-AB24-8BB8-E9D1-19AE746C2F6B}"/>
          </ac:spMkLst>
        </pc:spChg>
        <pc:spChg chg="mod">
          <ac:chgData name="Afzal, Tanzeel" userId="4c1bee66-eab8-4968-ab2a-d2fc86f622d3" providerId="ADAL" clId="{379C0618-42FE-451D-8FAA-3258774ED7D0}" dt="2023-12-11T10:12:11.617" v="102"/>
          <ac:spMkLst>
            <pc:docMk/>
            <pc:sldMk cId="1829617626" sldId="2147479538"/>
            <ac:spMk id="16" creationId="{25F8AD5A-03C2-F1CD-D9BA-49D90366193C}"/>
          </ac:spMkLst>
        </pc:spChg>
        <pc:spChg chg="mod">
          <ac:chgData name="Afzal, Tanzeel" userId="4c1bee66-eab8-4968-ab2a-d2fc86f622d3" providerId="ADAL" clId="{379C0618-42FE-451D-8FAA-3258774ED7D0}" dt="2023-12-11T10:12:11.617" v="102"/>
          <ac:spMkLst>
            <pc:docMk/>
            <pc:sldMk cId="1829617626" sldId="2147479538"/>
            <ac:spMk id="18" creationId="{F13D0CDE-A0E6-4E46-C2E4-FF8FFFB8FECB}"/>
          </ac:spMkLst>
        </pc:spChg>
        <pc:spChg chg="mod">
          <ac:chgData name="Afzal, Tanzeel" userId="4c1bee66-eab8-4968-ab2a-d2fc86f622d3" providerId="ADAL" clId="{379C0618-42FE-451D-8FAA-3258774ED7D0}" dt="2023-12-11T10:12:11.617" v="102"/>
          <ac:spMkLst>
            <pc:docMk/>
            <pc:sldMk cId="1829617626" sldId="2147479538"/>
            <ac:spMk id="19" creationId="{DA62D8E2-C235-6621-7F84-C3776DB647F2}"/>
          </ac:spMkLst>
        </pc:spChg>
        <pc:spChg chg="mod">
          <ac:chgData name="Afzal, Tanzeel" userId="4c1bee66-eab8-4968-ab2a-d2fc86f622d3" providerId="ADAL" clId="{379C0618-42FE-451D-8FAA-3258774ED7D0}" dt="2023-12-11T10:12:11.617" v="102"/>
          <ac:spMkLst>
            <pc:docMk/>
            <pc:sldMk cId="1829617626" sldId="2147479538"/>
            <ac:spMk id="21" creationId="{FD1FD675-1DE2-541C-410F-44C6EF408B5D}"/>
          </ac:spMkLst>
        </pc:spChg>
        <pc:spChg chg="mod">
          <ac:chgData name="Afzal, Tanzeel" userId="4c1bee66-eab8-4968-ab2a-d2fc86f622d3" providerId="ADAL" clId="{379C0618-42FE-451D-8FAA-3258774ED7D0}" dt="2023-12-11T10:12:11.617" v="102"/>
          <ac:spMkLst>
            <pc:docMk/>
            <pc:sldMk cId="1829617626" sldId="2147479538"/>
            <ac:spMk id="24" creationId="{FF27EEE5-B0CA-5595-3E1C-93965B9BC159}"/>
          </ac:spMkLst>
        </pc:spChg>
        <pc:spChg chg="mod">
          <ac:chgData name="Afzal, Tanzeel" userId="4c1bee66-eab8-4968-ab2a-d2fc86f622d3" providerId="ADAL" clId="{379C0618-42FE-451D-8FAA-3258774ED7D0}" dt="2023-12-11T10:12:11.617" v="102"/>
          <ac:spMkLst>
            <pc:docMk/>
            <pc:sldMk cId="1829617626" sldId="2147479538"/>
            <ac:spMk id="25" creationId="{78A0A12E-A04C-B253-86D1-CF20890C9CC3}"/>
          </ac:spMkLst>
        </pc:spChg>
        <pc:spChg chg="mod">
          <ac:chgData name="Afzal, Tanzeel" userId="4c1bee66-eab8-4968-ab2a-d2fc86f622d3" providerId="ADAL" clId="{379C0618-42FE-451D-8FAA-3258774ED7D0}" dt="2023-12-11T10:12:11.617" v="102"/>
          <ac:spMkLst>
            <pc:docMk/>
            <pc:sldMk cId="1829617626" sldId="2147479538"/>
            <ac:spMk id="26" creationId="{C2068367-BCE8-8DDE-2422-4A252A8040AB}"/>
          </ac:spMkLst>
        </pc:spChg>
        <pc:spChg chg="mod">
          <ac:chgData name="Afzal, Tanzeel" userId="4c1bee66-eab8-4968-ab2a-d2fc86f622d3" providerId="ADAL" clId="{379C0618-42FE-451D-8FAA-3258774ED7D0}" dt="2023-12-11T10:12:11.617" v="102"/>
          <ac:spMkLst>
            <pc:docMk/>
            <pc:sldMk cId="1829617626" sldId="2147479538"/>
            <ac:spMk id="27" creationId="{DE633223-F5A4-ACAE-0D17-9510B62F55D6}"/>
          </ac:spMkLst>
        </pc:spChg>
        <pc:spChg chg="mod">
          <ac:chgData name="Afzal, Tanzeel" userId="4c1bee66-eab8-4968-ab2a-d2fc86f622d3" providerId="ADAL" clId="{379C0618-42FE-451D-8FAA-3258774ED7D0}" dt="2023-12-11T10:12:11.617" v="102"/>
          <ac:spMkLst>
            <pc:docMk/>
            <pc:sldMk cId="1829617626" sldId="2147479538"/>
            <ac:spMk id="28" creationId="{97581ED9-5751-996F-ED15-AF11F96779D1}"/>
          </ac:spMkLst>
        </pc:spChg>
        <pc:spChg chg="mod">
          <ac:chgData name="Afzal, Tanzeel" userId="4c1bee66-eab8-4968-ab2a-d2fc86f622d3" providerId="ADAL" clId="{379C0618-42FE-451D-8FAA-3258774ED7D0}" dt="2023-12-11T10:12:11.617" v="102"/>
          <ac:spMkLst>
            <pc:docMk/>
            <pc:sldMk cId="1829617626" sldId="2147479538"/>
            <ac:spMk id="31" creationId="{52EA3384-70D3-6515-2D84-DD3F41CAA7CE}"/>
          </ac:spMkLst>
        </pc:spChg>
        <pc:spChg chg="mod">
          <ac:chgData name="Afzal, Tanzeel" userId="4c1bee66-eab8-4968-ab2a-d2fc86f622d3" providerId="ADAL" clId="{379C0618-42FE-451D-8FAA-3258774ED7D0}" dt="2023-12-11T10:12:11.617" v="102"/>
          <ac:spMkLst>
            <pc:docMk/>
            <pc:sldMk cId="1829617626" sldId="2147479538"/>
            <ac:spMk id="32" creationId="{E1D288AE-624B-0C74-B79A-7F8DF807AD94}"/>
          </ac:spMkLst>
        </pc:spChg>
        <pc:spChg chg="mod">
          <ac:chgData name="Afzal, Tanzeel" userId="4c1bee66-eab8-4968-ab2a-d2fc86f622d3" providerId="ADAL" clId="{379C0618-42FE-451D-8FAA-3258774ED7D0}" dt="2023-12-11T10:12:11.617" v="102"/>
          <ac:spMkLst>
            <pc:docMk/>
            <pc:sldMk cId="1829617626" sldId="2147479538"/>
            <ac:spMk id="33" creationId="{65EF1FE5-7A07-E59C-C19F-2B749D14A590}"/>
          </ac:spMkLst>
        </pc:spChg>
        <pc:spChg chg="mod">
          <ac:chgData name="Afzal, Tanzeel" userId="4c1bee66-eab8-4968-ab2a-d2fc86f622d3" providerId="ADAL" clId="{379C0618-42FE-451D-8FAA-3258774ED7D0}" dt="2023-12-11T10:12:11.617" v="102"/>
          <ac:spMkLst>
            <pc:docMk/>
            <pc:sldMk cId="1829617626" sldId="2147479538"/>
            <ac:spMk id="34" creationId="{B85271F9-8624-EF99-29F9-0B767AAD7A68}"/>
          </ac:spMkLst>
        </pc:spChg>
        <pc:spChg chg="mod">
          <ac:chgData name="Afzal, Tanzeel" userId="4c1bee66-eab8-4968-ab2a-d2fc86f622d3" providerId="ADAL" clId="{379C0618-42FE-451D-8FAA-3258774ED7D0}" dt="2023-12-11T10:12:11.617" v="102"/>
          <ac:spMkLst>
            <pc:docMk/>
            <pc:sldMk cId="1829617626" sldId="2147479538"/>
            <ac:spMk id="35" creationId="{6E808A2A-B3C1-241D-C081-288C646A8760}"/>
          </ac:spMkLst>
        </pc:spChg>
        <pc:spChg chg="mod">
          <ac:chgData name="Afzal, Tanzeel" userId="4c1bee66-eab8-4968-ab2a-d2fc86f622d3" providerId="ADAL" clId="{379C0618-42FE-451D-8FAA-3258774ED7D0}" dt="2023-12-11T10:12:11.617" v="102"/>
          <ac:spMkLst>
            <pc:docMk/>
            <pc:sldMk cId="1829617626" sldId="2147479538"/>
            <ac:spMk id="37" creationId="{DB5B6693-FC20-1C8B-9D92-5437C604ECA7}"/>
          </ac:spMkLst>
        </pc:spChg>
        <pc:spChg chg="mod">
          <ac:chgData name="Afzal, Tanzeel" userId="4c1bee66-eab8-4968-ab2a-d2fc86f622d3" providerId="ADAL" clId="{379C0618-42FE-451D-8FAA-3258774ED7D0}" dt="2023-12-11T10:12:11.617" v="102"/>
          <ac:spMkLst>
            <pc:docMk/>
            <pc:sldMk cId="1829617626" sldId="2147479538"/>
            <ac:spMk id="43" creationId="{8B1B7700-9168-EA8D-6DA6-5D213009C03E}"/>
          </ac:spMkLst>
        </pc:spChg>
        <pc:spChg chg="mod">
          <ac:chgData name="Afzal, Tanzeel" userId="4c1bee66-eab8-4968-ab2a-d2fc86f622d3" providerId="ADAL" clId="{379C0618-42FE-451D-8FAA-3258774ED7D0}" dt="2023-12-11T10:12:11.617" v="102"/>
          <ac:spMkLst>
            <pc:docMk/>
            <pc:sldMk cId="1829617626" sldId="2147479538"/>
            <ac:spMk id="44" creationId="{4E5FDAD2-CD54-FE6C-006F-C74FEC683577}"/>
          </ac:spMkLst>
        </pc:spChg>
        <pc:spChg chg="mod">
          <ac:chgData name="Afzal, Tanzeel" userId="4c1bee66-eab8-4968-ab2a-d2fc86f622d3" providerId="ADAL" clId="{379C0618-42FE-451D-8FAA-3258774ED7D0}" dt="2023-12-11T10:12:11.617" v="102"/>
          <ac:spMkLst>
            <pc:docMk/>
            <pc:sldMk cId="1829617626" sldId="2147479538"/>
            <ac:spMk id="45" creationId="{A054CECB-7C0E-CD34-559C-FAC35CC78618}"/>
          </ac:spMkLst>
        </pc:spChg>
        <pc:spChg chg="mod">
          <ac:chgData name="Afzal, Tanzeel" userId="4c1bee66-eab8-4968-ab2a-d2fc86f622d3" providerId="ADAL" clId="{379C0618-42FE-451D-8FAA-3258774ED7D0}" dt="2023-12-11T10:12:11.617" v="102"/>
          <ac:spMkLst>
            <pc:docMk/>
            <pc:sldMk cId="1829617626" sldId="2147479538"/>
            <ac:spMk id="50" creationId="{8EB72E78-F1EB-EA03-4172-5A214C9C2D65}"/>
          </ac:spMkLst>
        </pc:spChg>
        <pc:spChg chg="mod">
          <ac:chgData name="Afzal, Tanzeel" userId="4c1bee66-eab8-4968-ab2a-d2fc86f622d3" providerId="ADAL" clId="{379C0618-42FE-451D-8FAA-3258774ED7D0}" dt="2023-12-11T10:12:11.617" v="102"/>
          <ac:spMkLst>
            <pc:docMk/>
            <pc:sldMk cId="1829617626" sldId="2147479538"/>
            <ac:spMk id="52" creationId="{3398A2E3-8B53-0ED8-E0C0-4B86BB283CE6}"/>
          </ac:spMkLst>
        </pc:spChg>
        <pc:spChg chg="mod">
          <ac:chgData name="Afzal, Tanzeel" userId="4c1bee66-eab8-4968-ab2a-d2fc86f622d3" providerId="ADAL" clId="{379C0618-42FE-451D-8FAA-3258774ED7D0}" dt="2023-12-11T10:12:11.617" v="102"/>
          <ac:spMkLst>
            <pc:docMk/>
            <pc:sldMk cId="1829617626" sldId="2147479538"/>
            <ac:spMk id="53" creationId="{558652FA-4BA7-3F22-26A5-9F3DA8C2F5FE}"/>
          </ac:spMkLst>
        </pc:spChg>
        <pc:spChg chg="del mod">
          <ac:chgData name="Afzal, Tanzeel" userId="4c1bee66-eab8-4968-ab2a-d2fc86f622d3" providerId="ADAL" clId="{379C0618-42FE-451D-8FAA-3258774ED7D0}" dt="2023-12-11T10:13:02.083" v="108" actId="478"/>
          <ac:spMkLst>
            <pc:docMk/>
            <pc:sldMk cId="1829617626" sldId="2147479538"/>
            <ac:spMk id="54" creationId="{D8C444F9-23E8-57E5-79A5-B728611575BD}"/>
          </ac:spMkLst>
        </pc:spChg>
        <pc:spChg chg="mod">
          <ac:chgData name="Afzal, Tanzeel" userId="4c1bee66-eab8-4968-ab2a-d2fc86f622d3" providerId="ADAL" clId="{379C0618-42FE-451D-8FAA-3258774ED7D0}" dt="2023-12-11T10:12:11.617" v="102"/>
          <ac:spMkLst>
            <pc:docMk/>
            <pc:sldMk cId="1829617626" sldId="2147479538"/>
            <ac:spMk id="55" creationId="{97A22D15-02A8-F643-8C9F-B81DFE8D57BD}"/>
          </ac:spMkLst>
        </pc:spChg>
        <pc:spChg chg="add mod">
          <ac:chgData name="Afzal, Tanzeel" userId="4c1bee66-eab8-4968-ab2a-d2fc86f622d3" providerId="ADAL" clId="{379C0618-42FE-451D-8FAA-3258774ED7D0}" dt="2023-12-11T11:47:09.917" v="285" actId="1038"/>
          <ac:spMkLst>
            <pc:docMk/>
            <pc:sldMk cId="1829617626" sldId="2147479538"/>
            <ac:spMk id="58" creationId="{0C761308-32A0-1B60-B2F4-0CA4BD414F95}"/>
          </ac:spMkLst>
        </pc:spChg>
        <pc:spChg chg="del">
          <ac:chgData name="Afzal, Tanzeel" userId="4c1bee66-eab8-4968-ab2a-d2fc86f622d3" providerId="ADAL" clId="{379C0618-42FE-451D-8FAA-3258774ED7D0}" dt="2023-12-11T10:12:28.728" v="104" actId="478"/>
          <ac:spMkLst>
            <pc:docMk/>
            <pc:sldMk cId="1829617626" sldId="2147479538"/>
            <ac:spMk id="75" creationId="{0B00487E-9A8E-46E0-B60F-BB884C23310C}"/>
          </ac:spMkLst>
        </pc:spChg>
        <pc:grpChg chg="add mod">
          <ac:chgData name="Afzal, Tanzeel" userId="4c1bee66-eab8-4968-ab2a-d2fc86f622d3" providerId="ADAL" clId="{379C0618-42FE-451D-8FAA-3258774ED7D0}" dt="2023-12-11T10:12:11.617" v="102"/>
          <ac:grpSpMkLst>
            <pc:docMk/>
            <pc:sldMk cId="1829617626" sldId="2147479538"/>
            <ac:grpSpMk id="3" creationId="{D85C541C-B788-31A6-B6C9-1E17B52060EE}"/>
          </ac:grpSpMkLst>
        </pc:grpChg>
        <pc:grpChg chg="mod">
          <ac:chgData name="Afzal, Tanzeel" userId="4c1bee66-eab8-4968-ab2a-d2fc86f622d3" providerId="ADAL" clId="{379C0618-42FE-451D-8FAA-3258774ED7D0}" dt="2023-12-11T10:12:11.617" v="102"/>
          <ac:grpSpMkLst>
            <pc:docMk/>
            <pc:sldMk cId="1829617626" sldId="2147479538"/>
            <ac:grpSpMk id="42" creationId="{A013A0AB-6A71-8B01-B115-F09F422BCB08}"/>
          </ac:grpSpMkLst>
        </pc:grpChg>
        <pc:picChg chg="mod">
          <ac:chgData name="Afzal, Tanzeel" userId="4c1bee66-eab8-4968-ab2a-d2fc86f622d3" providerId="ADAL" clId="{379C0618-42FE-451D-8FAA-3258774ED7D0}" dt="2023-12-11T10:12:11.617" v="102"/>
          <ac:picMkLst>
            <pc:docMk/>
            <pc:sldMk cId="1829617626" sldId="2147479538"/>
            <ac:picMk id="7" creationId="{F3F70DC1-F1C4-BD82-DB62-2AFD267111F0}"/>
          </ac:picMkLst>
        </pc:picChg>
        <pc:picChg chg="mod">
          <ac:chgData name="Afzal, Tanzeel" userId="4c1bee66-eab8-4968-ab2a-d2fc86f622d3" providerId="ADAL" clId="{379C0618-42FE-451D-8FAA-3258774ED7D0}" dt="2023-12-11T10:12:11.617" v="102"/>
          <ac:picMkLst>
            <pc:docMk/>
            <pc:sldMk cId="1829617626" sldId="2147479538"/>
            <ac:picMk id="9" creationId="{37D44430-94D0-2A70-A0A5-3DD5B57B50B3}"/>
          </ac:picMkLst>
        </pc:picChg>
        <pc:picChg chg="mod">
          <ac:chgData name="Afzal, Tanzeel" userId="4c1bee66-eab8-4968-ab2a-d2fc86f622d3" providerId="ADAL" clId="{379C0618-42FE-451D-8FAA-3258774ED7D0}" dt="2023-12-11T10:12:11.617" v="102"/>
          <ac:picMkLst>
            <pc:docMk/>
            <pc:sldMk cId="1829617626" sldId="2147479538"/>
            <ac:picMk id="11" creationId="{60EB5D9C-A6BD-ECC0-3B93-B67E086BAF41}"/>
          </ac:picMkLst>
        </pc:picChg>
        <pc:picChg chg="mod">
          <ac:chgData name="Afzal, Tanzeel" userId="4c1bee66-eab8-4968-ab2a-d2fc86f622d3" providerId="ADAL" clId="{379C0618-42FE-451D-8FAA-3258774ED7D0}" dt="2023-12-11T10:12:11.617" v="102"/>
          <ac:picMkLst>
            <pc:docMk/>
            <pc:sldMk cId="1829617626" sldId="2147479538"/>
            <ac:picMk id="13" creationId="{FCD969CB-90BF-C243-1885-E701A24B0F9B}"/>
          </ac:picMkLst>
        </pc:picChg>
        <pc:picChg chg="mod">
          <ac:chgData name="Afzal, Tanzeel" userId="4c1bee66-eab8-4968-ab2a-d2fc86f622d3" providerId="ADAL" clId="{379C0618-42FE-451D-8FAA-3258774ED7D0}" dt="2023-12-11T10:12:11.617" v="102"/>
          <ac:picMkLst>
            <pc:docMk/>
            <pc:sldMk cId="1829617626" sldId="2147479538"/>
            <ac:picMk id="17" creationId="{876345F4-5285-D583-DD03-D658AA326BED}"/>
          </ac:picMkLst>
        </pc:picChg>
        <pc:picChg chg="mod">
          <ac:chgData name="Afzal, Tanzeel" userId="4c1bee66-eab8-4968-ab2a-d2fc86f622d3" providerId="ADAL" clId="{379C0618-42FE-451D-8FAA-3258774ED7D0}" dt="2023-12-11T10:12:11.617" v="102"/>
          <ac:picMkLst>
            <pc:docMk/>
            <pc:sldMk cId="1829617626" sldId="2147479538"/>
            <ac:picMk id="20" creationId="{6D46738C-1882-0A4B-02B7-F2A319343D73}"/>
          </ac:picMkLst>
        </pc:picChg>
        <pc:picChg chg="mod">
          <ac:chgData name="Afzal, Tanzeel" userId="4c1bee66-eab8-4968-ab2a-d2fc86f622d3" providerId="ADAL" clId="{379C0618-42FE-451D-8FAA-3258774ED7D0}" dt="2023-12-11T10:12:11.617" v="102"/>
          <ac:picMkLst>
            <pc:docMk/>
            <pc:sldMk cId="1829617626" sldId="2147479538"/>
            <ac:picMk id="22" creationId="{42C4DD10-4B6E-CB80-7AAA-511840ACD613}"/>
          </ac:picMkLst>
        </pc:picChg>
        <pc:picChg chg="mod">
          <ac:chgData name="Afzal, Tanzeel" userId="4c1bee66-eab8-4968-ab2a-d2fc86f622d3" providerId="ADAL" clId="{379C0618-42FE-451D-8FAA-3258774ED7D0}" dt="2023-12-11T10:12:11.617" v="102"/>
          <ac:picMkLst>
            <pc:docMk/>
            <pc:sldMk cId="1829617626" sldId="2147479538"/>
            <ac:picMk id="23" creationId="{249DDD90-3C74-B586-2E1B-AD32D20BE07C}"/>
          </ac:picMkLst>
        </pc:picChg>
        <pc:picChg chg="mod">
          <ac:chgData name="Afzal, Tanzeel" userId="4c1bee66-eab8-4968-ab2a-d2fc86f622d3" providerId="ADAL" clId="{379C0618-42FE-451D-8FAA-3258774ED7D0}" dt="2023-12-11T10:12:11.617" v="102"/>
          <ac:picMkLst>
            <pc:docMk/>
            <pc:sldMk cId="1829617626" sldId="2147479538"/>
            <ac:picMk id="36" creationId="{5C21C5D9-E526-3C9C-69B7-8A1CB7111D14}"/>
          </ac:picMkLst>
        </pc:picChg>
        <pc:picChg chg="mod">
          <ac:chgData name="Afzal, Tanzeel" userId="4c1bee66-eab8-4968-ab2a-d2fc86f622d3" providerId="ADAL" clId="{379C0618-42FE-451D-8FAA-3258774ED7D0}" dt="2023-12-11T10:12:11.617" v="102"/>
          <ac:picMkLst>
            <pc:docMk/>
            <pc:sldMk cId="1829617626" sldId="2147479538"/>
            <ac:picMk id="39" creationId="{BF853536-FD13-CCC7-C649-31F37643FA64}"/>
          </ac:picMkLst>
        </pc:picChg>
        <pc:picChg chg="mod">
          <ac:chgData name="Afzal, Tanzeel" userId="4c1bee66-eab8-4968-ab2a-d2fc86f622d3" providerId="ADAL" clId="{379C0618-42FE-451D-8FAA-3258774ED7D0}" dt="2023-12-11T10:12:11.617" v="102"/>
          <ac:picMkLst>
            <pc:docMk/>
            <pc:sldMk cId="1829617626" sldId="2147479538"/>
            <ac:picMk id="46" creationId="{E944690D-133B-BB06-D164-77B624B3A6AF}"/>
          </ac:picMkLst>
        </pc:picChg>
        <pc:picChg chg="mod">
          <ac:chgData name="Afzal, Tanzeel" userId="4c1bee66-eab8-4968-ab2a-d2fc86f622d3" providerId="ADAL" clId="{379C0618-42FE-451D-8FAA-3258774ED7D0}" dt="2023-12-11T10:12:11.617" v="102"/>
          <ac:picMkLst>
            <pc:docMk/>
            <pc:sldMk cId="1829617626" sldId="2147479538"/>
            <ac:picMk id="47" creationId="{2792A6B4-A317-9A55-7A6D-AD948A9801C2}"/>
          </ac:picMkLst>
        </pc:picChg>
        <pc:picChg chg="mod">
          <ac:chgData name="Afzal, Tanzeel" userId="4c1bee66-eab8-4968-ab2a-d2fc86f622d3" providerId="ADAL" clId="{379C0618-42FE-451D-8FAA-3258774ED7D0}" dt="2023-12-11T10:12:11.617" v="102"/>
          <ac:picMkLst>
            <pc:docMk/>
            <pc:sldMk cId="1829617626" sldId="2147479538"/>
            <ac:picMk id="48" creationId="{5114662B-B409-C819-1FCF-701B9BA8550D}"/>
          </ac:picMkLst>
        </pc:picChg>
        <pc:picChg chg="mod">
          <ac:chgData name="Afzal, Tanzeel" userId="4c1bee66-eab8-4968-ab2a-d2fc86f622d3" providerId="ADAL" clId="{379C0618-42FE-451D-8FAA-3258774ED7D0}" dt="2023-12-11T10:12:11.617" v="102"/>
          <ac:picMkLst>
            <pc:docMk/>
            <pc:sldMk cId="1829617626" sldId="2147479538"/>
            <ac:picMk id="49" creationId="{22D34CEA-A938-678C-6725-7DBBA8D840C6}"/>
          </ac:picMkLst>
        </pc:picChg>
        <pc:picChg chg="mod">
          <ac:chgData name="Afzal, Tanzeel" userId="4c1bee66-eab8-4968-ab2a-d2fc86f622d3" providerId="ADAL" clId="{379C0618-42FE-451D-8FAA-3258774ED7D0}" dt="2023-12-11T10:12:11.617" v="102"/>
          <ac:picMkLst>
            <pc:docMk/>
            <pc:sldMk cId="1829617626" sldId="2147479538"/>
            <ac:picMk id="51" creationId="{2B87B5F5-EB89-67D2-24DB-2EFB0E5C4CD4}"/>
          </ac:picMkLst>
        </pc:picChg>
        <pc:cxnChg chg="mod">
          <ac:chgData name="Afzal, Tanzeel" userId="4c1bee66-eab8-4968-ab2a-d2fc86f622d3" providerId="ADAL" clId="{379C0618-42FE-451D-8FAA-3258774ED7D0}" dt="2023-12-11T10:12:11.617" v="102"/>
          <ac:cxnSpMkLst>
            <pc:docMk/>
            <pc:sldMk cId="1829617626" sldId="2147479538"/>
            <ac:cxnSpMk id="29" creationId="{4BE394D4-559D-148C-46FB-4D77CCF9499C}"/>
          </ac:cxnSpMkLst>
        </pc:cxnChg>
        <pc:cxnChg chg="mod">
          <ac:chgData name="Afzal, Tanzeel" userId="4c1bee66-eab8-4968-ab2a-d2fc86f622d3" providerId="ADAL" clId="{379C0618-42FE-451D-8FAA-3258774ED7D0}" dt="2023-12-11T10:12:11.617" v="102"/>
          <ac:cxnSpMkLst>
            <pc:docMk/>
            <pc:sldMk cId="1829617626" sldId="2147479538"/>
            <ac:cxnSpMk id="30" creationId="{48D2D470-F156-5659-0F12-1B5595060958}"/>
          </ac:cxnSpMkLst>
        </pc:cxnChg>
        <pc:cxnChg chg="mod">
          <ac:chgData name="Afzal, Tanzeel" userId="4c1bee66-eab8-4968-ab2a-d2fc86f622d3" providerId="ADAL" clId="{379C0618-42FE-451D-8FAA-3258774ED7D0}" dt="2023-12-11T10:12:11.617" v="102"/>
          <ac:cxnSpMkLst>
            <pc:docMk/>
            <pc:sldMk cId="1829617626" sldId="2147479538"/>
            <ac:cxnSpMk id="38" creationId="{E0E4665E-407E-FE23-68B7-0D07FC4D8251}"/>
          </ac:cxnSpMkLst>
        </pc:cxnChg>
        <pc:cxnChg chg="mod">
          <ac:chgData name="Afzal, Tanzeel" userId="4c1bee66-eab8-4968-ab2a-d2fc86f622d3" providerId="ADAL" clId="{379C0618-42FE-451D-8FAA-3258774ED7D0}" dt="2023-12-11T10:12:11.617" v="102"/>
          <ac:cxnSpMkLst>
            <pc:docMk/>
            <pc:sldMk cId="1829617626" sldId="2147479538"/>
            <ac:cxnSpMk id="40" creationId="{43300125-731A-666D-DF81-F1C3227C3BFD}"/>
          </ac:cxnSpMkLst>
        </pc:cxnChg>
        <pc:cxnChg chg="mod">
          <ac:chgData name="Afzal, Tanzeel" userId="4c1bee66-eab8-4968-ab2a-d2fc86f622d3" providerId="ADAL" clId="{379C0618-42FE-451D-8FAA-3258774ED7D0}" dt="2023-12-11T10:12:11.617" v="102"/>
          <ac:cxnSpMkLst>
            <pc:docMk/>
            <pc:sldMk cId="1829617626" sldId="2147479538"/>
            <ac:cxnSpMk id="41" creationId="{D31AFA95-87DB-7303-0495-FF9D7E241DA4}"/>
          </ac:cxnSpMkLst>
        </pc:cxnChg>
        <pc:cxnChg chg="mod">
          <ac:chgData name="Afzal, Tanzeel" userId="4c1bee66-eab8-4968-ab2a-d2fc86f622d3" providerId="ADAL" clId="{379C0618-42FE-451D-8FAA-3258774ED7D0}" dt="2023-12-11T10:12:11.617" v="102"/>
          <ac:cxnSpMkLst>
            <pc:docMk/>
            <pc:sldMk cId="1829617626" sldId="2147479538"/>
            <ac:cxnSpMk id="56" creationId="{F0B6E12A-0F94-27DC-FEA2-F1128DD38AE6}"/>
          </ac:cxnSpMkLst>
        </pc:cxnChg>
        <pc:cxnChg chg="mod">
          <ac:chgData name="Afzal, Tanzeel" userId="4c1bee66-eab8-4968-ab2a-d2fc86f622d3" providerId="ADAL" clId="{379C0618-42FE-451D-8FAA-3258774ED7D0}" dt="2023-12-11T10:12:11.617" v="102"/>
          <ac:cxnSpMkLst>
            <pc:docMk/>
            <pc:sldMk cId="1829617626" sldId="2147479538"/>
            <ac:cxnSpMk id="57" creationId="{2BB885C6-7C44-BCBE-517A-D60B3EE8CA40}"/>
          </ac:cxnSpMkLst>
        </pc:cxnChg>
      </pc:sldChg>
      <pc:sldChg chg="addSp delSp modSp add mod ord">
        <pc:chgData name="Afzal, Tanzeel" userId="4c1bee66-eab8-4968-ab2a-d2fc86f622d3" providerId="ADAL" clId="{379C0618-42FE-451D-8FAA-3258774ED7D0}" dt="2023-12-11T10:20:02.521" v="162"/>
        <pc:sldMkLst>
          <pc:docMk/>
          <pc:sldMk cId="3632895860" sldId="2147479539"/>
        </pc:sldMkLst>
        <pc:spChg chg="mod">
          <ac:chgData name="Afzal, Tanzeel" userId="4c1bee66-eab8-4968-ab2a-d2fc86f622d3" providerId="ADAL" clId="{379C0618-42FE-451D-8FAA-3258774ED7D0}" dt="2023-12-11T10:18:36.626" v="143"/>
          <ac:spMkLst>
            <pc:docMk/>
            <pc:sldMk cId="3632895860" sldId="2147479539"/>
            <ac:spMk id="3" creationId="{8CBED5B0-B9F8-BFE4-2FAF-CF0AEC4EE8DC}"/>
          </ac:spMkLst>
        </pc:spChg>
        <pc:spChg chg="mod">
          <ac:chgData name="Afzal, Tanzeel" userId="4c1bee66-eab8-4968-ab2a-d2fc86f622d3" providerId="ADAL" clId="{379C0618-42FE-451D-8FAA-3258774ED7D0}" dt="2023-12-11T10:18:36.626" v="143"/>
          <ac:spMkLst>
            <pc:docMk/>
            <pc:sldMk cId="3632895860" sldId="2147479539"/>
            <ac:spMk id="38" creationId="{AE24D25F-46AF-CCBF-A37D-24A3C25F30DC}"/>
          </ac:spMkLst>
        </pc:spChg>
        <pc:spChg chg="mod">
          <ac:chgData name="Afzal, Tanzeel" userId="4c1bee66-eab8-4968-ab2a-d2fc86f622d3" providerId="ADAL" clId="{379C0618-42FE-451D-8FAA-3258774ED7D0}" dt="2023-12-11T10:18:36.626" v="143"/>
          <ac:spMkLst>
            <pc:docMk/>
            <pc:sldMk cId="3632895860" sldId="2147479539"/>
            <ac:spMk id="40" creationId="{0C2DDBCA-020B-74B5-3BA7-BB4738820501}"/>
          </ac:spMkLst>
        </pc:spChg>
        <pc:spChg chg="mod">
          <ac:chgData name="Afzal, Tanzeel" userId="4c1bee66-eab8-4968-ab2a-d2fc86f622d3" providerId="ADAL" clId="{379C0618-42FE-451D-8FAA-3258774ED7D0}" dt="2023-12-11T10:18:36.626" v="143"/>
          <ac:spMkLst>
            <pc:docMk/>
            <pc:sldMk cId="3632895860" sldId="2147479539"/>
            <ac:spMk id="41" creationId="{7B861445-25B5-FB25-2974-FCC84A6098D7}"/>
          </ac:spMkLst>
        </pc:spChg>
        <pc:spChg chg="mod">
          <ac:chgData name="Afzal, Tanzeel" userId="4c1bee66-eab8-4968-ab2a-d2fc86f622d3" providerId="ADAL" clId="{379C0618-42FE-451D-8FAA-3258774ED7D0}" dt="2023-12-11T10:18:36.626" v="143"/>
          <ac:spMkLst>
            <pc:docMk/>
            <pc:sldMk cId="3632895860" sldId="2147479539"/>
            <ac:spMk id="42" creationId="{345A0A45-0FA5-17B1-92D0-A02D9AAB3A9C}"/>
          </ac:spMkLst>
        </pc:spChg>
        <pc:spChg chg="mod">
          <ac:chgData name="Afzal, Tanzeel" userId="4c1bee66-eab8-4968-ab2a-d2fc86f622d3" providerId="ADAL" clId="{379C0618-42FE-451D-8FAA-3258774ED7D0}" dt="2023-12-11T10:18:36.626" v="143"/>
          <ac:spMkLst>
            <pc:docMk/>
            <pc:sldMk cId="3632895860" sldId="2147479539"/>
            <ac:spMk id="44" creationId="{534403FB-BA55-D177-ECD1-733F3DA41850}"/>
          </ac:spMkLst>
        </pc:spChg>
        <pc:spChg chg="mod">
          <ac:chgData name="Afzal, Tanzeel" userId="4c1bee66-eab8-4968-ab2a-d2fc86f622d3" providerId="ADAL" clId="{379C0618-42FE-451D-8FAA-3258774ED7D0}" dt="2023-12-11T10:18:36.626" v="143"/>
          <ac:spMkLst>
            <pc:docMk/>
            <pc:sldMk cId="3632895860" sldId="2147479539"/>
            <ac:spMk id="46" creationId="{089C6552-2AC1-182F-7668-1D1B25A3BCB4}"/>
          </ac:spMkLst>
        </pc:spChg>
        <pc:spChg chg="mod">
          <ac:chgData name="Afzal, Tanzeel" userId="4c1bee66-eab8-4968-ab2a-d2fc86f622d3" providerId="ADAL" clId="{379C0618-42FE-451D-8FAA-3258774ED7D0}" dt="2023-12-11T10:18:36.626" v="143"/>
          <ac:spMkLst>
            <pc:docMk/>
            <pc:sldMk cId="3632895860" sldId="2147479539"/>
            <ac:spMk id="47" creationId="{0EA8EE6D-8832-49E4-D921-55A0D6397470}"/>
          </ac:spMkLst>
        </pc:spChg>
        <pc:spChg chg="add mod">
          <ac:chgData name="Afzal, Tanzeel" userId="4c1bee66-eab8-4968-ab2a-d2fc86f622d3" providerId="ADAL" clId="{379C0618-42FE-451D-8FAA-3258774ED7D0}" dt="2023-12-11T10:18:36.626" v="143"/>
          <ac:spMkLst>
            <pc:docMk/>
            <pc:sldMk cId="3632895860" sldId="2147479539"/>
            <ac:spMk id="48" creationId="{BB9961BD-55CB-CB73-3CF7-AE60DF435CC3}"/>
          </ac:spMkLst>
        </pc:spChg>
        <pc:spChg chg="add mod">
          <ac:chgData name="Afzal, Tanzeel" userId="4c1bee66-eab8-4968-ab2a-d2fc86f622d3" providerId="ADAL" clId="{379C0618-42FE-451D-8FAA-3258774ED7D0}" dt="2023-12-11T10:18:36.626" v="143"/>
          <ac:spMkLst>
            <pc:docMk/>
            <pc:sldMk cId="3632895860" sldId="2147479539"/>
            <ac:spMk id="49" creationId="{AFD86A78-7FA0-9800-8759-DF69EBF1EAAD}"/>
          </ac:spMkLst>
        </pc:spChg>
        <pc:spChg chg="del">
          <ac:chgData name="Afzal, Tanzeel" userId="4c1bee66-eab8-4968-ab2a-d2fc86f622d3" providerId="ADAL" clId="{379C0618-42FE-451D-8FAA-3258774ED7D0}" dt="2023-12-11T10:18:27.215" v="141" actId="478"/>
          <ac:spMkLst>
            <pc:docMk/>
            <pc:sldMk cId="3632895860" sldId="2147479539"/>
            <ac:spMk id="66" creationId="{B2A34F81-550C-7FC1-B9A7-DDAC4F8DF9F6}"/>
          </ac:spMkLst>
        </pc:spChg>
        <pc:spChg chg="del">
          <ac:chgData name="Afzal, Tanzeel" userId="4c1bee66-eab8-4968-ab2a-d2fc86f622d3" providerId="ADAL" clId="{379C0618-42FE-451D-8FAA-3258774ED7D0}" dt="2023-12-11T10:18:27.215" v="141" actId="478"/>
          <ac:spMkLst>
            <pc:docMk/>
            <pc:sldMk cId="3632895860" sldId="2147479539"/>
            <ac:spMk id="67" creationId="{9CF07AA1-0ED0-8225-8AA8-7CBB8ACB55A8}"/>
          </ac:spMkLst>
        </pc:spChg>
        <pc:spChg chg="del">
          <ac:chgData name="Afzal, Tanzeel" userId="4c1bee66-eab8-4968-ab2a-d2fc86f622d3" providerId="ADAL" clId="{379C0618-42FE-451D-8FAA-3258774ED7D0}" dt="2023-12-11T10:18:27.215" v="141" actId="478"/>
          <ac:spMkLst>
            <pc:docMk/>
            <pc:sldMk cId="3632895860" sldId="2147479539"/>
            <ac:spMk id="68" creationId="{4155CB17-158A-4771-BDAB-ABC0E43E0EBD}"/>
          </ac:spMkLst>
        </pc:spChg>
        <pc:spChg chg="del">
          <ac:chgData name="Afzal, Tanzeel" userId="4c1bee66-eab8-4968-ab2a-d2fc86f622d3" providerId="ADAL" clId="{379C0618-42FE-451D-8FAA-3258774ED7D0}" dt="2023-12-11T10:18:27.215" v="141" actId="478"/>
          <ac:spMkLst>
            <pc:docMk/>
            <pc:sldMk cId="3632895860" sldId="2147479539"/>
            <ac:spMk id="69" creationId="{DBD3B282-D8B4-25BB-B67E-897AF4A92BC7}"/>
          </ac:spMkLst>
        </pc:spChg>
        <pc:spChg chg="del">
          <ac:chgData name="Afzal, Tanzeel" userId="4c1bee66-eab8-4968-ab2a-d2fc86f622d3" providerId="ADAL" clId="{379C0618-42FE-451D-8FAA-3258774ED7D0}" dt="2023-12-11T10:18:27.215" v="141" actId="478"/>
          <ac:spMkLst>
            <pc:docMk/>
            <pc:sldMk cId="3632895860" sldId="2147479539"/>
            <ac:spMk id="70" creationId="{E5A4B0AF-B497-AEAF-9038-3F606ADEE7ED}"/>
          </ac:spMkLst>
        </pc:spChg>
        <pc:spChg chg="mod">
          <ac:chgData name="Afzal, Tanzeel" userId="4c1bee66-eab8-4968-ab2a-d2fc86f622d3" providerId="ADAL" clId="{379C0618-42FE-451D-8FAA-3258774ED7D0}" dt="2023-12-11T10:18:43.056" v="156" actId="20577"/>
          <ac:spMkLst>
            <pc:docMk/>
            <pc:sldMk cId="3632895860" sldId="2147479539"/>
            <ac:spMk id="75" creationId="{0B00487E-9A8E-46E0-B60F-BB884C23310C}"/>
          </ac:spMkLst>
        </pc:spChg>
        <pc:spChg chg="del">
          <ac:chgData name="Afzal, Tanzeel" userId="4c1bee66-eab8-4968-ab2a-d2fc86f622d3" providerId="ADAL" clId="{379C0618-42FE-451D-8FAA-3258774ED7D0}" dt="2023-12-11T10:18:27.215" v="141" actId="478"/>
          <ac:spMkLst>
            <pc:docMk/>
            <pc:sldMk cId="3632895860" sldId="2147479539"/>
            <ac:spMk id="452" creationId="{36A74CA6-2EEB-B30A-0F3C-C3B4C1ED6C2A}"/>
          </ac:spMkLst>
        </pc:spChg>
        <pc:spChg chg="del">
          <ac:chgData name="Afzal, Tanzeel" userId="4c1bee66-eab8-4968-ab2a-d2fc86f622d3" providerId="ADAL" clId="{379C0618-42FE-451D-8FAA-3258774ED7D0}" dt="2023-12-11T10:18:27.215" v="141" actId="478"/>
          <ac:spMkLst>
            <pc:docMk/>
            <pc:sldMk cId="3632895860" sldId="2147479539"/>
            <ac:spMk id="458" creationId="{88CBE7B4-E535-72F1-8983-D8BBBBA59337}"/>
          </ac:spMkLst>
        </pc:spChg>
        <pc:spChg chg="del">
          <ac:chgData name="Afzal, Tanzeel" userId="4c1bee66-eab8-4968-ab2a-d2fc86f622d3" providerId="ADAL" clId="{379C0618-42FE-451D-8FAA-3258774ED7D0}" dt="2023-12-11T10:18:27.215" v="141" actId="478"/>
          <ac:spMkLst>
            <pc:docMk/>
            <pc:sldMk cId="3632895860" sldId="2147479539"/>
            <ac:spMk id="464" creationId="{3F3F3791-B5BC-4BF4-94C7-09C8766EB5BA}"/>
          </ac:spMkLst>
        </pc:spChg>
        <pc:spChg chg="del">
          <ac:chgData name="Afzal, Tanzeel" userId="4c1bee66-eab8-4968-ab2a-d2fc86f622d3" providerId="ADAL" clId="{379C0618-42FE-451D-8FAA-3258774ED7D0}" dt="2023-12-11T10:18:27.215" v="141" actId="478"/>
          <ac:spMkLst>
            <pc:docMk/>
            <pc:sldMk cId="3632895860" sldId="2147479539"/>
            <ac:spMk id="470" creationId="{EF7D1D61-7AC2-DE8E-F889-798865142487}"/>
          </ac:spMkLst>
        </pc:spChg>
        <pc:spChg chg="del">
          <ac:chgData name="Afzal, Tanzeel" userId="4c1bee66-eab8-4968-ab2a-d2fc86f622d3" providerId="ADAL" clId="{379C0618-42FE-451D-8FAA-3258774ED7D0}" dt="2023-12-11T10:18:27.215" v="141" actId="478"/>
          <ac:spMkLst>
            <pc:docMk/>
            <pc:sldMk cId="3632895860" sldId="2147479539"/>
            <ac:spMk id="471" creationId="{38A6EDD1-DA80-5DC6-85A6-041A3F952DF6}"/>
          </ac:spMkLst>
        </pc:spChg>
        <pc:spChg chg="del">
          <ac:chgData name="Afzal, Tanzeel" userId="4c1bee66-eab8-4968-ab2a-d2fc86f622d3" providerId="ADAL" clId="{379C0618-42FE-451D-8FAA-3258774ED7D0}" dt="2023-12-11T10:18:27.215" v="141" actId="478"/>
          <ac:spMkLst>
            <pc:docMk/>
            <pc:sldMk cId="3632895860" sldId="2147479539"/>
            <ac:spMk id="475" creationId="{44678160-0C14-A2A0-F238-F841F443DEA5}"/>
          </ac:spMkLst>
        </pc:spChg>
        <pc:spChg chg="del">
          <ac:chgData name="Afzal, Tanzeel" userId="4c1bee66-eab8-4968-ab2a-d2fc86f622d3" providerId="ADAL" clId="{379C0618-42FE-451D-8FAA-3258774ED7D0}" dt="2023-12-11T10:18:27.215" v="141" actId="478"/>
          <ac:spMkLst>
            <pc:docMk/>
            <pc:sldMk cId="3632895860" sldId="2147479539"/>
            <ac:spMk id="488" creationId="{59A09EE9-D4DD-8416-2031-BF86AE30E098}"/>
          </ac:spMkLst>
        </pc:spChg>
        <pc:spChg chg="del">
          <ac:chgData name="Afzal, Tanzeel" userId="4c1bee66-eab8-4968-ab2a-d2fc86f622d3" providerId="ADAL" clId="{379C0618-42FE-451D-8FAA-3258774ED7D0}" dt="2023-12-11T10:18:27.215" v="141" actId="478"/>
          <ac:spMkLst>
            <pc:docMk/>
            <pc:sldMk cId="3632895860" sldId="2147479539"/>
            <ac:spMk id="494" creationId="{4959E140-D084-D43E-E2B1-902D1C8F17EE}"/>
          </ac:spMkLst>
        </pc:spChg>
        <pc:spChg chg="del">
          <ac:chgData name="Afzal, Tanzeel" userId="4c1bee66-eab8-4968-ab2a-d2fc86f622d3" providerId="ADAL" clId="{379C0618-42FE-451D-8FAA-3258774ED7D0}" dt="2023-12-11T10:18:27.215" v="141" actId="478"/>
          <ac:spMkLst>
            <pc:docMk/>
            <pc:sldMk cId="3632895860" sldId="2147479539"/>
            <ac:spMk id="506" creationId="{B1787FBA-DF5D-4A58-70EB-8EA0BEE42838}"/>
          </ac:spMkLst>
        </pc:spChg>
        <pc:spChg chg="del">
          <ac:chgData name="Afzal, Tanzeel" userId="4c1bee66-eab8-4968-ab2a-d2fc86f622d3" providerId="ADAL" clId="{379C0618-42FE-451D-8FAA-3258774ED7D0}" dt="2023-12-11T10:18:31.160" v="142" actId="478"/>
          <ac:spMkLst>
            <pc:docMk/>
            <pc:sldMk cId="3632895860" sldId="2147479539"/>
            <ac:spMk id="507" creationId="{42A25287-6DDF-D975-7AAE-33B629EF2BC8}"/>
          </ac:spMkLst>
        </pc:spChg>
        <pc:grpChg chg="add mod">
          <ac:chgData name="Afzal, Tanzeel" userId="4c1bee66-eab8-4968-ab2a-d2fc86f622d3" providerId="ADAL" clId="{379C0618-42FE-451D-8FAA-3258774ED7D0}" dt="2023-12-11T10:18:36.626" v="143"/>
          <ac:grpSpMkLst>
            <pc:docMk/>
            <pc:sldMk cId="3632895860" sldId="2147479539"/>
            <ac:grpSpMk id="2" creationId="{CF115527-6447-13E4-E1CD-E98DC1240D1E}"/>
          </ac:grpSpMkLst>
        </pc:grpChg>
        <pc:grpChg chg="mod">
          <ac:chgData name="Afzal, Tanzeel" userId="4c1bee66-eab8-4968-ab2a-d2fc86f622d3" providerId="ADAL" clId="{379C0618-42FE-451D-8FAA-3258774ED7D0}" dt="2023-12-11T10:18:36.626" v="143"/>
          <ac:grpSpMkLst>
            <pc:docMk/>
            <pc:sldMk cId="3632895860" sldId="2147479539"/>
            <ac:grpSpMk id="36" creationId="{ED3128CD-28F2-F638-7DCD-EC3E577DD75C}"/>
          </ac:grpSpMkLst>
        </pc:grpChg>
        <pc:grpChg chg="mod">
          <ac:chgData name="Afzal, Tanzeel" userId="4c1bee66-eab8-4968-ab2a-d2fc86f622d3" providerId="ADAL" clId="{379C0618-42FE-451D-8FAA-3258774ED7D0}" dt="2023-12-11T10:18:36.626" v="143"/>
          <ac:grpSpMkLst>
            <pc:docMk/>
            <pc:sldMk cId="3632895860" sldId="2147479539"/>
            <ac:grpSpMk id="37" creationId="{BBC4C4FA-EED0-5662-83A3-1BA1C384A360}"/>
          </ac:grpSpMkLst>
        </pc:grpChg>
        <pc:grpChg chg="mod">
          <ac:chgData name="Afzal, Tanzeel" userId="4c1bee66-eab8-4968-ab2a-d2fc86f622d3" providerId="ADAL" clId="{379C0618-42FE-451D-8FAA-3258774ED7D0}" dt="2023-12-11T10:18:36.626" v="143"/>
          <ac:grpSpMkLst>
            <pc:docMk/>
            <pc:sldMk cId="3632895860" sldId="2147479539"/>
            <ac:grpSpMk id="39" creationId="{E9A602AD-C72A-8EAF-E868-03AE8EE8F1BA}"/>
          </ac:grpSpMkLst>
        </pc:grpChg>
        <pc:grpChg chg="mod">
          <ac:chgData name="Afzal, Tanzeel" userId="4c1bee66-eab8-4968-ab2a-d2fc86f622d3" providerId="ADAL" clId="{379C0618-42FE-451D-8FAA-3258774ED7D0}" dt="2023-12-11T10:18:36.626" v="143"/>
          <ac:grpSpMkLst>
            <pc:docMk/>
            <pc:sldMk cId="3632895860" sldId="2147479539"/>
            <ac:grpSpMk id="43" creationId="{EDB69614-50F1-BC1A-4DA8-EF6EB5611AA1}"/>
          </ac:grpSpMkLst>
        </pc:grpChg>
        <pc:grpChg chg="del">
          <ac:chgData name="Afzal, Tanzeel" userId="4c1bee66-eab8-4968-ab2a-d2fc86f622d3" providerId="ADAL" clId="{379C0618-42FE-451D-8FAA-3258774ED7D0}" dt="2023-12-11T10:18:27.215" v="141" actId="478"/>
          <ac:grpSpMkLst>
            <pc:docMk/>
            <pc:sldMk cId="3632895860" sldId="2147479539"/>
            <ac:grpSpMk id="453" creationId="{6B4265F9-8ED3-74E5-9EE3-326EA163C045}"/>
          </ac:grpSpMkLst>
        </pc:grpChg>
        <pc:grpChg chg="del">
          <ac:chgData name="Afzal, Tanzeel" userId="4c1bee66-eab8-4968-ab2a-d2fc86f622d3" providerId="ADAL" clId="{379C0618-42FE-451D-8FAA-3258774ED7D0}" dt="2023-12-11T10:18:27.215" v="141" actId="478"/>
          <ac:grpSpMkLst>
            <pc:docMk/>
            <pc:sldMk cId="3632895860" sldId="2147479539"/>
            <ac:grpSpMk id="459" creationId="{F47F7026-ADCC-177F-0A30-0FD7E1FE40B5}"/>
          </ac:grpSpMkLst>
        </pc:grpChg>
        <pc:grpChg chg="del">
          <ac:chgData name="Afzal, Tanzeel" userId="4c1bee66-eab8-4968-ab2a-d2fc86f622d3" providerId="ADAL" clId="{379C0618-42FE-451D-8FAA-3258774ED7D0}" dt="2023-12-11T10:18:27.215" v="141" actId="478"/>
          <ac:grpSpMkLst>
            <pc:docMk/>
            <pc:sldMk cId="3632895860" sldId="2147479539"/>
            <ac:grpSpMk id="465" creationId="{9E3F6B06-946E-BF57-B6B5-80EF6084AF1B}"/>
          </ac:grpSpMkLst>
        </pc:grpChg>
        <pc:grpChg chg="del">
          <ac:chgData name="Afzal, Tanzeel" userId="4c1bee66-eab8-4968-ab2a-d2fc86f622d3" providerId="ADAL" clId="{379C0618-42FE-451D-8FAA-3258774ED7D0}" dt="2023-12-11T10:18:27.215" v="141" actId="478"/>
          <ac:grpSpMkLst>
            <pc:docMk/>
            <pc:sldMk cId="3632895860" sldId="2147479539"/>
            <ac:grpSpMk id="472" creationId="{0743A6F6-CC71-7FFE-1BB4-45EBE734B15E}"/>
          </ac:grpSpMkLst>
        </pc:grpChg>
        <pc:grpChg chg="del">
          <ac:chgData name="Afzal, Tanzeel" userId="4c1bee66-eab8-4968-ab2a-d2fc86f622d3" providerId="ADAL" clId="{379C0618-42FE-451D-8FAA-3258774ED7D0}" dt="2023-12-11T10:18:27.215" v="141" actId="478"/>
          <ac:grpSpMkLst>
            <pc:docMk/>
            <pc:sldMk cId="3632895860" sldId="2147479539"/>
            <ac:grpSpMk id="476" creationId="{E3023C42-6BF6-BB52-F642-49B192FDA090}"/>
          </ac:grpSpMkLst>
        </pc:grpChg>
        <pc:grpChg chg="del">
          <ac:chgData name="Afzal, Tanzeel" userId="4c1bee66-eab8-4968-ab2a-d2fc86f622d3" providerId="ADAL" clId="{379C0618-42FE-451D-8FAA-3258774ED7D0}" dt="2023-12-11T10:18:27.215" v="141" actId="478"/>
          <ac:grpSpMkLst>
            <pc:docMk/>
            <pc:sldMk cId="3632895860" sldId="2147479539"/>
            <ac:grpSpMk id="489" creationId="{38CD3756-76C5-3F06-B82C-A217398E2C11}"/>
          </ac:grpSpMkLst>
        </pc:grpChg>
        <pc:grpChg chg="del">
          <ac:chgData name="Afzal, Tanzeel" userId="4c1bee66-eab8-4968-ab2a-d2fc86f622d3" providerId="ADAL" clId="{379C0618-42FE-451D-8FAA-3258774ED7D0}" dt="2023-12-11T10:18:27.215" v="141" actId="478"/>
          <ac:grpSpMkLst>
            <pc:docMk/>
            <pc:sldMk cId="3632895860" sldId="2147479539"/>
            <ac:grpSpMk id="499" creationId="{8D96A0A3-1595-D494-5AF4-720B454F1C31}"/>
          </ac:grpSpMkLst>
        </pc:grpChg>
        <pc:grpChg chg="del">
          <ac:chgData name="Afzal, Tanzeel" userId="4c1bee66-eab8-4968-ab2a-d2fc86f622d3" providerId="ADAL" clId="{379C0618-42FE-451D-8FAA-3258774ED7D0}" dt="2023-12-11T10:18:27.215" v="141" actId="478"/>
          <ac:grpSpMkLst>
            <pc:docMk/>
            <pc:sldMk cId="3632895860" sldId="2147479539"/>
            <ac:grpSpMk id="510" creationId="{3BFDE8A1-AB09-2C01-40B3-3DC12815F57C}"/>
          </ac:grpSpMkLst>
        </pc:grpChg>
        <pc:graphicFrameChg chg="mod">
          <ac:chgData name="Afzal, Tanzeel" userId="4c1bee66-eab8-4968-ab2a-d2fc86f622d3" providerId="ADAL" clId="{379C0618-42FE-451D-8FAA-3258774ED7D0}" dt="2023-12-11T10:18:36.626" v="143"/>
          <ac:graphicFrameMkLst>
            <pc:docMk/>
            <pc:sldMk cId="3632895860" sldId="2147479539"/>
            <ac:graphicFrameMk id="20" creationId="{9BDC832C-7533-91CE-8024-3C615268E15C}"/>
          </ac:graphicFrameMkLst>
        </pc:graphicFrameChg>
        <pc:picChg chg="mod">
          <ac:chgData name="Afzal, Tanzeel" userId="4c1bee66-eab8-4968-ab2a-d2fc86f622d3" providerId="ADAL" clId="{379C0618-42FE-451D-8FAA-3258774ED7D0}" dt="2023-12-11T10:18:36.626" v="143"/>
          <ac:picMkLst>
            <pc:docMk/>
            <pc:sldMk cId="3632895860" sldId="2147479539"/>
            <ac:picMk id="4" creationId="{8527B87A-90EB-CEC2-59A0-D29B18A5B4DC}"/>
          </ac:picMkLst>
        </pc:picChg>
        <pc:picChg chg="mod">
          <ac:chgData name="Afzal, Tanzeel" userId="4c1bee66-eab8-4968-ab2a-d2fc86f622d3" providerId="ADAL" clId="{379C0618-42FE-451D-8FAA-3258774ED7D0}" dt="2023-12-11T10:18:36.626" v="143"/>
          <ac:picMkLst>
            <pc:docMk/>
            <pc:sldMk cId="3632895860" sldId="2147479539"/>
            <ac:picMk id="5" creationId="{22C2FB9B-33C1-D4A1-02DF-00FBAD50676A}"/>
          </ac:picMkLst>
        </pc:picChg>
        <pc:picChg chg="mod">
          <ac:chgData name="Afzal, Tanzeel" userId="4c1bee66-eab8-4968-ab2a-d2fc86f622d3" providerId="ADAL" clId="{379C0618-42FE-451D-8FAA-3258774ED7D0}" dt="2023-12-11T10:18:36.626" v="143"/>
          <ac:picMkLst>
            <pc:docMk/>
            <pc:sldMk cId="3632895860" sldId="2147479539"/>
            <ac:picMk id="6" creationId="{F290A565-0113-1B43-14AA-0D8570E0EB8C}"/>
          </ac:picMkLst>
        </pc:picChg>
        <pc:picChg chg="mod">
          <ac:chgData name="Afzal, Tanzeel" userId="4c1bee66-eab8-4968-ab2a-d2fc86f622d3" providerId="ADAL" clId="{379C0618-42FE-451D-8FAA-3258774ED7D0}" dt="2023-12-11T10:18:36.626" v="143"/>
          <ac:picMkLst>
            <pc:docMk/>
            <pc:sldMk cId="3632895860" sldId="2147479539"/>
            <ac:picMk id="7" creationId="{EBC83410-67D2-3E61-792C-E82B193D5649}"/>
          </ac:picMkLst>
        </pc:picChg>
        <pc:picChg chg="mod">
          <ac:chgData name="Afzal, Tanzeel" userId="4c1bee66-eab8-4968-ab2a-d2fc86f622d3" providerId="ADAL" clId="{379C0618-42FE-451D-8FAA-3258774ED7D0}" dt="2023-12-11T10:18:36.626" v="143"/>
          <ac:picMkLst>
            <pc:docMk/>
            <pc:sldMk cId="3632895860" sldId="2147479539"/>
            <ac:picMk id="8" creationId="{6FAFA04E-6D50-E1CF-A4DE-F5364B71F368}"/>
          </ac:picMkLst>
        </pc:picChg>
        <pc:picChg chg="mod">
          <ac:chgData name="Afzal, Tanzeel" userId="4c1bee66-eab8-4968-ab2a-d2fc86f622d3" providerId="ADAL" clId="{379C0618-42FE-451D-8FAA-3258774ED7D0}" dt="2023-12-11T10:18:36.626" v="143"/>
          <ac:picMkLst>
            <pc:docMk/>
            <pc:sldMk cId="3632895860" sldId="2147479539"/>
            <ac:picMk id="9" creationId="{D94D9A12-B315-E869-1EB1-BC3D1DA6A494}"/>
          </ac:picMkLst>
        </pc:picChg>
        <pc:picChg chg="mod">
          <ac:chgData name="Afzal, Tanzeel" userId="4c1bee66-eab8-4968-ab2a-d2fc86f622d3" providerId="ADAL" clId="{379C0618-42FE-451D-8FAA-3258774ED7D0}" dt="2023-12-11T10:18:36.626" v="143"/>
          <ac:picMkLst>
            <pc:docMk/>
            <pc:sldMk cId="3632895860" sldId="2147479539"/>
            <ac:picMk id="10" creationId="{63CB9CE0-CBA8-53B4-AB7C-5C6D50CBCC09}"/>
          </ac:picMkLst>
        </pc:picChg>
        <pc:picChg chg="mod">
          <ac:chgData name="Afzal, Tanzeel" userId="4c1bee66-eab8-4968-ab2a-d2fc86f622d3" providerId="ADAL" clId="{379C0618-42FE-451D-8FAA-3258774ED7D0}" dt="2023-12-11T10:18:36.626" v="143"/>
          <ac:picMkLst>
            <pc:docMk/>
            <pc:sldMk cId="3632895860" sldId="2147479539"/>
            <ac:picMk id="11" creationId="{C3A47CFC-A119-8975-66DA-FC8BDEFCA9B3}"/>
          </ac:picMkLst>
        </pc:picChg>
        <pc:picChg chg="mod">
          <ac:chgData name="Afzal, Tanzeel" userId="4c1bee66-eab8-4968-ab2a-d2fc86f622d3" providerId="ADAL" clId="{379C0618-42FE-451D-8FAA-3258774ED7D0}" dt="2023-12-11T10:18:36.626" v="143"/>
          <ac:picMkLst>
            <pc:docMk/>
            <pc:sldMk cId="3632895860" sldId="2147479539"/>
            <ac:picMk id="12" creationId="{5F227968-30AD-29FE-2BE4-601FFC4618E3}"/>
          </ac:picMkLst>
        </pc:picChg>
        <pc:picChg chg="mod">
          <ac:chgData name="Afzal, Tanzeel" userId="4c1bee66-eab8-4968-ab2a-d2fc86f622d3" providerId="ADAL" clId="{379C0618-42FE-451D-8FAA-3258774ED7D0}" dt="2023-12-11T10:18:36.626" v="143"/>
          <ac:picMkLst>
            <pc:docMk/>
            <pc:sldMk cId="3632895860" sldId="2147479539"/>
            <ac:picMk id="13" creationId="{AB5F9E10-F4A7-E6D1-94FB-6D2B1E932E90}"/>
          </ac:picMkLst>
        </pc:picChg>
        <pc:picChg chg="mod">
          <ac:chgData name="Afzal, Tanzeel" userId="4c1bee66-eab8-4968-ab2a-d2fc86f622d3" providerId="ADAL" clId="{379C0618-42FE-451D-8FAA-3258774ED7D0}" dt="2023-12-11T10:18:36.626" v="143"/>
          <ac:picMkLst>
            <pc:docMk/>
            <pc:sldMk cId="3632895860" sldId="2147479539"/>
            <ac:picMk id="14" creationId="{CA9132AB-8526-2F5D-2E21-FD9D7CC155C4}"/>
          </ac:picMkLst>
        </pc:picChg>
        <pc:picChg chg="mod">
          <ac:chgData name="Afzal, Tanzeel" userId="4c1bee66-eab8-4968-ab2a-d2fc86f622d3" providerId="ADAL" clId="{379C0618-42FE-451D-8FAA-3258774ED7D0}" dt="2023-12-11T10:18:36.626" v="143"/>
          <ac:picMkLst>
            <pc:docMk/>
            <pc:sldMk cId="3632895860" sldId="2147479539"/>
            <ac:picMk id="15" creationId="{D40CB397-D894-7902-4EE2-3A55B80A8078}"/>
          </ac:picMkLst>
        </pc:picChg>
        <pc:picChg chg="mod">
          <ac:chgData name="Afzal, Tanzeel" userId="4c1bee66-eab8-4968-ab2a-d2fc86f622d3" providerId="ADAL" clId="{379C0618-42FE-451D-8FAA-3258774ED7D0}" dt="2023-12-11T10:18:36.626" v="143"/>
          <ac:picMkLst>
            <pc:docMk/>
            <pc:sldMk cId="3632895860" sldId="2147479539"/>
            <ac:picMk id="16" creationId="{7669835D-62EA-739A-3A3A-9060FB333169}"/>
          </ac:picMkLst>
        </pc:picChg>
        <pc:picChg chg="mod">
          <ac:chgData name="Afzal, Tanzeel" userId="4c1bee66-eab8-4968-ab2a-d2fc86f622d3" providerId="ADAL" clId="{379C0618-42FE-451D-8FAA-3258774ED7D0}" dt="2023-12-11T10:18:36.626" v="143"/>
          <ac:picMkLst>
            <pc:docMk/>
            <pc:sldMk cId="3632895860" sldId="2147479539"/>
            <ac:picMk id="17" creationId="{DBA5B1B8-2824-F5F8-4AD7-0066E7BA33F7}"/>
          </ac:picMkLst>
        </pc:picChg>
        <pc:picChg chg="mod">
          <ac:chgData name="Afzal, Tanzeel" userId="4c1bee66-eab8-4968-ab2a-d2fc86f622d3" providerId="ADAL" clId="{379C0618-42FE-451D-8FAA-3258774ED7D0}" dt="2023-12-11T10:18:36.626" v="143"/>
          <ac:picMkLst>
            <pc:docMk/>
            <pc:sldMk cId="3632895860" sldId="2147479539"/>
            <ac:picMk id="18" creationId="{900B1175-CAB4-4B7C-D38F-DE4E9B43314C}"/>
          </ac:picMkLst>
        </pc:picChg>
        <pc:picChg chg="mod">
          <ac:chgData name="Afzal, Tanzeel" userId="4c1bee66-eab8-4968-ab2a-d2fc86f622d3" providerId="ADAL" clId="{379C0618-42FE-451D-8FAA-3258774ED7D0}" dt="2023-12-11T10:18:36.626" v="143"/>
          <ac:picMkLst>
            <pc:docMk/>
            <pc:sldMk cId="3632895860" sldId="2147479539"/>
            <ac:picMk id="19" creationId="{8A505E5C-3AD1-85E0-F469-BC1335B7A268}"/>
          </ac:picMkLst>
        </pc:picChg>
        <pc:picChg chg="mod">
          <ac:chgData name="Afzal, Tanzeel" userId="4c1bee66-eab8-4968-ab2a-d2fc86f622d3" providerId="ADAL" clId="{379C0618-42FE-451D-8FAA-3258774ED7D0}" dt="2023-12-11T10:18:36.626" v="143"/>
          <ac:picMkLst>
            <pc:docMk/>
            <pc:sldMk cId="3632895860" sldId="2147479539"/>
            <ac:picMk id="21" creationId="{E2278F9E-C52B-7513-B2D9-32EDD6140061}"/>
          </ac:picMkLst>
        </pc:picChg>
        <pc:picChg chg="mod">
          <ac:chgData name="Afzal, Tanzeel" userId="4c1bee66-eab8-4968-ab2a-d2fc86f622d3" providerId="ADAL" clId="{379C0618-42FE-451D-8FAA-3258774ED7D0}" dt="2023-12-11T10:18:36.626" v="143"/>
          <ac:picMkLst>
            <pc:docMk/>
            <pc:sldMk cId="3632895860" sldId="2147479539"/>
            <ac:picMk id="22" creationId="{5C823503-2244-23B9-FC96-C5A0991F95DB}"/>
          </ac:picMkLst>
        </pc:picChg>
        <pc:picChg chg="mod">
          <ac:chgData name="Afzal, Tanzeel" userId="4c1bee66-eab8-4968-ab2a-d2fc86f622d3" providerId="ADAL" clId="{379C0618-42FE-451D-8FAA-3258774ED7D0}" dt="2023-12-11T10:18:36.626" v="143"/>
          <ac:picMkLst>
            <pc:docMk/>
            <pc:sldMk cId="3632895860" sldId="2147479539"/>
            <ac:picMk id="23" creationId="{9D9AB56A-7B11-C799-9E14-91623A6606D4}"/>
          </ac:picMkLst>
        </pc:picChg>
        <pc:picChg chg="mod">
          <ac:chgData name="Afzal, Tanzeel" userId="4c1bee66-eab8-4968-ab2a-d2fc86f622d3" providerId="ADAL" clId="{379C0618-42FE-451D-8FAA-3258774ED7D0}" dt="2023-12-11T10:18:36.626" v="143"/>
          <ac:picMkLst>
            <pc:docMk/>
            <pc:sldMk cId="3632895860" sldId="2147479539"/>
            <ac:picMk id="24" creationId="{783F5734-9094-9597-C55D-B05AD6CD5464}"/>
          </ac:picMkLst>
        </pc:picChg>
        <pc:picChg chg="mod">
          <ac:chgData name="Afzal, Tanzeel" userId="4c1bee66-eab8-4968-ab2a-d2fc86f622d3" providerId="ADAL" clId="{379C0618-42FE-451D-8FAA-3258774ED7D0}" dt="2023-12-11T10:18:36.626" v="143"/>
          <ac:picMkLst>
            <pc:docMk/>
            <pc:sldMk cId="3632895860" sldId="2147479539"/>
            <ac:picMk id="25" creationId="{61CC7D38-5806-69AF-2850-16E8176BFC35}"/>
          </ac:picMkLst>
        </pc:picChg>
        <pc:picChg chg="mod">
          <ac:chgData name="Afzal, Tanzeel" userId="4c1bee66-eab8-4968-ab2a-d2fc86f622d3" providerId="ADAL" clId="{379C0618-42FE-451D-8FAA-3258774ED7D0}" dt="2023-12-11T10:18:36.626" v="143"/>
          <ac:picMkLst>
            <pc:docMk/>
            <pc:sldMk cId="3632895860" sldId="2147479539"/>
            <ac:picMk id="26" creationId="{EAE04DEC-13B1-C148-E88A-17C8524EDB14}"/>
          </ac:picMkLst>
        </pc:picChg>
        <pc:picChg chg="mod">
          <ac:chgData name="Afzal, Tanzeel" userId="4c1bee66-eab8-4968-ab2a-d2fc86f622d3" providerId="ADAL" clId="{379C0618-42FE-451D-8FAA-3258774ED7D0}" dt="2023-12-11T10:18:36.626" v="143"/>
          <ac:picMkLst>
            <pc:docMk/>
            <pc:sldMk cId="3632895860" sldId="2147479539"/>
            <ac:picMk id="27" creationId="{044D8662-D643-7D4C-44D9-067AF31F90D2}"/>
          </ac:picMkLst>
        </pc:picChg>
        <pc:picChg chg="mod">
          <ac:chgData name="Afzal, Tanzeel" userId="4c1bee66-eab8-4968-ab2a-d2fc86f622d3" providerId="ADAL" clId="{379C0618-42FE-451D-8FAA-3258774ED7D0}" dt="2023-12-11T10:18:36.626" v="143"/>
          <ac:picMkLst>
            <pc:docMk/>
            <pc:sldMk cId="3632895860" sldId="2147479539"/>
            <ac:picMk id="28" creationId="{3B4D3BCE-F935-ED99-3EB1-705BC47090B3}"/>
          </ac:picMkLst>
        </pc:picChg>
        <pc:picChg chg="mod">
          <ac:chgData name="Afzal, Tanzeel" userId="4c1bee66-eab8-4968-ab2a-d2fc86f622d3" providerId="ADAL" clId="{379C0618-42FE-451D-8FAA-3258774ED7D0}" dt="2023-12-11T10:18:36.626" v="143"/>
          <ac:picMkLst>
            <pc:docMk/>
            <pc:sldMk cId="3632895860" sldId="2147479539"/>
            <ac:picMk id="29" creationId="{A4226E6D-B37E-F1CD-587B-A34FD88E47DF}"/>
          </ac:picMkLst>
        </pc:picChg>
        <pc:picChg chg="mod">
          <ac:chgData name="Afzal, Tanzeel" userId="4c1bee66-eab8-4968-ab2a-d2fc86f622d3" providerId="ADAL" clId="{379C0618-42FE-451D-8FAA-3258774ED7D0}" dt="2023-12-11T10:18:36.626" v="143"/>
          <ac:picMkLst>
            <pc:docMk/>
            <pc:sldMk cId="3632895860" sldId="2147479539"/>
            <ac:picMk id="30" creationId="{D41CEBA8-E5E7-F02A-68BC-2968272AFDDF}"/>
          </ac:picMkLst>
        </pc:picChg>
        <pc:picChg chg="mod">
          <ac:chgData name="Afzal, Tanzeel" userId="4c1bee66-eab8-4968-ab2a-d2fc86f622d3" providerId="ADAL" clId="{379C0618-42FE-451D-8FAA-3258774ED7D0}" dt="2023-12-11T10:18:36.626" v="143"/>
          <ac:picMkLst>
            <pc:docMk/>
            <pc:sldMk cId="3632895860" sldId="2147479539"/>
            <ac:picMk id="31" creationId="{DF61087A-D52D-4B9F-C8CC-7B36FEC2F830}"/>
          </ac:picMkLst>
        </pc:picChg>
        <pc:picChg chg="mod">
          <ac:chgData name="Afzal, Tanzeel" userId="4c1bee66-eab8-4968-ab2a-d2fc86f622d3" providerId="ADAL" clId="{379C0618-42FE-451D-8FAA-3258774ED7D0}" dt="2023-12-11T10:18:36.626" v="143"/>
          <ac:picMkLst>
            <pc:docMk/>
            <pc:sldMk cId="3632895860" sldId="2147479539"/>
            <ac:picMk id="32" creationId="{B6E9C001-EAB7-6622-4F2A-B37EBB2AAA3D}"/>
          </ac:picMkLst>
        </pc:picChg>
        <pc:picChg chg="mod">
          <ac:chgData name="Afzal, Tanzeel" userId="4c1bee66-eab8-4968-ab2a-d2fc86f622d3" providerId="ADAL" clId="{379C0618-42FE-451D-8FAA-3258774ED7D0}" dt="2023-12-11T10:18:36.626" v="143"/>
          <ac:picMkLst>
            <pc:docMk/>
            <pc:sldMk cId="3632895860" sldId="2147479539"/>
            <ac:picMk id="33" creationId="{F5143F43-9728-BBDD-4315-F426B8B3F67E}"/>
          </ac:picMkLst>
        </pc:picChg>
        <pc:picChg chg="mod">
          <ac:chgData name="Afzal, Tanzeel" userId="4c1bee66-eab8-4968-ab2a-d2fc86f622d3" providerId="ADAL" clId="{379C0618-42FE-451D-8FAA-3258774ED7D0}" dt="2023-12-11T10:18:36.626" v="143"/>
          <ac:picMkLst>
            <pc:docMk/>
            <pc:sldMk cId="3632895860" sldId="2147479539"/>
            <ac:picMk id="34" creationId="{BA2C4330-6932-702C-8866-7F26FE969B2B}"/>
          </ac:picMkLst>
        </pc:picChg>
        <pc:picChg chg="mod">
          <ac:chgData name="Afzal, Tanzeel" userId="4c1bee66-eab8-4968-ab2a-d2fc86f622d3" providerId="ADAL" clId="{379C0618-42FE-451D-8FAA-3258774ED7D0}" dt="2023-12-11T10:18:36.626" v="143"/>
          <ac:picMkLst>
            <pc:docMk/>
            <pc:sldMk cId="3632895860" sldId="2147479539"/>
            <ac:picMk id="35" creationId="{EFFA75D8-9531-0002-B23A-4B769C5358E2}"/>
          </ac:picMkLst>
        </pc:picChg>
        <pc:picChg chg="mod">
          <ac:chgData name="Afzal, Tanzeel" userId="4c1bee66-eab8-4968-ab2a-d2fc86f622d3" providerId="ADAL" clId="{379C0618-42FE-451D-8FAA-3258774ED7D0}" dt="2023-12-11T10:18:36.626" v="143"/>
          <ac:picMkLst>
            <pc:docMk/>
            <pc:sldMk cId="3632895860" sldId="2147479539"/>
            <ac:picMk id="45" creationId="{A4740D72-CD1C-7276-2B38-BDF91D06DB9E}"/>
          </ac:picMkLst>
        </pc:picChg>
        <pc:picChg chg="del">
          <ac:chgData name="Afzal, Tanzeel" userId="4c1bee66-eab8-4968-ab2a-d2fc86f622d3" providerId="ADAL" clId="{379C0618-42FE-451D-8FAA-3258774ED7D0}" dt="2023-12-11T10:18:27.215" v="141" actId="478"/>
          <ac:picMkLst>
            <pc:docMk/>
            <pc:sldMk cId="3632895860" sldId="2147479539"/>
            <ac:picMk id="495" creationId="{5B74E937-F3E0-9C9E-D705-54D25A1F6A6E}"/>
          </ac:picMkLst>
        </pc:picChg>
        <pc:picChg chg="del">
          <ac:chgData name="Afzal, Tanzeel" userId="4c1bee66-eab8-4968-ab2a-d2fc86f622d3" providerId="ADAL" clId="{379C0618-42FE-451D-8FAA-3258774ED7D0}" dt="2023-12-11T10:18:27.215" v="141" actId="478"/>
          <ac:picMkLst>
            <pc:docMk/>
            <pc:sldMk cId="3632895860" sldId="2147479539"/>
            <ac:picMk id="496" creationId="{FF0CCFD1-224B-825D-9893-54C4ADABA5E5}"/>
          </ac:picMkLst>
        </pc:picChg>
        <pc:picChg chg="del">
          <ac:chgData name="Afzal, Tanzeel" userId="4c1bee66-eab8-4968-ab2a-d2fc86f622d3" providerId="ADAL" clId="{379C0618-42FE-451D-8FAA-3258774ED7D0}" dt="2023-12-11T10:18:27.215" v="141" actId="478"/>
          <ac:picMkLst>
            <pc:docMk/>
            <pc:sldMk cId="3632895860" sldId="2147479539"/>
            <ac:picMk id="497" creationId="{4EBD482B-9BCE-1EFE-7E7A-BAC5FEC1D696}"/>
          </ac:picMkLst>
        </pc:picChg>
        <pc:picChg chg="del">
          <ac:chgData name="Afzal, Tanzeel" userId="4c1bee66-eab8-4968-ab2a-d2fc86f622d3" providerId="ADAL" clId="{379C0618-42FE-451D-8FAA-3258774ED7D0}" dt="2023-12-11T10:18:27.215" v="141" actId="478"/>
          <ac:picMkLst>
            <pc:docMk/>
            <pc:sldMk cId="3632895860" sldId="2147479539"/>
            <ac:picMk id="498" creationId="{FD78A82F-B722-29E5-AF54-5D3324986147}"/>
          </ac:picMkLst>
        </pc:picChg>
        <pc:cxnChg chg="del mod">
          <ac:chgData name="Afzal, Tanzeel" userId="4c1bee66-eab8-4968-ab2a-d2fc86f622d3" providerId="ADAL" clId="{379C0618-42FE-451D-8FAA-3258774ED7D0}" dt="2023-12-11T10:18:27.215" v="141" actId="478"/>
          <ac:cxnSpMkLst>
            <pc:docMk/>
            <pc:sldMk cId="3632895860" sldId="2147479539"/>
            <ac:cxnSpMk id="448" creationId="{8E4229A2-1BDF-583F-2514-601C4632F50C}"/>
          </ac:cxnSpMkLst>
        </pc:cxnChg>
        <pc:cxnChg chg="del mod">
          <ac:chgData name="Afzal, Tanzeel" userId="4c1bee66-eab8-4968-ab2a-d2fc86f622d3" providerId="ADAL" clId="{379C0618-42FE-451D-8FAA-3258774ED7D0}" dt="2023-12-11T10:18:27.215" v="141" actId="478"/>
          <ac:cxnSpMkLst>
            <pc:docMk/>
            <pc:sldMk cId="3632895860" sldId="2147479539"/>
            <ac:cxnSpMk id="449" creationId="{D91AAA29-05BB-8C1C-4DA3-7A0A70C5499B}"/>
          </ac:cxnSpMkLst>
        </pc:cxnChg>
        <pc:cxnChg chg="del mod">
          <ac:chgData name="Afzal, Tanzeel" userId="4c1bee66-eab8-4968-ab2a-d2fc86f622d3" providerId="ADAL" clId="{379C0618-42FE-451D-8FAA-3258774ED7D0}" dt="2023-12-11T10:18:27.215" v="141" actId="478"/>
          <ac:cxnSpMkLst>
            <pc:docMk/>
            <pc:sldMk cId="3632895860" sldId="2147479539"/>
            <ac:cxnSpMk id="450" creationId="{ED96578A-0408-1454-EEFC-4E2C026846FF}"/>
          </ac:cxnSpMkLst>
        </pc:cxnChg>
        <pc:cxnChg chg="del">
          <ac:chgData name="Afzal, Tanzeel" userId="4c1bee66-eab8-4968-ab2a-d2fc86f622d3" providerId="ADAL" clId="{379C0618-42FE-451D-8FAA-3258774ED7D0}" dt="2023-12-11T10:18:27.215" v="141" actId="478"/>
          <ac:cxnSpMkLst>
            <pc:docMk/>
            <pc:sldMk cId="3632895860" sldId="2147479539"/>
            <ac:cxnSpMk id="451" creationId="{26786728-39D4-5D6A-9092-B2F236D46E73}"/>
          </ac:cxnSpMkLst>
        </pc:cxnChg>
        <pc:cxnChg chg="del mod">
          <ac:chgData name="Afzal, Tanzeel" userId="4c1bee66-eab8-4968-ab2a-d2fc86f622d3" providerId="ADAL" clId="{379C0618-42FE-451D-8FAA-3258774ED7D0}" dt="2023-12-11T10:18:27.215" v="141" actId="478"/>
          <ac:cxnSpMkLst>
            <pc:docMk/>
            <pc:sldMk cId="3632895860" sldId="2147479539"/>
            <ac:cxnSpMk id="508" creationId="{73C47CBE-17F7-667B-9D6E-694A870B56CA}"/>
          </ac:cxnSpMkLst>
        </pc:cxnChg>
        <pc:cxnChg chg="del">
          <ac:chgData name="Afzal, Tanzeel" userId="4c1bee66-eab8-4968-ab2a-d2fc86f622d3" providerId="ADAL" clId="{379C0618-42FE-451D-8FAA-3258774ED7D0}" dt="2023-12-11T10:18:27.215" v="141" actId="478"/>
          <ac:cxnSpMkLst>
            <pc:docMk/>
            <pc:sldMk cId="3632895860" sldId="2147479539"/>
            <ac:cxnSpMk id="509" creationId="{4F84B23C-9EE7-F629-8CDC-12EA76AC9D18}"/>
          </ac:cxnSpMkLst>
        </pc:cxnChg>
      </pc:sldChg>
      <pc:sldChg chg="addSp delSp modSp add mod delCm modCm">
        <pc:chgData name="Afzal, Tanzeel" userId="4c1bee66-eab8-4968-ab2a-d2fc86f622d3" providerId="ADAL" clId="{379C0618-42FE-451D-8FAA-3258774ED7D0}" dt="2023-12-11T16:38:14.727" v="1354" actId="6549"/>
        <pc:sldMkLst>
          <pc:docMk/>
          <pc:sldMk cId="132118669" sldId="2147479540"/>
        </pc:sldMkLst>
        <pc:spChg chg="add del mod">
          <ac:chgData name="Afzal, Tanzeel" userId="4c1bee66-eab8-4968-ab2a-d2fc86f622d3" providerId="ADAL" clId="{379C0618-42FE-451D-8FAA-3258774ED7D0}" dt="2023-12-11T10:40:25.963" v="225"/>
          <ac:spMkLst>
            <pc:docMk/>
            <pc:sldMk cId="132118669" sldId="2147479540"/>
            <ac:spMk id="2" creationId="{BDCDA431-8C48-3B2D-E493-CAE47775C8C0}"/>
          </ac:spMkLst>
        </pc:spChg>
        <pc:spChg chg="mod">
          <ac:chgData name="Afzal, Tanzeel" userId="4c1bee66-eab8-4968-ab2a-d2fc86f622d3" providerId="ADAL" clId="{379C0618-42FE-451D-8FAA-3258774ED7D0}" dt="2023-12-11T10:40:24.137" v="224"/>
          <ac:spMkLst>
            <pc:docMk/>
            <pc:sldMk cId="132118669" sldId="2147479540"/>
            <ac:spMk id="4" creationId="{6C6947EF-F9B5-0D62-4B48-41D15C435143}"/>
          </ac:spMkLst>
        </pc:spChg>
        <pc:spChg chg="mod">
          <ac:chgData name="Afzal, Tanzeel" userId="4c1bee66-eab8-4968-ab2a-d2fc86f622d3" providerId="ADAL" clId="{379C0618-42FE-451D-8FAA-3258774ED7D0}" dt="2023-12-11T10:40:24.137" v="224"/>
          <ac:spMkLst>
            <pc:docMk/>
            <pc:sldMk cId="132118669" sldId="2147479540"/>
            <ac:spMk id="5" creationId="{474911EF-0589-347F-02B5-5D3A5672CA98}"/>
          </ac:spMkLst>
        </pc:spChg>
        <pc:spChg chg="mod">
          <ac:chgData name="Afzal, Tanzeel" userId="4c1bee66-eab8-4968-ab2a-d2fc86f622d3" providerId="ADAL" clId="{379C0618-42FE-451D-8FAA-3258774ED7D0}" dt="2023-12-11T10:40:24.137" v="224"/>
          <ac:spMkLst>
            <pc:docMk/>
            <pc:sldMk cId="132118669" sldId="2147479540"/>
            <ac:spMk id="6" creationId="{FEEC794B-FE59-1297-E292-150A0880FDDE}"/>
          </ac:spMkLst>
        </pc:spChg>
        <pc:spChg chg="mod">
          <ac:chgData name="Afzal, Tanzeel" userId="4c1bee66-eab8-4968-ab2a-d2fc86f622d3" providerId="ADAL" clId="{379C0618-42FE-451D-8FAA-3258774ED7D0}" dt="2023-12-11T10:40:24.137" v="224"/>
          <ac:spMkLst>
            <pc:docMk/>
            <pc:sldMk cId="132118669" sldId="2147479540"/>
            <ac:spMk id="7" creationId="{A861E899-7B38-A832-E8D2-F9A628FE1AA6}"/>
          </ac:spMkLst>
        </pc:spChg>
        <pc:spChg chg="mod">
          <ac:chgData name="Afzal, Tanzeel" userId="4c1bee66-eab8-4968-ab2a-d2fc86f622d3" providerId="ADAL" clId="{379C0618-42FE-451D-8FAA-3258774ED7D0}" dt="2023-12-11T10:40:24.137" v="224"/>
          <ac:spMkLst>
            <pc:docMk/>
            <pc:sldMk cId="132118669" sldId="2147479540"/>
            <ac:spMk id="8" creationId="{716816F7-1CAB-1F5E-01A8-95F41538F398}"/>
          </ac:spMkLst>
        </pc:spChg>
        <pc:spChg chg="mod">
          <ac:chgData name="Afzal, Tanzeel" userId="4c1bee66-eab8-4968-ab2a-d2fc86f622d3" providerId="ADAL" clId="{379C0618-42FE-451D-8FAA-3258774ED7D0}" dt="2023-12-11T10:40:24.137" v="224"/>
          <ac:spMkLst>
            <pc:docMk/>
            <pc:sldMk cId="132118669" sldId="2147479540"/>
            <ac:spMk id="9" creationId="{55AE4105-EBA9-52D0-84D9-77829FB176B7}"/>
          </ac:spMkLst>
        </pc:spChg>
        <pc:spChg chg="mod">
          <ac:chgData name="Afzal, Tanzeel" userId="4c1bee66-eab8-4968-ab2a-d2fc86f622d3" providerId="ADAL" clId="{379C0618-42FE-451D-8FAA-3258774ED7D0}" dt="2023-12-11T10:40:24.137" v="224"/>
          <ac:spMkLst>
            <pc:docMk/>
            <pc:sldMk cId="132118669" sldId="2147479540"/>
            <ac:spMk id="10" creationId="{3DAA9692-61E8-CBA2-A150-D34AA8875B9B}"/>
          </ac:spMkLst>
        </pc:spChg>
        <pc:spChg chg="mod">
          <ac:chgData name="Afzal, Tanzeel" userId="4c1bee66-eab8-4968-ab2a-d2fc86f622d3" providerId="ADAL" clId="{379C0618-42FE-451D-8FAA-3258774ED7D0}" dt="2023-12-11T10:40:24.137" v="224"/>
          <ac:spMkLst>
            <pc:docMk/>
            <pc:sldMk cId="132118669" sldId="2147479540"/>
            <ac:spMk id="11" creationId="{2ADB1098-240B-44B6-3308-91F0D98F14AB}"/>
          </ac:spMkLst>
        </pc:spChg>
        <pc:spChg chg="mod">
          <ac:chgData name="Afzal, Tanzeel" userId="4c1bee66-eab8-4968-ab2a-d2fc86f622d3" providerId="ADAL" clId="{379C0618-42FE-451D-8FAA-3258774ED7D0}" dt="2023-12-11T10:40:24.137" v="224"/>
          <ac:spMkLst>
            <pc:docMk/>
            <pc:sldMk cId="132118669" sldId="2147479540"/>
            <ac:spMk id="12" creationId="{07DE969C-69CD-5FB3-75C3-FC92561E8EEA}"/>
          </ac:spMkLst>
        </pc:spChg>
        <pc:spChg chg="mod">
          <ac:chgData name="Afzal, Tanzeel" userId="4c1bee66-eab8-4968-ab2a-d2fc86f622d3" providerId="ADAL" clId="{379C0618-42FE-451D-8FAA-3258774ED7D0}" dt="2023-12-11T10:40:24.137" v="224"/>
          <ac:spMkLst>
            <pc:docMk/>
            <pc:sldMk cId="132118669" sldId="2147479540"/>
            <ac:spMk id="13" creationId="{39D3B4DF-616C-2B61-F8F1-7CD43349B40B}"/>
          </ac:spMkLst>
        </pc:spChg>
        <pc:spChg chg="mod">
          <ac:chgData name="Afzal, Tanzeel" userId="4c1bee66-eab8-4968-ab2a-d2fc86f622d3" providerId="ADAL" clId="{379C0618-42FE-451D-8FAA-3258774ED7D0}" dt="2023-12-11T10:40:24.137" v="224"/>
          <ac:spMkLst>
            <pc:docMk/>
            <pc:sldMk cId="132118669" sldId="2147479540"/>
            <ac:spMk id="17" creationId="{7D28544B-DE3B-E6C8-2C1A-1B5936019CC6}"/>
          </ac:spMkLst>
        </pc:spChg>
        <pc:spChg chg="mod">
          <ac:chgData name="Afzal, Tanzeel" userId="4c1bee66-eab8-4968-ab2a-d2fc86f622d3" providerId="ADAL" clId="{379C0618-42FE-451D-8FAA-3258774ED7D0}" dt="2023-12-11T10:40:24.137" v="224"/>
          <ac:spMkLst>
            <pc:docMk/>
            <pc:sldMk cId="132118669" sldId="2147479540"/>
            <ac:spMk id="19" creationId="{1686DB84-1402-27DB-2F9E-042D6DF07975}"/>
          </ac:spMkLst>
        </pc:spChg>
        <pc:spChg chg="mod">
          <ac:chgData name="Afzal, Tanzeel" userId="4c1bee66-eab8-4968-ab2a-d2fc86f622d3" providerId="ADAL" clId="{379C0618-42FE-451D-8FAA-3258774ED7D0}" dt="2023-12-11T10:40:24.137" v="224"/>
          <ac:spMkLst>
            <pc:docMk/>
            <pc:sldMk cId="132118669" sldId="2147479540"/>
            <ac:spMk id="22" creationId="{60156C25-E7DF-D9FB-8D71-E1C38E564B77}"/>
          </ac:spMkLst>
        </pc:spChg>
        <pc:spChg chg="mod">
          <ac:chgData name="Afzal, Tanzeel" userId="4c1bee66-eab8-4968-ab2a-d2fc86f622d3" providerId="ADAL" clId="{379C0618-42FE-451D-8FAA-3258774ED7D0}" dt="2023-12-11T10:40:24.137" v="224"/>
          <ac:spMkLst>
            <pc:docMk/>
            <pc:sldMk cId="132118669" sldId="2147479540"/>
            <ac:spMk id="29" creationId="{A276D23B-2AAF-3C26-BD9C-F64DFBE5CEFA}"/>
          </ac:spMkLst>
        </pc:spChg>
        <pc:spChg chg="mod">
          <ac:chgData name="Afzal, Tanzeel" userId="4c1bee66-eab8-4968-ab2a-d2fc86f622d3" providerId="ADAL" clId="{379C0618-42FE-451D-8FAA-3258774ED7D0}" dt="2023-12-11T10:40:24.137" v="224"/>
          <ac:spMkLst>
            <pc:docMk/>
            <pc:sldMk cId="132118669" sldId="2147479540"/>
            <ac:spMk id="30" creationId="{36FE087F-085D-CC85-68B9-71DD5824E38E}"/>
          </ac:spMkLst>
        </pc:spChg>
        <pc:spChg chg="mod">
          <ac:chgData name="Afzal, Tanzeel" userId="4c1bee66-eab8-4968-ab2a-d2fc86f622d3" providerId="ADAL" clId="{379C0618-42FE-451D-8FAA-3258774ED7D0}" dt="2023-12-11T10:40:24.137" v="224"/>
          <ac:spMkLst>
            <pc:docMk/>
            <pc:sldMk cId="132118669" sldId="2147479540"/>
            <ac:spMk id="31" creationId="{1EB5A736-ED96-1E33-4657-79913796C25A}"/>
          </ac:spMkLst>
        </pc:spChg>
        <pc:spChg chg="mod">
          <ac:chgData name="Afzal, Tanzeel" userId="4c1bee66-eab8-4968-ab2a-d2fc86f622d3" providerId="ADAL" clId="{379C0618-42FE-451D-8FAA-3258774ED7D0}" dt="2023-12-11T10:40:24.137" v="224"/>
          <ac:spMkLst>
            <pc:docMk/>
            <pc:sldMk cId="132118669" sldId="2147479540"/>
            <ac:spMk id="32" creationId="{91385E54-1E00-A300-260C-DA2D0AA530FC}"/>
          </ac:spMkLst>
        </pc:spChg>
        <pc:spChg chg="mod">
          <ac:chgData name="Afzal, Tanzeel" userId="4c1bee66-eab8-4968-ab2a-d2fc86f622d3" providerId="ADAL" clId="{379C0618-42FE-451D-8FAA-3258774ED7D0}" dt="2023-12-11T10:40:24.137" v="224"/>
          <ac:spMkLst>
            <pc:docMk/>
            <pc:sldMk cId="132118669" sldId="2147479540"/>
            <ac:spMk id="33" creationId="{224ADE83-58E2-FDC4-DB37-19DA99B624D1}"/>
          </ac:spMkLst>
        </pc:spChg>
        <pc:spChg chg="mod">
          <ac:chgData name="Afzal, Tanzeel" userId="4c1bee66-eab8-4968-ab2a-d2fc86f622d3" providerId="ADAL" clId="{379C0618-42FE-451D-8FAA-3258774ED7D0}" dt="2023-12-11T10:40:24.137" v="224"/>
          <ac:spMkLst>
            <pc:docMk/>
            <pc:sldMk cId="132118669" sldId="2147479540"/>
            <ac:spMk id="34" creationId="{8E3F0112-D7FA-A5E8-96FF-29E2E91D93DD}"/>
          </ac:spMkLst>
        </pc:spChg>
        <pc:spChg chg="mod">
          <ac:chgData name="Afzal, Tanzeel" userId="4c1bee66-eab8-4968-ab2a-d2fc86f622d3" providerId="ADAL" clId="{379C0618-42FE-451D-8FAA-3258774ED7D0}" dt="2023-12-11T10:40:24.137" v="224"/>
          <ac:spMkLst>
            <pc:docMk/>
            <pc:sldMk cId="132118669" sldId="2147479540"/>
            <ac:spMk id="35" creationId="{74AFB746-D310-797C-FEA4-9D3DD05B6B9E}"/>
          </ac:spMkLst>
        </pc:spChg>
        <pc:spChg chg="mod">
          <ac:chgData name="Afzal, Tanzeel" userId="4c1bee66-eab8-4968-ab2a-d2fc86f622d3" providerId="ADAL" clId="{379C0618-42FE-451D-8FAA-3258774ED7D0}" dt="2023-12-11T10:40:24.137" v="224"/>
          <ac:spMkLst>
            <pc:docMk/>
            <pc:sldMk cId="132118669" sldId="2147479540"/>
            <ac:spMk id="36" creationId="{688D7115-41A3-A748-3636-029B518A1F41}"/>
          </ac:spMkLst>
        </pc:spChg>
        <pc:spChg chg="mod">
          <ac:chgData name="Afzal, Tanzeel" userId="4c1bee66-eab8-4968-ab2a-d2fc86f622d3" providerId="ADAL" clId="{379C0618-42FE-451D-8FAA-3258774ED7D0}" dt="2023-12-11T10:40:24.137" v="224"/>
          <ac:spMkLst>
            <pc:docMk/>
            <pc:sldMk cId="132118669" sldId="2147479540"/>
            <ac:spMk id="37" creationId="{658F109E-E47B-5ADB-DBDC-3908E452503C}"/>
          </ac:spMkLst>
        </pc:spChg>
        <pc:spChg chg="mod">
          <ac:chgData name="Afzal, Tanzeel" userId="4c1bee66-eab8-4968-ab2a-d2fc86f622d3" providerId="ADAL" clId="{379C0618-42FE-451D-8FAA-3258774ED7D0}" dt="2023-12-11T10:40:24.137" v="224"/>
          <ac:spMkLst>
            <pc:docMk/>
            <pc:sldMk cId="132118669" sldId="2147479540"/>
            <ac:spMk id="38" creationId="{366C8A7B-B33F-9645-70FF-93826D9924D8}"/>
          </ac:spMkLst>
        </pc:spChg>
        <pc:spChg chg="mod">
          <ac:chgData name="Afzal, Tanzeel" userId="4c1bee66-eab8-4968-ab2a-d2fc86f622d3" providerId="ADAL" clId="{379C0618-42FE-451D-8FAA-3258774ED7D0}" dt="2023-12-11T10:40:24.137" v="224"/>
          <ac:spMkLst>
            <pc:docMk/>
            <pc:sldMk cId="132118669" sldId="2147479540"/>
            <ac:spMk id="39" creationId="{217DD504-A5A8-8333-BDB9-D30787CD31C0}"/>
          </ac:spMkLst>
        </pc:spChg>
        <pc:spChg chg="mod">
          <ac:chgData name="Afzal, Tanzeel" userId="4c1bee66-eab8-4968-ab2a-d2fc86f622d3" providerId="ADAL" clId="{379C0618-42FE-451D-8FAA-3258774ED7D0}" dt="2023-12-11T10:40:24.137" v="224"/>
          <ac:spMkLst>
            <pc:docMk/>
            <pc:sldMk cId="132118669" sldId="2147479540"/>
            <ac:spMk id="40" creationId="{92C7DBC3-B7DF-B358-F710-E2A4557F0D86}"/>
          </ac:spMkLst>
        </pc:spChg>
        <pc:spChg chg="add mod">
          <ac:chgData name="Afzal, Tanzeel" userId="4c1bee66-eab8-4968-ab2a-d2fc86f622d3" providerId="ADAL" clId="{379C0618-42FE-451D-8FAA-3258774ED7D0}" dt="2023-12-11T10:40:29.405" v="227"/>
          <ac:spMkLst>
            <pc:docMk/>
            <pc:sldMk cId="132118669" sldId="2147479540"/>
            <ac:spMk id="41" creationId="{759A0B1E-9D78-FFAD-0251-6A24DFE2F99E}"/>
          </ac:spMkLst>
        </pc:spChg>
        <pc:spChg chg="mod">
          <ac:chgData name="Afzal, Tanzeel" userId="4c1bee66-eab8-4968-ab2a-d2fc86f622d3" providerId="ADAL" clId="{379C0618-42FE-451D-8FAA-3258774ED7D0}" dt="2023-12-11T10:40:29.405" v="227"/>
          <ac:spMkLst>
            <pc:docMk/>
            <pc:sldMk cId="132118669" sldId="2147479540"/>
            <ac:spMk id="43" creationId="{596B02FE-1E51-93FA-E1D8-F90065C115B7}"/>
          </ac:spMkLst>
        </pc:spChg>
        <pc:spChg chg="mod">
          <ac:chgData name="Afzal, Tanzeel" userId="4c1bee66-eab8-4968-ab2a-d2fc86f622d3" providerId="ADAL" clId="{379C0618-42FE-451D-8FAA-3258774ED7D0}" dt="2023-12-11T10:40:29.405" v="227"/>
          <ac:spMkLst>
            <pc:docMk/>
            <pc:sldMk cId="132118669" sldId="2147479540"/>
            <ac:spMk id="44" creationId="{2565B299-C8EE-96FF-1050-723B43374683}"/>
          </ac:spMkLst>
        </pc:spChg>
        <pc:spChg chg="mod">
          <ac:chgData name="Afzal, Tanzeel" userId="4c1bee66-eab8-4968-ab2a-d2fc86f622d3" providerId="ADAL" clId="{379C0618-42FE-451D-8FAA-3258774ED7D0}" dt="2023-12-11T10:40:29.405" v="227"/>
          <ac:spMkLst>
            <pc:docMk/>
            <pc:sldMk cId="132118669" sldId="2147479540"/>
            <ac:spMk id="45" creationId="{8E9A03A7-F807-4466-CA4B-4233DD347397}"/>
          </ac:spMkLst>
        </pc:spChg>
        <pc:spChg chg="mod">
          <ac:chgData name="Afzal, Tanzeel" userId="4c1bee66-eab8-4968-ab2a-d2fc86f622d3" providerId="ADAL" clId="{379C0618-42FE-451D-8FAA-3258774ED7D0}" dt="2023-12-11T16:38:14.727" v="1354" actId="6549"/>
          <ac:spMkLst>
            <pc:docMk/>
            <pc:sldMk cId="132118669" sldId="2147479540"/>
            <ac:spMk id="46" creationId="{8147483C-7E7D-37DB-4F5C-E32DD0A3A046}"/>
          </ac:spMkLst>
        </pc:spChg>
        <pc:spChg chg="mod">
          <ac:chgData name="Afzal, Tanzeel" userId="4c1bee66-eab8-4968-ab2a-d2fc86f622d3" providerId="ADAL" clId="{379C0618-42FE-451D-8FAA-3258774ED7D0}" dt="2023-12-11T10:40:29.405" v="227"/>
          <ac:spMkLst>
            <pc:docMk/>
            <pc:sldMk cId="132118669" sldId="2147479540"/>
            <ac:spMk id="47" creationId="{39DDD1AC-7BB1-6146-E1A5-075743794414}"/>
          </ac:spMkLst>
        </pc:spChg>
        <pc:spChg chg="mod">
          <ac:chgData name="Afzal, Tanzeel" userId="4c1bee66-eab8-4968-ab2a-d2fc86f622d3" providerId="ADAL" clId="{379C0618-42FE-451D-8FAA-3258774ED7D0}" dt="2023-12-11T10:40:29.405" v="227"/>
          <ac:spMkLst>
            <pc:docMk/>
            <pc:sldMk cId="132118669" sldId="2147479540"/>
            <ac:spMk id="48" creationId="{5B7462FD-D4CB-5191-4F21-647F037A2B52}"/>
          </ac:spMkLst>
        </pc:spChg>
        <pc:spChg chg="mod">
          <ac:chgData name="Afzal, Tanzeel" userId="4c1bee66-eab8-4968-ab2a-d2fc86f622d3" providerId="ADAL" clId="{379C0618-42FE-451D-8FAA-3258774ED7D0}" dt="2023-12-11T10:40:29.405" v="227"/>
          <ac:spMkLst>
            <pc:docMk/>
            <pc:sldMk cId="132118669" sldId="2147479540"/>
            <ac:spMk id="49" creationId="{F69C64DD-4097-E3C5-4BC7-E660D128C259}"/>
          </ac:spMkLst>
        </pc:spChg>
        <pc:spChg chg="mod">
          <ac:chgData name="Afzal, Tanzeel" userId="4c1bee66-eab8-4968-ab2a-d2fc86f622d3" providerId="ADAL" clId="{379C0618-42FE-451D-8FAA-3258774ED7D0}" dt="2023-12-11T10:40:29.405" v="227"/>
          <ac:spMkLst>
            <pc:docMk/>
            <pc:sldMk cId="132118669" sldId="2147479540"/>
            <ac:spMk id="50" creationId="{B83AB0DB-2322-4F5B-DA8D-65BA706099ED}"/>
          </ac:spMkLst>
        </pc:spChg>
        <pc:spChg chg="mod">
          <ac:chgData name="Afzal, Tanzeel" userId="4c1bee66-eab8-4968-ab2a-d2fc86f622d3" providerId="ADAL" clId="{379C0618-42FE-451D-8FAA-3258774ED7D0}" dt="2023-12-11T10:40:29.405" v="227"/>
          <ac:spMkLst>
            <pc:docMk/>
            <pc:sldMk cId="132118669" sldId="2147479540"/>
            <ac:spMk id="51" creationId="{AFABAB59-56D4-8293-6FCD-94456657583C}"/>
          </ac:spMkLst>
        </pc:spChg>
        <pc:spChg chg="mod">
          <ac:chgData name="Afzal, Tanzeel" userId="4c1bee66-eab8-4968-ab2a-d2fc86f622d3" providerId="ADAL" clId="{379C0618-42FE-451D-8FAA-3258774ED7D0}" dt="2023-12-11T10:40:29.405" v="227"/>
          <ac:spMkLst>
            <pc:docMk/>
            <pc:sldMk cId="132118669" sldId="2147479540"/>
            <ac:spMk id="52" creationId="{C088C7B3-D4CE-9599-3F93-296EF0D82E64}"/>
          </ac:spMkLst>
        </pc:spChg>
        <pc:spChg chg="mod">
          <ac:chgData name="Afzal, Tanzeel" userId="4c1bee66-eab8-4968-ab2a-d2fc86f622d3" providerId="ADAL" clId="{379C0618-42FE-451D-8FAA-3258774ED7D0}" dt="2023-12-11T10:40:29.405" v="227"/>
          <ac:spMkLst>
            <pc:docMk/>
            <pc:sldMk cId="132118669" sldId="2147479540"/>
            <ac:spMk id="56" creationId="{4F60D368-1CD9-695F-E66F-390AFFFE1591}"/>
          </ac:spMkLst>
        </pc:spChg>
        <pc:spChg chg="mod">
          <ac:chgData name="Afzal, Tanzeel" userId="4c1bee66-eab8-4968-ab2a-d2fc86f622d3" providerId="ADAL" clId="{379C0618-42FE-451D-8FAA-3258774ED7D0}" dt="2023-12-11T10:40:29.405" v="227"/>
          <ac:spMkLst>
            <pc:docMk/>
            <pc:sldMk cId="132118669" sldId="2147479540"/>
            <ac:spMk id="58" creationId="{512F151B-07C7-D6BB-A886-572333EBD98B}"/>
          </ac:spMkLst>
        </pc:spChg>
        <pc:spChg chg="mod">
          <ac:chgData name="Afzal, Tanzeel" userId="4c1bee66-eab8-4968-ab2a-d2fc86f622d3" providerId="ADAL" clId="{379C0618-42FE-451D-8FAA-3258774ED7D0}" dt="2023-12-11T10:40:29.405" v="227"/>
          <ac:spMkLst>
            <pc:docMk/>
            <pc:sldMk cId="132118669" sldId="2147479540"/>
            <ac:spMk id="61" creationId="{B2F37052-442E-12EF-AB13-8A608B857034}"/>
          </ac:spMkLst>
        </pc:spChg>
        <pc:spChg chg="del">
          <ac:chgData name="Afzal, Tanzeel" userId="4c1bee66-eab8-4968-ab2a-d2fc86f622d3" providerId="ADAL" clId="{379C0618-42FE-451D-8FAA-3258774ED7D0}" dt="2023-12-11T10:40:22.805" v="223" actId="478"/>
          <ac:spMkLst>
            <pc:docMk/>
            <pc:sldMk cId="132118669" sldId="2147479540"/>
            <ac:spMk id="66" creationId="{B2A34F81-550C-7FC1-B9A7-DDAC4F8DF9F6}"/>
          </ac:spMkLst>
        </pc:spChg>
        <pc:spChg chg="del">
          <ac:chgData name="Afzal, Tanzeel" userId="4c1bee66-eab8-4968-ab2a-d2fc86f622d3" providerId="ADAL" clId="{379C0618-42FE-451D-8FAA-3258774ED7D0}" dt="2023-12-11T10:40:22.805" v="223" actId="478"/>
          <ac:spMkLst>
            <pc:docMk/>
            <pc:sldMk cId="132118669" sldId="2147479540"/>
            <ac:spMk id="67" creationId="{9CF07AA1-0ED0-8225-8AA8-7CBB8ACB55A8}"/>
          </ac:spMkLst>
        </pc:spChg>
        <pc:spChg chg="del">
          <ac:chgData name="Afzal, Tanzeel" userId="4c1bee66-eab8-4968-ab2a-d2fc86f622d3" providerId="ADAL" clId="{379C0618-42FE-451D-8FAA-3258774ED7D0}" dt="2023-12-11T10:40:22.805" v="223" actId="478"/>
          <ac:spMkLst>
            <pc:docMk/>
            <pc:sldMk cId="132118669" sldId="2147479540"/>
            <ac:spMk id="68" creationId="{4155CB17-158A-4771-BDAB-ABC0E43E0EBD}"/>
          </ac:spMkLst>
        </pc:spChg>
        <pc:spChg chg="del">
          <ac:chgData name="Afzal, Tanzeel" userId="4c1bee66-eab8-4968-ab2a-d2fc86f622d3" providerId="ADAL" clId="{379C0618-42FE-451D-8FAA-3258774ED7D0}" dt="2023-12-11T10:40:22.805" v="223" actId="478"/>
          <ac:spMkLst>
            <pc:docMk/>
            <pc:sldMk cId="132118669" sldId="2147479540"/>
            <ac:spMk id="69" creationId="{DBD3B282-D8B4-25BB-B67E-897AF4A92BC7}"/>
          </ac:spMkLst>
        </pc:spChg>
        <pc:spChg chg="del">
          <ac:chgData name="Afzal, Tanzeel" userId="4c1bee66-eab8-4968-ab2a-d2fc86f622d3" providerId="ADAL" clId="{379C0618-42FE-451D-8FAA-3258774ED7D0}" dt="2023-12-11T10:40:22.805" v="223" actId="478"/>
          <ac:spMkLst>
            <pc:docMk/>
            <pc:sldMk cId="132118669" sldId="2147479540"/>
            <ac:spMk id="70" creationId="{E5A4B0AF-B497-AEAF-9038-3F606ADEE7ED}"/>
          </ac:spMkLst>
        </pc:spChg>
        <pc:spChg chg="mod">
          <ac:chgData name="Afzal, Tanzeel" userId="4c1bee66-eab8-4968-ab2a-d2fc86f622d3" providerId="ADAL" clId="{379C0618-42FE-451D-8FAA-3258774ED7D0}" dt="2023-12-11T10:40:29.405" v="227"/>
          <ac:spMkLst>
            <pc:docMk/>
            <pc:sldMk cId="132118669" sldId="2147479540"/>
            <ac:spMk id="71" creationId="{DE91BF91-C5A2-8A6C-B902-09C07C590C18}"/>
          </ac:spMkLst>
        </pc:spChg>
        <pc:spChg chg="mod">
          <ac:chgData name="Afzal, Tanzeel" userId="4c1bee66-eab8-4968-ab2a-d2fc86f622d3" providerId="ADAL" clId="{379C0618-42FE-451D-8FAA-3258774ED7D0}" dt="2023-12-11T10:40:29.405" v="227"/>
          <ac:spMkLst>
            <pc:docMk/>
            <pc:sldMk cId="132118669" sldId="2147479540"/>
            <ac:spMk id="72" creationId="{78E245F1-1300-2CA9-02B2-8F6F7D372D48}"/>
          </ac:spMkLst>
        </pc:spChg>
        <pc:spChg chg="mod">
          <ac:chgData name="Afzal, Tanzeel" userId="4c1bee66-eab8-4968-ab2a-d2fc86f622d3" providerId="ADAL" clId="{379C0618-42FE-451D-8FAA-3258774ED7D0}" dt="2023-12-11T10:40:29.405" v="227"/>
          <ac:spMkLst>
            <pc:docMk/>
            <pc:sldMk cId="132118669" sldId="2147479540"/>
            <ac:spMk id="73" creationId="{9F77E8CB-9F92-D05E-DCA5-87A3625E06BE}"/>
          </ac:spMkLst>
        </pc:spChg>
        <pc:spChg chg="mod">
          <ac:chgData name="Afzal, Tanzeel" userId="4c1bee66-eab8-4968-ab2a-d2fc86f622d3" providerId="ADAL" clId="{379C0618-42FE-451D-8FAA-3258774ED7D0}" dt="2023-12-11T10:40:29.405" v="227"/>
          <ac:spMkLst>
            <pc:docMk/>
            <pc:sldMk cId="132118669" sldId="2147479540"/>
            <ac:spMk id="74" creationId="{5F2820C4-628C-3FB8-B622-647BAE20FB7A}"/>
          </ac:spMkLst>
        </pc:spChg>
        <pc:spChg chg="mod">
          <ac:chgData name="Afzal, Tanzeel" userId="4c1bee66-eab8-4968-ab2a-d2fc86f622d3" providerId="ADAL" clId="{379C0618-42FE-451D-8FAA-3258774ED7D0}" dt="2023-12-11T10:40:44.485" v="258" actId="20577"/>
          <ac:spMkLst>
            <pc:docMk/>
            <pc:sldMk cId="132118669" sldId="2147479540"/>
            <ac:spMk id="75" creationId="{0B00487E-9A8E-46E0-B60F-BB884C23310C}"/>
          </ac:spMkLst>
        </pc:spChg>
        <pc:spChg chg="mod">
          <ac:chgData name="Afzal, Tanzeel" userId="4c1bee66-eab8-4968-ab2a-d2fc86f622d3" providerId="ADAL" clId="{379C0618-42FE-451D-8FAA-3258774ED7D0}" dt="2023-12-11T10:40:29.405" v="227"/>
          <ac:spMkLst>
            <pc:docMk/>
            <pc:sldMk cId="132118669" sldId="2147479540"/>
            <ac:spMk id="77" creationId="{609D6079-4C81-44F4-92B3-53CA51CEE4CD}"/>
          </ac:spMkLst>
        </pc:spChg>
        <pc:spChg chg="mod">
          <ac:chgData name="Afzal, Tanzeel" userId="4c1bee66-eab8-4968-ab2a-d2fc86f622d3" providerId="ADAL" clId="{379C0618-42FE-451D-8FAA-3258774ED7D0}" dt="2023-12-11T10:40:29.405" v="227"/>
          <ac:spMkLst>
            <pc:docMk/>
            <pc:sldMk cId="132118669" sldId="2147479540"/>
            <ac:spMk id="78" creationId="{8C4404B7-9F5A-1BD5-E57C-947E78FB77E5}"/>
          </ac:spMkLst>
        </pc:spChg>
        <pc:spChg chg="mod">
          <ac:chgData name="Afzal, Tanzeel" userId="4c1bee66-eab8-4968-ab2a-d2fc86f622d3" providerId="ADAL" clId="{379C0618-42FE-451D-8FAA-3258774ED7D0}" dt="2023-12-11T10:40:29.405" v="227"/>
          <ac:spMkLst>
            <pc:docMk/>
            <pc:sldMk cId="132118669" sldId="2147479540"/>
            <ac:spMk id="79" creationId="{176A5531-B4BB-23E2-E070-4FD045A9826D}"/>
          </ac:spMkLst>
        </pc:spChg>
        <pc:spChg chg="mod">
          <ac:chgData name="Afzal, Tanzeel" userId="4c1bee66-eab8-4968-ab2a-d2fc86f622d3" providerId="ADAL" clId="{379C0618-42FE-451D-8FAA-3258774ED7D0}" dt="2023-12-11T10:40:29.405" v="227"/>
          <ac:spMkLst>
            <pc:docMk/>
            <pc:sldMk cId="132118669" sldId="2147479540"/>
            <ac:spMk id="80" creationId="{B4F9881B-4825-1D15-6EB3-29103147BF6A}"/>
          </ac:spMkLst>
        </pc:spChg>
        <pc:spChg chg="mod">
          <ac:chgData name="Afzal, Tanzeel" userId="4c1bee66-eab8-4968-ab2a-d2fc86f622d3" providerId="ADAL" clId="{379C0618-42FE-451D-8FAA-3258774ED7D0}" dt="2023-12-11T10:40:29.405" v="227"/>
          <ac:spMkLst>
            <pc:docMk/>
            <pc:sldMk cId="132118669" sldId="2147479540"/>
            <ac:spMk id="81" creationId="{7322A726-033B-B459-7D67-A62E6BEA3BD1}"/>
          </ac:spMkLst>
        </pc:spChg>
        <pc:spChg chg="del">
          <ac:chgData name="Afzal, Tanzeel" userId="4c1bee66-eab8-4968-ab2a-d2fc86f622d3" providerId="ADAL" clId="{379C0618-42FE-451D-8FAA-3258774ED7D0}" dt="2023-12-11T10:40:22.805" v="223" actId="478"/>
          <ac:spMkLst>
            <pc:docMk/>
            <pc:sldMk cId="132118669" sldId="2147479540"/>
            <ac:spMk id="452" creationId="{36A74CA6-2EEB-B30A-0F3C-C3B4C1ED6C2A}"/>
          </ac:spMkLst>
        </pc:spChg>
        <pc:spChg chg="del">
          <ac:chgData name="Afzal, Tanzeel" userId="4c1bee66-eab8-4968-ab2a-d2fc86f622d3" providerId="ADAL" clId="{379C0618-42FE-451D-8FAA-3258774ED7D0}" dt="2023-12-11T10:40:22.805" v="223" actId="478"/>
          <ac:spMkLst>
            <pc:docMk/>
            <pc:sldMk cId="132118669" sldId="2147479540"/>
            <ac:spMk id="458" creationId="{88CBE7B4-E535-72F1-8983-D8BBBBA59337}"/>
          </ac:spMkLst>
        </pc:spChg>
        <pc:spChg chg="del">
          <ac:chgData name="Afzal, Tanzeel" userId="4c1bee66-eab8-4968-ab2a-d2fc86f622d3" providerId="ADAL" clId="{379C0618-42FE-451D-8FAA-3258774ED7D0}" dt="2023-12-11T10:40:22.805" v="223" actId="478"/>
          <ac:spMkLst>
            <pc:docMk/>
            <pc:sldMk cId="132118669" sldId="2147479540"/>
            <ac:spMk id="464" creationId="{3F3F3791-B5BC-4BF4-94C7-09C8766EB5BA}"/>
          </ac:spMkLst>
        </pc:spChg>
        <pc:spChg chg="del">
          <ac:chgData name="Afzal, Tanzeel" userId="4c1bee66-eab8-4968-ab2a-d2fc86f622d3" providerId="ADAL" clId="{379C0618-42FE-451D-8FAA-3258774ED7D0}" dt="2023-12-11T10:40:22.805" v="223" actId="478"/>
          <ac:spMkLst>
            <pc:docMk/>
            <pc:sldMk cId="132118669" sldId="2147479540"/>
            <ac:spMk id="470" creationId="{EF7D1D61-7AC2-DE8E-F889-798865142487}"/>
          </ac:spMkLst>
        </pc:spChg>
        <pc:spChg chg="del">
          <ac:chgData name="Afzal, Tanzeel" userId="4c1bee66-eab8-4968-ab2a-d2fc86f622d3" providerId="ADAL" clId="{379C0618-42FE-451D-8FAA-3258774ED7D0}" dt="2023-12-11T10:40:22.805" v="223" actId="478"/>
          <ac:spMkLst>
            <pc:docMk/>
            <pc:sldMk cId="132118669" sldId="2147479540"/>
            <ac:spMk id="471" creationId="{38A6EDD1-DA80-5DC6-85A6-041A3F952DF6}"/>
          </ac:spMkLst>
        </pc:spChg>
        <pc:spChg chg="del">
          <ac:chgData name="Afzal, Tanzeel" userId="4c1bee66-eab8-4968-ab2a-d2fc86f622d3" providerId="ADAL" clId="{379C0618-42FE-451D-8FAA-3258774ED7D0}" dt="2023-12-11T10:40:22.805" v="223" actId="478"/>
          <ac:spMkLst>
            <pc:docMk/>
            <pc:sldMk cId="132118669" sldId="2147479540"/>
            <ac:spMk id="475" creationId="{44678160-0C14-A2A0-F238-F841F443DEA5}"/>
          </ac:spMkLst>
        </pc:spChg>
        <pc:spChg chg="mod">
          <ac:chgData name="Afzal, Tanzeel" userId="4c1bee66-eab8-4968-ab2a-d2fc86f622d3" providerId="ADAL" clId="{379C0618-42FE-451D-8FAA-3258774ED7D0}" dt="2023-12-11T10:40:29.405" v="227"/>
          <ac:spMkLst>
            <pc:docMk/>
            <pc:sldMk cId="132118669" sldId="2147479540"/>
            <ac:spMk id="482" creationId="{A7C8C7A5-605F-1667-10BA-B8765A0C022B}"/>
          </ac:spMkLst>
        </pc:spChg>
        <pc:spChg chg="mod">
          <ac:chgData name="Afzal, Tanzeel" userId="4c1bee66-eab8-4968-ab2a-d2fc86f622d3" providerId="ADAL" clId="{379C0618-42FE-451D-8FAA-3258774ED7D0}" dt="2023-12-11T10:40:29.405" v="227"/>
          <ac:spMkLst>
            <pc:docMk/>
            <pc:sldMk cId="132118669" sldId="2147479540"/>
            <ac:spMk id="483" creationId="{C1DD97D3-1774-79D5-A96F-D32BA49D2AB5}"/>
          </ac:spMkLst>
        </pc:spChg>
        <pc:spChg chg="mod">
          <ac:chgData name="Afzal, Tanzeel" userId="4c1bee66-eab8-4968-ab2a-d2fc86f622d3" providerId="ADAL" clId="{379C0618-42FE-451D-8FAA-3258774ED7D0}" dt="2023-12-11T10:40:29.405" v="227"/>
          <ac:spMkLst>
            <pc:docMk/>
            <pc:sldMk cId="132118669" sldId="2147479540"/>
            <ac:spMk id="484" creationId="{7E421DE4-C881-1D52-CA6F-4FFD5101C46A}"/>
          </ac:spMkLst>
        </pc:spChg>
        <pc:spChg chg="del">
          <ac:chgData name="Afzal, Tanzeel" userId="4c1bee66-eab8-4968-ab2a-d2fc86f622d3" providerId="ADAL" clId="{379C0618-42FE-451D-8FAA-3258774ED7D0}" dt="2023-12-11T10:40:22.805" v="223" actId="478"/>
          <ac:spMkLst>
            <pc:docMk/>
            <pc:sldMk cId="132118669" sldId="2147479540"/>
            <ac:spMk id="488" creationId="{59A09EE9-D4DD-8416-2031-BF86AE30E098}"/>
          </ac:spMkLst>
        </pc:spChg>
        <pc:spChg chg="del">
          <ac:chgData name="Afzal, Tanzeel" userId="4c1bee66-eab8-4968-ab2a-d2fc86f622d3" providerId="ADAL" clId="{379C0618-42FE-451D-8FAA-3258774ED7D0}" dt="2023-12-11T10:40:22.805" v="223" actId="478"/>
          <ac:spMkLst>
            <pc:docMk/>
            <pc:sldMk cId="132118669" sldId="2147479540"/>
            <ac:spMk id="494" creationId="{4959E140-D084-D43E-E2B1-902D1C8F17EE}"/>
          </ac:spMkLst>
        </pc:spChg>
        <pc:spChg chg="del">
          <ac:chgData name="Afzal, Tanzeel" userId="4c1bee66-eab8-4968-ab2a-d2fc86f622d3" providerId="ADAL" clId="{379C0618-42FE-451D-8FAA-3258774ED7D0}" dt="2023-12-11T10:40:22.805" v="223" actId="478"/>
          <ac:spMkLst>
            <pc:docMk/>
            <pc:sldMk cId="132118669" sldId="2147479540"/>
            <ac:spMk id="506" creationId="{B1787FBA-DF5D-4A58-70EB-8EA0BEE42838}"/>
          </ac:spMkLst>
        </pc:spChg>
        <pc:spChg chg="del">
          <ac:chgData name="Afzal, Tanzeel" userId="4c1bee66-eab8-4968-ab2a-d2fc86f622d3" providerId="ADAL" clId="{379C0618-42FE-451D-8FAA-3258774ED7D0}" dt="2023-12-11T10:40:28.589" v="226" actId="478"/>
          <ac:spMkLst>
            <pc:docMk/>
            <pc:sldMk cId="132118669" sldId="2147479540"/>
            <ac:spMk id="507" creationId="{42A25287-6DDF-D975-7AAE-33B629EF2BC8}"/>
          </ac:spMkLst>
        </pc:spChg>
        <pc:grpChg chg="add del mod">
          <ac:chgData name="Afzal, Tanzeel" userId="4c1bee66-eab8-4968-ab2a-d2fc86f622d3" providerId="ADAL" clId="{379C0618-42FE-451D-8FAA-3258774ED7D0}" dt="2023-12-11T10:40:25.963" v="225"/>
          <ac:grpSpMkLst>
            <pc:docMk/>
            <pc:sldMk cId="132118669" sldId="2147479540"/>
            <ac:grpSpMk id="3" creationId="{0DEB1D49-C928-F8B2-6592-F2B3D7F13BC1}"/>
          </ac:grpSpMkLst>
        </pc:grpChg>
        <pc:grpChg chg="add del mod">
          <ac:chgData name="Afzal, Tanzeel" userId="4c1bee66-eab8-4968-ab2a-d2fc86f622d3" providerId="ADAL" clId="{379C0618-42FE-451D-8FAA-3258774ED7D0}" dt="2023-12-11T10:40:25.963" v="225"/>
          <ac:grpSpMkLst>
            <pc:docMk/>
            <pc:sldMk cId="132118669" sldId="2147479540"/>
            <ac:grpSpMk id="14" creationId="{A079BCC6-2143-4F70-AD1B-56FFA7839026}"/>
          </ac:grpSpMkLst>
        </pc:grpChg>
        <pc:grpChg chg="mod">
          <ac:chgData name="Afzal, Tanzeel" userId="4c1bee66-eab8-4968-ab2a-d2fc86f622d3" providerId="ADAL" clId="{379C0618-42FE-451D-8FAA-3258774ED7D0}" dt="2023-12-11T10:40:24.137" v="224"/>
          <ac:grpSpMkLst>
            <pc:docMk/>
            <pc:sldMk cId="132118669" sldId="2147479540"/>
            <ac:grpSpMk id="15" creationId="{C79762EF-1F4B-7F83-F288-D17415611212}"/>
          </ac:grpSpMkLst>
        </pc:grpChg>
        <pc:grpChg chg="mod">
          <ac:chgData name="Afzal, Tanzeel" userId="4c1bee66-eab8-4968-ab2a-d2fc86f622d3" providerId="ADAL" clId="{379C0618-42FE-451D-8FAA-3258774ED7D0}" dt="2023-12-11T10:40:24.137" v="224"/>
          <ac:grpSpMkLst>
            <pc:docMk/>
            <pc:sldMk cId="132118669" sldId="2147479540"/>
            <ac:grpSpMk id="16" creationId="{99904553-5C24-20B6-1C02-5B378E84371A}"/>
          </ac:grpSpMkLst>
        </pc:grpChg>
        <pc:grpChg chg="mod">
          <ac:chgData name="Afzal, Tanzeel" userId="4c1bee66-eab8-4968-ab2a-d2fc86f622d3" providerId="ADAL" clId="{379C0618-42FE-451D-8FAA-3258774ED7D0}" dt="2023-12-11T10:40:24.137" v="224"/>
          <ac:grpSpMkLst>
            <pc:docMk/>
            <pc:sldMk cId="132118669" sldId="2147479540"/>
            <ac:grpSpMk id="18" creationId="{4E1C74F4-CAC5-AA92-FF86-AF35FF3881E7}"/>
          </ac:grpSpMkLst>
        </pc:grpChg>
        <pc:grpChg chg="mod">
          <ac:chgData name="Afzal, Tanzeel" userId="4c1bee66-eab8-4968-ab2a-d2fc86f622d3" providerId="ADAL" clId="{379C0618-42FE-451D-8FAA-3258774ED7D0}" dt="2023-12-11T10:40:24.137" v="224"/>
          <ac:grpSpMkLst>
            <pc:docMk/>
            <pc:sldMk cId="132118669" sldId="2147479540"/>
            <ac:grpSpMk id="20" creationId="{87B49456-0A1F-E64F-2CB5-27D3A847F065}"/>
          </ac:grpSpMkLst>
        </pc:grpChg>
        <pc:grpChg chg="mod">
          <ac:chgData name="Afzal, Tanzeel" userId="4c1bee66-eab8-4968-ab2a-d2fc86f622d3" providerId="ADAL" clId="{379C0618-42FE-451D-8FAA-3258774ED7D0}" dt="2023-12-11T10:40:24.137" v="224"/>
          <ac:grpSpMkLst>
            <pc:docMk/>
            <pc:sldMk cId="132118669" sldId="2147479540"/>
            <ac:grpSpMk id="21" creationId="{E6419C2D-E7DF-D32A-BAE4-C2ACF6DA9695}"/>
          </ac:grpSpMkLst>
        </pc:grpChg>
        <pc:grpChg chg="mod">
          <ac:chgData name="Afzal, Tanzeel" userId="4c1bee66-eab8-4968-ab2a-d2fc86f622d3" providerId="ADAL" clId="{379C0618-42FE-451D-8FAA-3258774ED7D0}" dt="2023-12-11T10:40:24.137" v="224"/>
          <ac:grpSpMkLst>
            <pc:docMk/>
            <pc:sldMk cId="132118669" sldId="2147479540"/>
            <ac:grpSpMk id="23" creationId="{A21D144F-9EC7-5A5D-12FB-C27166B3E15C}"/>
          </ac:grpSpMkLst>
        </pc:grpChg>
        <pc:grpChg chg="add mod">
          <ac:chgData name="Afzal, Tanzeel" userId="4c1bee66-eab8-4968-ab2a-d2fc86f622d3" providerId="ADAL" clId="{379C0618-42FE-451D-8FAA-3258774ED7D0}" dt="2023-12-11T10:40:29.405" v="227"/>
          <ac:grpSpMkLst>
            <pc:docMk/>
            <pc:sldMk cId="132118669" sldId="2147479540"/>
            <ac:grpSpMk id="42" creationId="{40109686-9EC9-0D48-928D-405F8214B5C5}"/>
          </ac:grpSpMkLst>
        </pc:grpChg>
        <pc:grpChg chg="add mod">
          <ac:chgData name="Afzal, Tanzeel" userId="4c1bee66-eab8-4968-ab2a-d2fc86f622d3" providerId="ADAL" clId="{379C0618-42FE-451D-8FAA-3258774ED7D0}" dt="2023-12-11T10:40:29.405" v="227"/>
          <ac:grpSpMkLst>
            <pc:docMk/>
            <pc:sldMk cId="132118669" sldId="2147479540"/>
            <ac:grpSpMk id="53" creationId="{7101B836-C08A-B8E3-35F5-8BB1A1824FDE}"/>
          </ac:grpSpMkLst>
        </pc:grpChg>
        <pc:grpChg chg="mod">
          <ac:chgData name="Afzal, Tanzeel" userId="4c1bee66-eab8-4968-ab2a-d2fc86f622d3" providerId="ADAL" clId="{379C0618-42FE-451D-8FAA-3258774ED7D0}" dt="2023-12-11T10:40:29.405" v="227"/>
          <ac:grpSpMkLst>
            <pc:docMk/>
            <pc:sldMk cId="132118669" sldId="2147479540"/>
            <ac:grpSpMk id="54" creationId="{899081DA-A488-6E41-F2D4-A1D797A7498C}"/>
          </ac:grpSpMkLst>
        </pc:grpChg>
        <pc:grpChg chg="mod">
          <ac:chgData name="Afzal, Tanzeel" userId="4c1bee66-eab8-4968-ab2a-d2fc86f622d3" providerId="ADAL" clId="{379C0618-42FE-451D-8FAA-3258774ED7D0}" dt="2023-12-11T10:40:29.405" v="227"/>
          <ac:grpSpMkLst>
            <pc:docMk/>
            <pc:sldMk cId="132118669" sldId="2147479540"/>
            <ac:grpSpMk id="55" creationId="{7D3045A5-5993-99BA-B730-E31CEB5EBB9A}"/>
          </ac:grpSpMkLst>
        </pc:grpChg>
        <pc:grpChg chg="mod">
          <ac:chgData name="Afzal, Tanzeel" userId="4c1bee66-eab8-4968-ab2a-d2fc86f622d3" providerId="ADAL" clId="{379C0618-42FE-451D-8FAA-3258774ED7D0}" dt="2023-12-11T10:40:29.405" v="227"/>
          <ac:grpSpMkLst>
            <pc:docMk/>
            <pc:sldMk cId="132118669" sldId="2147479540"/>
            <ac:grpSpMk id="57" creationId="{8EA83D01-1A15-4FD3-F792-CCB70991E8E6}"/>
          </ac:grpSpMkLst>
        </pc:grpChg>
        <pc:grpChg chg="mod">
          <ac:chgData name="Afzal, Tanzeel" userId="4c1bee66-eab8-4968-ab2a-d2fc86f622d3" providerId="ADAL" clId="{379C0618-42FE-451D-8FAA-3258774ED7D0}" dt="2023-12-11T10:40:29.405" v="227"/>
          <ac:grpSpMkLst>
            <pc:docMk/>
            <pc:sldMk cId="132118669" sldId="2147479540"/>
            <ac:grpSpMk id="59" creationId="{EC012DC1-1865-74DD-4737-902BCD9A0990}"/>
          </ac:grpSpMkLst>
        </pc:grpChg>
        <pc:grpChg chg="mod">
          <ac:chgData name="Afzal, Tanzeel" userId="4c1bee66-eab8-4968-ab2a-d2fc86f622d3" providerId="ADAL" clId="{379C0618-42FE-451D-8FAA-3258774ED7D0}" dt="2023-12-11T10:40:29.405" v="227"/>
          <ac:grpSpMkLst>
            <pc:docMk/>
            <pc:sldMk cId="132118669" sldId="2147479540"/>
            <ac:grpSpMk id="60" creationId="{A91508C1-2D95-0D0C-4510-F3A7D55A6E2E}"/>
          </ac:grpSpMkLst>
        </pc:grpChg>
        <pc:grpChg chg="mod">
          <ac:chgData name="Afzal, Tanzeel" userId="4c1bee66-eab8-4968-ab2a-d2fc86f622d3" providerId="ADAL" clId="{379C0618-42FE-451D-8FAA-3258774ED7D0}" dt="2023-12-11T10:40:29.405" v="227"/>
          <ac:grpSpMkLst>
            <pc:docMk/>
            <pc:sldMk cId="132118669" sldId="2147479540"/>
            <ac:grpSpMk id="62" creationId="{F0DB7A7C-0007-A70D-4CE9-9813D69358FA}"/>
          </ac:grpSpMkLst>
        </pc:grpChg>
        <pc:grpChg chg="del">
          <ac:chgData name="Afzal, Tanzeel" userId="4c1bee66-eab8-4968-ab2a-d2fc86f622d3" providerId="ADAL" clId="{379C0618-42FE-451D-8FAA-3258774ED7D0}" dt="2023-12-11T10:40:22.805" v="223" actId="478"/>
          <ac:grpSpMkLst>
            <pc:docMk/>
            <pc:sldMk cId="132118669" sldId="2147479540"/>
            <ac:grpSpMk id="453" creationId="{6B4265F9-8ED3-74E5-9EE3-326EA163C045}"/>
          </ac:grpSpMkLst>
        </pc:grpChg>
        <pc:grpChg chg="del">
          <ac:chgData name="Afzal, Tanzeel" userId="4c1bee66-eab8-4968-ab2a-d2fc86f622d3" providerId="ADAL" clId="{379C0618-42FE-451D-8FAA-3258774ED7D0}" dt="2023-12-11T10:40:22.805" v="223" actId="478"/>
          <ac:grpSpMkLst>
            <pc:docMk/>
            <pc:sldMk cId="132118669" sldId="2147479540"/>
            <ac:grpSpMk id="459" creationId="{F47F7026-ADCC-177F-0A30-0FD7E1FE40B5}"/>
          </ac:grpSpMkLst>
        </pc:grpChg>
        <pc:grpChg chg="del">
          <ac:chgData name="Afzal, Tanzeel" userId="4c1bee66-eab8-4968-ab2a-d2fc86f622d3" providerId="ADAL" clId="{379C0618-42FE-451D-8FAA-3258774ED7D0}" dt="2023-12-11T10:40:22.805" v="223" actId="478"/>
          <ac:grpSpMkLst>
            <pc:docMk/>
            <pc:sldMk cId="132118669" sldId="2147479540"/>
            <ac:grpSpMk id="465" creationId="{9E3F6B06-946E-BF57-B6B5-80EF6084AF1B}"/>
          </ac:grpSpMkLst>
        </pc:grpChg>
        <pc:grpChg chg="del">
          <ac:chgData name="Afzal, Tanzeel" userId="4c1bee66-eab8-4968-ab2a-d2fc86f622d3" providerId="ADAL" clId="{379C0618-42FE-451D-8FAA-3258774ED7D0}" dt="2023-12-11T10:40:22.805" v="223" actId="478"/>
          <ac:grpSpMkLst>
            <pc:docMk/>
            <pc:sldMk cId="132118669" sldId="2147479540"/>
            <ac:grpSpMk id="472" creationId="{0743A6F6-CC71-7FFE-1BB4-45EBE734B15E}"/>
          </ac:grpSpMkLst>
        </pc:grpChg>
        <pc:grpChg chg="del">
          <ac:chgData name="Afzal, Tanzeel" userId="4c1bee66-eab8-4968-ab2a-d2fc86f622d3" providerId="ADAL" clId="{379C0618-42FE-451D-8FAA-3258774ED7D0}" dt="2023-12-11T10:40:22.805" v="223" actId="478"/>
          <ac:grpSpMkLst>
            <pc:docMk/>
            <pc:sldMk cId="132118669" sldId="2147479540"/>
            <ac:grpSpMk id="476" creationId="{E3023C42-6BF6-BB52-F642-49B192FDA090}"/>
          </ac:grpSpMkLst>
        </pc:grpChg>
        <pc:grpChg chg="del">
          <ac:chgData name="Afzal, Tanzeel" userId="4c1bee66-eab8-4968-ab2a-d2fc86f622d3" providerId="ADAL" clId="{379C0618-42FE-451D-8FAA-3258774ED7D0}" dt="2023-12-11T10:40:22.805" v="223" actId="478"/>
          <ac:grpSpMkLst>
            <pc:docMk/>
            <pc:sldMk cId="132118669" sldId="2147479540"/>
            <ac:grpSpMk id="489" creationId="{38CD3756-76C5-3F06-B82C-A217398E2C11}"/>
          </ac:grpSpMkLst>
        </pc:grpChg>
        <pc:grpChg chg="del">
          <ac:chgData name="Afzal, Tanzeel" userId="4c1bee66-eab8-4968-ab2a-d2fc86f622d3" providerId="ADAL" clId="{379C0618-42FE-451D-8FAA-3258774ED7D0}" dt="2023-12-11T10:40:22.805" v="223" actId="478"/>
          <ac:grpSpMkLst>
            <pc:docMk/>
            <pc:sldMk cId="132118669" sldId="2147479540"/>
            <ac:grpSpMk id="499" creationId="{8D96A0A3-1595-D494-5AF4-720B454F1C31}"/>
          </ac:grpSpMkLst>
        </pc:grpChg>
        <pc:grpChg chg="del">
          <ac:chgData name="Afzal, Tanzeel" userId="4c1bee66-eab8-4968-ab2a-d2fc86f622d3" providerId="ADAL" clId="{379C0618-42FE-451D-8FAA-3258774ED7D0}" dt="2023-12-11T10:40:22.805" v="223" actId="478"/>
          <ac:grpSpMkLst>
            <pc:docMk/>
            <pc:sldMk cId="132118669" sldId="2147479540"/>
            <ac:grpSpMk id="510" creationId="{3BFDE8A1-AB09-2C01-40B3-3DC12815F57C}"/>
          </ac:grpSpMkLst>
        </pc:grpChg>
        <pc:picChg chg="del">
          <ac:chgData name="Afzal, Tanzeel" userId="4c1bee66-eab8-4968-ab2a-d2fc86f622d3" providerId="ADAL" clId="{379C0618-42FE-451D-8FAA-3258774ED7D0}" dt="2023-12-11T10:40:22.805" v="223" actId="478"/>
          <ac:picMkLst>
            <pc:docMk/>
            <pc:sldMk cId="132118669" sldId="2147479540"/>
            <ac:picMk id="495" creationId="{5B74E937-F3E0-9C9E-D705-54D25A1F6A6E}"/>
          </ac:picMkLst>
        </pc:picChg>
        <pc:picChg chg="del">
          <ac:chgData name="Afzal, Tanzeel" userId="4c1bee66-eab8-4968-ab2a-d2fc86f622d3" providerId="ADAL" clId="{379C0618-42FE-451D-8FAA-3258774ED7D0}" dt="2023-12-11T10:40:22.805" v="223" actId="478"/>
          <ac:picMkLst>
            <pc:docMk/>
            <pc:sldMk cId="132118669" sldId="2147479540"/>
            <ac:picMk id="496" creationId="{FF0CCFD1-224B-825D-9893-54C4ADABA5E5}"/>
          </ac:picMkLst>
        </pc:picChg>
        <pc:picChg chg="del">
          <ac:chgData name="Afzal, Tanzeel" userId="4c1bee66-eab8-4968-ab2a-d2fc86f622d3" providerId="ADAL" clId="{379C0618-42FE-451D-8FAA-3258774ED7D0}" dt="2023-12-11T10:40:22.805" v="223" actId="478"/>
          <ac:picMkLst>
            <pc:docMk/>
            <pc:sldMk cId="132118669" sldId="2147479540"/>
            <ac:picMk id="497" creationId="{4EBD482B-9BCE-1EFE-7E7A-BAC5FEC1D696}"/>
          </ac:picMkLst>
        </pc:picChg>
        <pc:picChg chg="del">
          <ac:chgData name="Afzal, Tanzeel" userId="4c1bee66-eab8-4968-ab2a-d2fc86f622d3" providerId="ADAL" clId="{379C0618-42FE-451D-8FAA-3258774ED7D0}" dt="2023-12-11T10:40:22.805" v="223" actId="478"/>
          <ac:picMkLst>
            <pc:docMk/>
            <pc:sldMk cId="132118669" sldId="2147479540"/>
            <ac:picMk id="498" creationId="{FD78A82F-B722-29E5-AF54-5D3324986147}"/>
          </ac:picMkLst>
        </pc:picChg>
        <pc:cxnChg chg="mod">
          <ac:chgData name="Afzal, Tanzeel" userId="4c1bee66-eab8-4968-ab2a-d2fc86f622d3" providerId="ADAL" clId="{379C0618-42FE-451D-8FAA-3258774ED7D0}" dt="2023-12-11T10:40:24.137" v="224"/>
          <ac:cxnSpMkLst>
            <pc:docMk/>
            <pc:sldMk cId="132118669" sldId="2147479540"/>
            <ac:cxnSpMk id="24" creationId="{F5562B31-AAB2-AC01-CEB9-FEA6B93542F6}"/>
          </ac:cxnSpMkLst>
        </pc:cxnChg>
        <pc:cxnChg chg="mod">
          <ac:chgData name="Afzal, Tanzeel" userId="4c1bee66-eab8-4968-ab2a-d2fc86f622d3" providerId="ADAL" clId="{379C0618-42FE-451D-8FAA-3258774ED7D0}" dt="2023-12-11T10:40:24.137" v="224"/>
          <ac:cxnSpMkLst>
            <pc:docMk/>
            <pc:sldMk cId="132118669" sldId="2147479540"/>
            <ac:cxnSpMk id="25" creationId="{62291A41-4D3A-0A0B-FE04-E7BDAB9193BC}"/>
          </ac:cxnSpMkLst>
        </pc:cxnChg>
        <pc:cxnChg chg="mod">
          <ac:chgData name="Afzal, Tanzeel" userId="4c1bee66-eab8-4968-ab2a-d2fc86f622d3" providerId="ADAL" clId="{379C0618-42FE-451D-8FAA-3258774ED7D0}" dt="2023-12-11T10:40:24.137" v="224"/>
          <ac:cxnSpMkLst>
            <pc:docMk/>
            <pc:sldMk cId="132118669" sldId="2147479540"/>
            <ac:cxnSpMk id="26" creationId="{E8B27A73-A5CA-55FE-CB3D-2989492522FF}"/>
          </ac:cxnSpMkLst>
        </pc:cxnChg>
        <pc:cxnChg chg="mod">
          <ac:chgData name="Afzal, Tanzeel" userId="4c1bee66-eab8-4968-ab2a-d2fc86f622d3" providerId="ADAL" clId="{379C0618-42FE-451D-8FAA-3258774ED7D0}" dt="2023-12-11T10:40:24.137" v="224"/>
          <ac:cxnSpMkLst>
            <pc:docMk/>
            <pc:sldMk cId="132118669" sldId="2147479540"/>
            <ac:cxnSpMk id="27" creationId="{15884126-5A9F-45E2-79AC-10A520C49D2D}"/>
          </ac:cxnSpMkLst>
        </pc:cxnChg>
        <pc:cxnChg chg="mod">
          <ac:chgData name="Afzal, Tanzeel" userId="4c1bee66-eab8-4968-ab2a-d2fc86f622d3" providerId="ADAL" clId="{379C0618-42FE-451D-8FAA-3258774ED7D0}" dt="2023-12-11T10:40:24.137" v="224"/>
          <ac:cxnSpMkLst>
            <pc:docMk/>
            <pc:sldMk cId="132118669" sldId="2147479540"/>
            <ac:cxnSpMk id="28" creationId="{FC9253C2-F16F-4865-B8BE-D4FCD8561414}"/>
          </ac:cxnSpMkLst>
        </pc:cxnChg>
        <pc:cxnChg chg="mod">
          <ac:chgData name="Afzal, Tanzeel" userId="4c1bee66-eab8-4968-ab2a-d2fc86f622d3" providerId="ADAL" clId="{379C0618-42FE-451D-8FAA-3258774ED7D0}" dt="2023-12-11T10:40:29.405" v="227"/>
          <ac:cxnSpMkLst>
            <pc:docMk/>
            <pc:sldMk cId="132118669" sldId="2147479540"/>
            <ac:cxnSpMk id="63" creationId="{077C89EF-BF0E-3BF0-4C1B-202282AF65B8}"/>
          </ac:cxnSpMkLst>
        </pc:cxnChg>
        <pc:cxnChg chg="del mod">
          <ac:chgData name="Afzal, Tanzeel" userId="4c1bee66-eab8-4968-ab2a-d2fc86f622d3" providerId="ADAL" clId="{379C0618-42FE-451D-8FAA-3258774ED7D0}" dt="2023-12-11T10:40:22.805" v="223" actId="478"/>
          <ac:cxnSpMkLst>
            <pc:docMk/>
            <pc:sldMk cId="132118669" sldId="2147479540"/>
            <ac:cxnSpMk id="448" creationId="{8E4229A2-1BDF-583F-2514-601C4632F50C}"/>
          </ac:cxnSpMkLst>
        </pc:cxnChg>
        <pc:cxnChg chg="del mod">
          <ac:chgData name="Afzal, Tanzeel" userId="4c1bee66-eab8-4968-ab2a-d2fc86f622d3" providerId="ADAL" clId="{379C0618-42FE-451D-8FAA-3258774ED7D0}" dt="2023-12-11T10:40:22.805" v="223" actId="478"/>
          <ac:cxnSpMkLst>
            <pc:docMk/>
            <pc:sldMk cId="132118669" sldId="2147479540"/>
            <ac:cxnSpMk id="449" creationId="{D91AAA29-05BB-8C1C-4DA3-7A0A70C5499B}"/>
          </ac:cxnSpMkLst>
        </pc:cxnChg>
        <pc:cxnChg chg="del mod">
          <ac:chgData name="Afzal, Tanzeel" userId="4c1bee66-eab8-4968-ab2a-d2fc86f622d3" providerId="ADAL" clId="{379C0618-42FE-451D-8FAA-3258774ED7D0}" dt="2023-12-11T10:40:22.805" v="223" actId="478"/>
          <ac:cxnSpMkLst>
            <pc:docMk/>
            <pc:sldMk cId="132118669" sldId="2147479540"/>
            <ac:cxnSpMk id="450" creationId="{ED96578A-0408-1454-EEFC-4E2C026846FF}"/>
          </ac:cxnSpMkLst>
        </pc:cxnChg>
        <pc:cxnChg chg="del">
          <ac:chgData name="Afzal, Tanzeel" userId="4c1bee66-eab8-4968-ab2a-d2fc86f622d3" providerId="ADAL" clId="{379C0618-42FE-451D-8FAA-3258774ED7D0}" dt="2023-12-11T10:40:22.805" v="223" actId="478"/>
          <ac:cxnSpMkLst>
            <pc:docMk/>
            <pc:sldMk cId="132118669" sldId="2147479540"/>
            <ac:cxnSpMk id="451" creationId="{26786728-39D4-5D6A-9092-B2F236D46E73}"/>
          </ac:cxnSpMkLst>
        </pc:cxnChg>
        <pc:cxnChg chg="mod">
          <ac:chgData name="Afzal, Tanzeel" userId="4c1bee66-eab8-4968-ab2a-d2fc86f622d3" providerId="ADAL" clId="{379C0618-42FE-451D-8FAA-3258774ED7D0}" dt="2023-12-11T10:40:29.405" v="227"/>
          <ac:cxnSpMkLst>
            <pc:docMk/>
            <pc:sldMk cId="132118669" sldId="2147479540"/>
            <ac:cxnSpMk id="478" creationId="{852011B9-0E96-DC38-6708-E27847F925A9}"/>
          </ac:cxnSpMkLst>
        </pc:cxnChg>
        <pc:cxnChg chg="mod">
          <ac:chgData name="Afzal, Tanzeel" userId="4c1bee66-eab8-4968-ab2a-d2fc86f622d3" providerId="ADAL" clId="{379C0618-42FE-451D-8FAA-3258774ED7D0}" dt="2023-12-11T10:40:29.405" v="227"/>
          <ac:cxnSpMkLst>
            <pc:docMk/>
            <pc:sldMk cId="132118669" sldId="2147479540"/>
            <ac:cxnSpMk id="479" creationId="{C8E6D5E1-12E9-DBBD-182B-056AC59DB094}"/>
          </ac:cxnSpMkLst>
        </pc:cxnChg>
        <pc:cxnChg chg="mod">
          <ac:chgData name="Afzal, Tanzeel" userId="4c1bee66-eab8-4968-ab2a-d2fc86f622d3" providerId="ADAL" clId="{379C0618-42FE-451D-8FAA-3258774ED7D0}" dt="2023-12-11T10:40:29.405" v="227"/>
          <ac:cxnSpMkLst>
            <pc:docMk/>
            <pc:sldMk cId="132118669" sldId="2147479540"/>
            <ac:cxnSpMk id="480" creationId="{87F42BF9-933A-2248-5A9E-981686C71891}"/>
          </ac:cxnSpMkLst>
        </pc:cxnChg>
        <pc:cxnChg chg="mod">
          <ac:chgData name="Afzal, Tanzeel" userId="4c1bee66-eab8-4968-ab2a-d2fc86f622d3" providerId="ADAL" clId="{379C0618-42FE-451D-8FAA-3258774ED7D0}" dt="2023-12-11T10:40:29.405" v="227"/>
          <ac:cxnSpMkLst>
            <pc:docMk/>
            <pc:sldMk cId="132118669" sldId="2147479540"/>
            <ac:cxnSpMk id="481" creationId="{54BC1252-50C8-ABE8-3B50-601DDDA454D5}"/>
          </ac:cxnSpMkLst>
        </pc:cxnChg>
        <pc:cxnChg chg="del mod">
          <ac:chgData name="Afzal, Tanzeel" userId="4c1bee66-eab8-4968-ab2a-d2fc86f622d3" providerId="ADAL" clId="{379C0618-42FE-451D-8FAA-3258774ED7D0}" dt="2023-12-11T10:40:22.805" v="223" actId="478"/>
          <ac:cxnSpMkLst>
            <pc:docMk/>
            <pc:sldMk cId="132118669" sldId="2147479540"/>
            <ac:cxnSpMk id="508" creationId="{73C47CBE-17F7-667B-9D6E-694A870B56CA}"/>
          </ac:cxnSpMkLst>
        </pc:cxnChg>
        <pc:cxnChg chg="del">
          <ac:chgData name="Afzal, Tanzeel" userId="4c1bee66-eab8-4968-ab2a-d2fc86f622d3" providerId="ADAL" clId="{379C0618-42FE-451D-8FAA-3258774ED7D0}" dt="2023-12-11T10:40:22.805" v="223" actId="478"/>
          <ac:cxnSpMkLst>
            <pc:docMk/>
            <pc:sldMk cId="132118669" sldId="2147479540"/>
            <ac:cxnSpMk id="509" creationId="{4F84B23C-9EE7-F629-8CDC-12EA76AC9D18}"/>
          </ac:cxnSpMkLst>
        </pc:cxnChg>
      </pc:sldChg>
      <pc:sldChg chg="del">
        <pc:chgData name="Afzal, Tanzeel" userId="4c1bee66-eab8-4968-ab2a-d2fc86f622d3" providerId="ADAL" clId="{379C0618-42FE-451D-8FAA-3258774ED7D0}" dt="2023-12-11T10:39:37.971" v="221" actId="47"/>
        <pc:sldMkLst>
          <pc:docMk/>
          <pc:sldMk cId="3506937423" sldId="2147479540"/>
        </pc:sldMkLst>
      </pc:sldChg>
      <pc:sldChg chg="add del">
        <pc:chgData name="Afzal, Tanzeel" userId="4c1bee66-eab8-4968-ab2a-d2fc86f622d3" providerId="ADAL" clId="{379C0618-42FE-451D-8FAA-3258774ED7D0}" dt="2023-12-11T12:35:32.871" v="400"/>
        <pc:sldMkLst>
          <pc:docMk/>
          <pc:sldMk cId="3506573651" sldId="2147479542"/>
        </pc:sldMkLst>
      </pc:sldChg>
      <pc:sldChg chg="modSp add del mod">
        <pc:chgData name="Afzal, Tanzeel" userId="4c1bee66-eab8-4968-ab2a-d2fc86f622d3" providerId="ADAL" clId="{379C0618-42FE-451D-8FAA-3258774ED7D0}" dt="2023-12-11T12:37:38.838" v="404" actId="47"/>
        <pc:sldMkLst>
          <pc:docMk/>
          <pc:sldMk cId="2985896458" sldId="2147479543"/>
        </pc:sldMkLst>
        <pc:spChg chg="mod">
          <ac:chgData name="Afzal, Tanzeel" userId="4c1bee66-eab8-4968-ab2a-d2fc86f622d3" providerId="ADAL" clId="{379C0618-42FE-451D-8FAA-3258774ED7D0}" dt="2023-12-11T12:35:32.871" v="400"/>
          <ac:spMkLst>
            <pc:docMk/>
            <pc:sldMk cId="2985896458" sldId="2147479543"/>
            <ac:spMk id="45" creationId="{3D6B7FAB-DA28-4608-B7CA-F8DF7CE1746A}"/>
          </ac:spMkLst>
        </pc:spChg>
      </pc:sldChg>
      <pc:sldChg chg="add del">
        <pc:chgData name="Afzal, Tanzeel" userId="4c1bee66-eab8-4968-ab2a-d2fc86f622d3" providerId="ADAL" clId="{379C0618-42FE-451D-8FAA-3258774ED7D0}" dt="2023-12-11T12:35:32.871" v="400"/>
        <pc:sldMkLst>
          <pc:docMk/>
          <pc:sldMk cId="2908491148" sldId="2147479544"/>
        </pc:sldMkLst>
      </pc:sldChg>
      <pc:sldChg chg="add del">
        <pc:chgData name="Afzal, Tanzeel" userId="4c1bee66-eab8-4968-ab2a-d2fc86f622d3" providerId="ADAL" clId="{379C0618-42FE-451D-8FAA-3258774ED7D0}" dt="2023-12-11T12:35:32.871" v="400"/>
        <pc:sldMkLst>
          <pc:docMk/>
          <pc:sldMk cId="2267213972" sldId="2147479545"/>
        </pc:sldMkLst>
      </pc:sldChg>
      <pc:sldChg chg="modSp add del mod">
        <pc:chgData name="Afzal, Tanzeel" userId="4c1bee66-eab8-4968-ab2a-d2fc86f622d3" providerId="ADAL" clId="{379C0618-42FE-451D-8FAA-3258774ED7D0}" dt="2023-12-11T12:37:38.838" v="404" actId="47"/>
        <pc:sldMkLst>
          <pc:docMk/>
          <pc:sldMk cId="1518538539" sldId="2147479546"/>
        </pc:sldMkLst>
        <pc:spChg chg="mod">
          <ac:chgData name="Afzal, Tanzeel" userId="4c1bee66-eab8-4968-ab2a-d2fc86f622d3" providerId="ADAL" clId="{379C0618-42FE-451D-8FAA-3258774ED7D0}" dt="2023-12-11T12:35:32.871" v="400"/>
          <ac:spMkLst>
            <pc:docMk/>
            <pc:sldMk cId="1518538539" sldId="2147479546"/>
            <ac:spMk id="45" creationId="{3D6B7FAB-DA28-4608-B7CA-F8DF7CE1746A}"/>
          </ac:spMkLst>
        </pc:spChg>
      </pc:sldChg>
      <pc:sldChg chg="modSp mod delCm modCm">
        <pc:chgData name="Afzal, Tanzeel" userId="4c1bee66-eab8-4968-ab2a-d2fc86f622d3" providerId="ADAL" clId="{379C0618-42FE-451D-8FAA-3258774ED7D0}" dt="2023-12-11T19:02:34.030" v="3021" actId="408"/>
        <pc:sldMkLst>
          <pc:docMk/>
          <pc:sldMk cId="1218059526" sldId="2147479547"/>
        </pc:sldMkLst>
        <pc:spChg chg="mod">
          <ac:chgData name="Afzal, Tanzeel" userId="4c1bee66-eab8-4968-ab2a-d2fc86f622d3" providerId="ADAL" clId="{379C0618-42FE-451D-8FAA-3258774ED7D0}" dt="2023-12-11T18:46:39.540" v="2853" actId="20577"/>
          <ac:spMkLst>
            <pc:docMk/>
            <pc:sldMk cId="1218059526" sldId="2147479547"/>
            <ac:spMk id="79" creationId="{30F3C000-B50F-6612-651A-D1E1D222E53F}"/>
          </ac:spMkLst>
        </pc:spChg>
        <pc:spChg chg="mod">
          <ac:chgData name="Afzal, Tanzeel" userId="4c1bee66-eab8-4968-ab2a-d2fc86f622d3" providerId="ADAL" clId="{379C0618-42FE-451D-8FAA-3258774ED7D0}" dt="2023-12-11T18:11:54.155" v="2678" actId="20577"/>
          <ac:spMkLst>
            <pc:docMk/>
            <pc:sldMk cId="1218059526" sldId="2147479547"/>
            <ac:spMk id="81" creationId="{ED1851B0-F324-C706-D26B-3AC0FA21BB13}"/>
          </ac:spMkLst>
        </pc:spChg>
        <pc:grpChg chg="mod">
          <ac:chgData name="Afzal, Tanzeel" userId="4c1bee66-eab8-4968-ab2a-d2fc86f622d3" providerId="ADAL" clId="{379C0618-42FE-451D-8FAA-3258774ED7D0}" dt="2023-12-11T19:02:34.030" v="3021" actId="408"/>
          <ac:grpSpMkLst>
            <pc:docMk/>
            <pc:sldMk cId="1218059526" sldId="2147479547"/>
            <ac:grpSpMk id="42" creationId="{C78440E1-43F3-6456-D2C6-FB17FB6A82D6}"/>
          </ac:grpSpMkLst>
        </pc:grpChg>
        <pc:grpChg chg="mod">
          <ac:chgData name="Afzal, Tanzeel" userId="4c1bee66-eab8-4968-ab2a-d2fc86f622d3" providerId="ADAL" clId="{379C0618-42FE-451D-8FAA-3258774ED7D0}" dt="2023-12-11T19:02:14.896" v="3020" actId="1038"/>
          <ac:grpSpMkLst>
            <pc:docMk/>
            <pc:sldMk cId="1218059526" sldId="2147479547"/>
            <ac:grpSpMk id="48" creationId="{AAC1933B-ECB2-C48D-E28D-42B8C38BC8CB}"/>
          </ac:grpSpMkLst>
        </pc:grpChg>
      </pc:sldChg>
      <pc:sldChg chg="add del">
        <pc:chgData name="Afzal, Tanzeel" userId="4c1bee66-eab8-4968-ab2a-d2fc86f622d3" providerId="ADAL" clId="{379C0618-42FE-451D-8FAA-3258774ED7D0}" dt="2023-12-11T12:33:28.099" v="385" actId="47"/>
        <pc:sldMkLst>
          <pc:docMk/>
          <pc:sldMk cId="2489156464" sldId="2147479547"/>
        </pc:sldMkLst>
      </pc:sldChg>
      <pc:sldChg chg="add del">
        <pc:chgData name="Afzal, Tanzeel" userId="4c1bee66-eab8-4968-ab2a-d2fc86f622d3" providerId="ADAL" clId="{379C0618-42FE-451D-8FAA-3258774ED7D0}" dt="2023-12-11T12:33:28.099" v="385" actId="47"/>
        <pc:sldMkLst>
          <pc:docMk/>
          <pc:sldMk cId="0" sldId="2147479548"/>
        </pc:sldMkLst>
      </pc:sldChg>
      <pc:sldChg chg="add del">
        <pc:chgData name="Afzal, Tanzeel" userId="4c1bee66-eab8-4968-ab2a-d2fc86f622d3" providerId="ADAL" clId="{379C0618-42FE-451D-8FAA-3258774ED7D0}" dt="2023-12-11T12:33:28.099" v="385" actId="47"/>
        <pc:sldMkLst>
          <pc:docMk/>
          <pc:sldMk cId="74380740" sldId="2147479549"/>
        </pc:sldMkLst>
      </pc:sldChg>
      <pc:sldChg chg="add del">
        <pc:chgData name="Afzal, Tanzeel" userId="4c1bee66-eab8-4968-ab2a-d2fc86f622d3" providerId="ADAL" clId="{379C0618-42FE-451D-8FAA-3258774ED7D0}" dt="2023-12-11T12:33:28.099" v="385" actId="47"/>
        <pc:sldMkLst>
          <pc:docMk/>
          <pc:sldMk cId="3850696640" sldId="2147479550"/>
        </pc:sldMkLst>
      </pc:sldChg>
      <pc:sldChg chg="add del">
        <pc:chgData name="Afzal, Tanzeel" userId="4c1bee66-eab8-4968-ab2a-d2fc86f622d3" providerId="ADAL" clId="{379C0618-42FE-451D-8FAA-3258774ED7D0}" dt="2023-12-11T12:33:28.099" v="385" actId="47"/>
        <pc:sldMkLst>
          <pc:docMk/>
          <pc:sldMk cId="250733233" sldId="2147479551"/>
        </pc:sldMkLst>
      </pc:sldChg>
      <pc:sldChg chg="modSp add mod addCm delCm modCm">
        <pc:chgData name="Afzal, Tanzeel" userId="4c1bee66-eab8-4968-ab2a-d2fc86f622d3" providerId="ADAL" clId="{379C0618-42FE-451D-8FAA-3258774ED7D0}" dt="2023-12-11T16:39:36.859" v="1383" actId="207"/>
        <pc:sldMkLst>
          <pc:docMk/>
          <pc:sldMk cId="963063207" sldId="2147479551"/>
        </pc:sldMkLst>
        <pc:spChg chg="mod">
          <ac:chgData name="Afzal, Tanzeel" userId="4c1bee66-eab8-4968-ab2a-d2fc86f622d3" providerId="ADAL" clId="{379C0618-42FE-451D-8FAA-3258774ED7D0}" dt="2023-12-11T14:36:41.364" v="776" actId="20577"/>
          <ac:spMkLst>
            <pc:docMk/>
            <pc:sldMk cId="963063207" sldId="2147479551"/>
            <ac:spMk id="15" creationId="{4F2B127F-9897-5A80-010E-8320C9562DCC}"/>
          </ac:spMkLst>
        </pc:spChg>
        <pc:spChg chg="mod">
          <ac:chgData name="Afzal, Tanzeel" userId="4c1bee66-eab8-4968-ab2a-d2fc86f622d3" providerId="ADAL" clId="{379C0618-42FE-451D-8FAA-3258774ED7D0}" dt="2023-12-11T16:39:36.859" v="1383" actId="207"/>
          <ac:spMkLst>
            <pc:docMk/>
            <pc:sldMk cId="963063207" sldId="2147479551"/>
            <ac:spMk id="17" creationId="{7E4F4373-FC22-E6F0-8E52-F7AB326AEA80}"/>
          </ac:spMkLst>
        </pc:spChg>
        <pc:spChg chg="mod">
          <ac:chgData name="Afzal, Tanzeel" userId="4c1bee66-eab8-4968-ab2a-d2fc86f622d3" providerId="ADAL" clId="{379C0618-42FE-451D-8FAA-3258774ED7D0}" dt="2023-12-11T13:36:46.734" v="410" actId="207"/>
          <ac:spMkLst>
            <pc:docMk/>
            <pc:sldMk cId="963063207" sldId="2147479551"/>
            <ac:spMk id="48" creationId="{04C521F6-3E95-2C21-201A-ABAD0A409F9B}"/>
          </ac:spMkLst>
        </pc:spChg>
        <pc:graphicFrameChg chg="modGraphic">
          <ac:chgData name="Afzal, Tanzeel" userId="4c1bee66-eab8-4968-ab2a-d2fc86f622d3" providerId="ADAL" clId="{379C0618-42FE-451D-8FAA-3258774ED7D0}" dt="2023-12-11T16:39:17.926" v="1369" actId="207"/>
          <ac:graphicFrameMkLst>
            <pc:docMk/>
            <pc:sldMk cId="963063207" sldId="2147479551"/>
            <ac:graphicFrameMk id="29" creationId="{43959F16-6688-48DE-97B4-606698A66F3C}"/>
          </ac:graphicFrameMkLst>
        </pc:graphicFrameChg>
      </pc:sldChg>
      <pc:sldChg chg="add del">
        <pc:chgData name="Afzal, Tanzeel" userId="4c1bee66-eab8-4968-ab2a-d2fc86f622d3" providerId="ADAL" clId="{379C0618-42FE-451D-8FAA-3258774ED7D0}" dt="2023-12-11T12:33:28.099" v="385" actId="47"/>
        <pc:sldMkLst>
          <pc:docMk/>
          <pc:sldMk cId="281625097" sldId="2147479552"/>
        </pc:sldMkLst>
      </pc:sldChg>
      <pc:sldChg chg="add del">
        <pc:chgData name="Afzal, Tanzeel" userId="4c1bee66-eab8-4968-ab2a-d2fc86f622d3" providerId="ADAL" clId="{379C0618-42FE-451D-8FAA-3258774ED7D0}" dt="2023-12-11T12:33:28.099" v="385" actId="47"/>
        <pc:sldMkLst>
          <pc:docMk/>
          <pc:sldMk cId="2184256742" sldId="2147479553"/>
        </pc:sldMkLst>
      </pc:sldChg>
      <pc:sldChg chg="addSp delSp modSp add mod">
        <pc:chgData name="Afzal, Tanzeel" userId="4c1bee66-eab8-4968-ab2a-d2fc86f622d3" providerId="ADAL" clId="{379C0618-42FE-451D-8FAA-3258774ED7D0}" dt="2023-12-11T16:35:06.129" v="1348" actId="313"/>
        <pc:sldMkLst>
          <pc:docMk/>
          <pc:sldMk cId="3652616824" sldId="2147479553"/>
        </pc:sldMkLst>
        <pc:spChg chg="add mod">
          <ac:chgData name="Afzal, Tanzeel" userId="4c1bee66-eab8-4968-ab2a-d2fc86f622d3" providerId="ADAL" clId="{379C0618-42FE-451D-8FAA-3258774ED7D0}" dt="2023-12-11T13:56:30.039" v="618"/>
          <ac:spMkLst>
            <pc:docMk/>
            <pc:sldMk cId="3652616824" sldId="2147479553"/>
            <ac:spMk id="2" creationId="{B92A2EE2-BFCC-59A6-9E51-FEF7C615177D}"/>
          </ac:spMkLst>
        </pc:spChg>
        <pc:spChg chg="add mod">
          <ac:chgData name="Afzal, Tanzeel" userId="4c1bee66-eab8-4968-ab2a-d2fc86f622d3" providerId="ADAL" clId="{379C0618-42FE-451D-8FAA-3258774ED7D0}" dt="2023-12-11T13:56:30.039" v="618"/>
          <ac:spMkLst>
            <pc:docMk/>
            <pc:sldMk cId="3652616824" sldId="2147479553"/>
            <ac:spMk id="3" creationId="{AB5D6BF8-7300-E63E-239D-894031572500}"/>
          </ac:spMkLst>
        </pc:spChg>
        <pc:spChg chg="add mod">
          <ac:chgData name="Afzal, Tanzeel" userId="4c1bee66-eab8-4968-ab2a-d2fc86f622d3" providerId="ADAL" clId="{379C0618-42FE-451D-8FAA-3258774ED7D0}" dt="2023-12-11T16:35:06.129" v="1348" actId="313"/>
          <ac:spMkLst>
            <pc:docMk/>
            <pc:sldMk cId="3652616824" sldId="2147479553"/>
            <ac:spMk id="5" creationId="{86BC2E49-06D8-135E-EAC7-9C5A173F147A}"/>
          </ac:spMkLst>
        </pc:spChg>
        <pc:spChg chg="mod">
          <ac:chgData name="Afzal, Tanzeel" userId="4c1bee66-eab8-4968-ab2a-d2fc86f622d3" providerId="ADAL" clId="{379C0618-42FE-451D-8FAA-3258774ED7D0}" dt="2023-12-11T15:55:08.692" v="1171" actId="20577"/>
          <ac:spMkLst>
            <pc:docMk/>
            <pc:sldMk cId="3652616824" sldId="2147479553"/>
            <ac:spMk id="8" creationId="{21582DA6-E7A5-ECAA-971C-B029B9F65B7A}"/>
          </ac:spMkLst>
        </pc:spChg>
        <pc:spChg chg="del">
          <ac:chgData name="Afzal, Tanzeel" userId="4c1bee66-eab8-4968-ab2a-d2fc86f622d3" providerId="ADAL" clId="{379C0618-42FE-451D-8FAA-3258774ED7D0}" dt="2023-12-11T13:56:20.570" v="613" actId="478"/>
          <ac:spMkLst>
            <pc:docMk/>
            <pc:sldMk cId="3652616824" sldId="2147479553"/>
            <ac:spMk id="17" creationId="{47C382A2-22FA-CCFC-A70D-D64AF7C6D3F1}"/>
          </ac:spMkLst>
        </pc:spChg>
        <pc:spChg chg="del">
          <ac:chgData name="Afzal, Tanzeel" userId="4c1bee66-eab8-4968-ab2a-d2fc86f622d3" providerId="ADAL" clId="{379C0618-42FE-451D-8FAA-3258774ED7D0}" dt="2023-12-11T13:56:18.226" v="612" actId="478"/>
          <ac:spMkLst>
            <pc:docMk/>
            <pc:sldMk cId="3652616824" sldId="2147479553"/>
            <ac:spMk id="18" creationId="{C3412FAD-9D75-9B23-B7F5-E106172FA354}"/>
          </ac:spMkLst>
        </pc:spChg>
        <pc:spChg chg="del mod">
          <ac:chgData name="Afzal, Tanzeel" userId="4c1bee66-eab8-4968-ab2a-d2fc86f622d3" providerId="ADAL" clId="{379C0618-42FE-451D-8FAA-3258774ED7D0}" dt="2023-12-11T13:56:26.396" v="616" actId="478"/>
          <ac:spMkLst>
            <pc:docMk/>
            <pc:sldMk cId="3652616824" sldId="2147479553"/>
            <ac:spMk id="19" creationId="{8C798E22-4BD0-2E34-A606-0587DDA48394}"/>
          </ac:spMkLst>
        </pc:spChg>
        <pc:spChg chg="del">
          <ac:chgData name="Afzal, Tanzeel" userId="4c1bee66-eab8-4968-ab2a-d2fc86f622d3" providerId="ADAL" clId="{379C0618-42FE-451D-8FAA-3258774ED7D0}" dt="2023-12-11T13:56:28.981" v="617" actId="478"/>
          <ac:spMkLst>
            <pc:docMk/>
            <pc:sldMk cId="3652616824" sldId="2147479553"/>
            <ac:spMk id="20" creationId="{0F659923-B5A2-773B-12F3-35FA175E3E21}"/>
          </ac:spMkLst>
        </pc:spChg>
        <pc:graphicFrameChg chg="del">
          <ac:chgData name="Afzal, Tanzeel" userId="4c1bee66-eab8-4968-ab2a-d2fc86f622d3" providerId="ADAL" clId="{379C0618-42FE-451D-8FAA-3258774ED7D0}" dt="2023-12-11T13:56:16.124" v="611" actId="478"/>
          <ac:graphicFrameMkLst>
            <pc:docMk/>
            <pc:sldMk cId="3652616824" sldId="2147479553"/>
            <ac:graphicFrameMk id="4" creationId="{8F73AE33-156D-48F2-7633-0C4AB5141029}"/>
          </ac:graphicFrameMkLst>
        </pc:graphicFrameChg>
        <pc:graphicFrameChg chg="add mod">
          <ac:chgData name="Afzal, Tanzeel" userId="4c1bee66-eab8-4968-ab2a-d2fc86f622d3" providerId="ADAL" clId="{379C0618-42FE-451D-8FAA-3258774ED7D0}" dt="2023-12-11T13:56:30.039" v="618"/>
          <ac:graphicFrameMkLst>
            <pc:docMk/>
            <pc:sldMk cId="3652616824" sldId="2147479553"/>
            <ac:graphicFrameMk id="6" creationId="{65A3CD0E-CEED-0CC7-421E-DF7B1C9B16EC}"/>
          </ac:graphicFrameMkLst>
        </pc:graphicFrameChg>
      </pc:sldChg>
      <pc:sldChg chg="add del">
        <pc:chgData name="Afzal, Tanzeel" userId="4c1bee66-eab8-4968-ab2a-d2fc86f622d3" providerId="ADAL" clId="{379C0618-42FE-451D-8FAA-3258774ED7D0}" dt="2023-12-11T12:33:28.099" v="385" actId="47"/>
        <pc:sldMkLst>
          <pc:docMk/>
          <pc:sldMk cId="2536512703" sldId="2147479554"/>
        </pc:sldMkLst>
      </pc:sldChg>
      <pc:sldChg chg="addSp delSp modSp add mod">
        <pc:chgData name="Afzal, Tanzeel" userId="4c1bee66-eab8-4968-ab2a-d2fc86f622d3" providerId="ADAL" clId="{379C0618-42FE-451D-8FAA-3258774ED7D0}" dt="2023-12-11T16:34:20.233" v="1333" actId="313"/>
        <pc:sldMkLst>
          <pc:docMk/>
          <pc:sldMk cId="256600027" sldId="2147479555"/>
        </pc:sldMkLst>
        <pc:spChg chg="del mod">
          <ac:chgData name="Afzal, Tanzeel" userId="4c1bee66-eab8-4968-ab2a-d2fc86f622d3" providerId="ADAL" clId="{379C0618-42FE-451D-8FAA-3258774ED7D0}" dt="2023-12-11T13:58:45.764" v="698" actId="478"/>
          <ac:spMkLst>
            <pc:docMk/>
            <pc:sldMk cId="256600027" sldId="2147479555"/>
            <ac:spMk id="2" creationId="{B92A2EE2-BFCC-59A6-9E51-FEF7C615177D}"/>
          </ac:spMkLst>
        </pc:spChg>
        <pc:spChg chg="del">
          <ac:chgData name="Afzal, Tanzeel" userId="4c1bee66-eab8-4968-ab2a-d2fc86f622d3" providerId="ADAL" clId="{379C0618-42FE-451D-8FAA-3258774ED7D0}" dt="2023-12-11T13:58:45.764" v="698" actId="478"/>
          <ac:spMkLst>
            <pc:docMk/>
            <pc:sldMk cId="256600027" sldId="2147479555"/>
            <ac:spMk id="3" creationId="{AB5D6BF8-7300-E63E-239D-894031572500}"/>
          </ac:spMkLst>
        </pc:spChg>
        <pc:spChg chg="add del mod">
          <ac:chgData name="Afzal, Tanzeel" userId="4c1bee66-eab8-4968-ab2a-d2fc86f622d3" providerId="ADAL" clId="{379C0618-42FE-451D-8FAA-3258774ED7D0}" dt="2023-12-11T13:59:34.489" v="717"/>
          <ac:spMkLst>
            <pc:docMk/>
            <pc:sldMk cId="256600027" sldId="2147479555"/>
            <ac:spMk id="4" creationId="{478DAAB6-2753-9720-7400-BC5E1B7E0154}"/>
          </ac:spMkLst>
        </pc:spChg>
        <pc:spChg chg="del">
          <ac:chgData name="Afzal, Tanzeel" userId="4c1bee66-eab8-4968-ab2a-d2fc86f622d3" providerId="ADAL" clId="{379C0618-42FE-451D-8FAA-3258774ED7D0}" dt="2023-12-11T13:58:48.319" v="699" actId="478"/>
          <ac:spMkLst>
            <pc:docMk/>
            <pc:sldMk cId="256600027" sldId="2147479555"/>
            <ac:spMk id="5" creationId="{86BC2E49-06D8-135E-EAC7-9C5A173F147A}"/>
          </ac:spMkLst>
        </pc:spChg>
        <pc:spChg chg="add del mod">
          <ac:chgData name="Afzal, Tanzeel" userId="4c1bee66-eab8-4968-ab2a-d2fc86f622d3" providerId="ADAL" clId="{379C0618-42FE-451D-8FAA-3258774ED7D0}" dt="2023-12-11T13:59:34.489" v="717"/>
          <ac:spMkLst>
            <pc:docMk/>
            <pc:sldMk cId="256600027" sldId="2147479555"/>
            <ac:spMk id="7" creationId="{9412C7B6-409C-3172-3479-58D2A7B71073}"/>
          </ac:spMkLst>
        </pc:spChg>
        <pc:spChg chg="mod">
          <ac:chgData name="Afzal, Tanzeel" userId="4c1bee66-eab8-4968-ab2a-d2fc86f622d3" providerId="ADAL" clId="{379C0618-42FE-451D-8FAA-3258774ED7D0}" dt="2023-12-11T15:55:16.772" v="1180" actId="20577"/>
          <ac:spMkLst>
            <pc:docMk/>
            <pc:sldMk cId="256600027" sldId="2147479555"/>
            <ac:spMk id="8" creationId="{21582DA6-E7A5-ECAA-971C-B029B9F65B7A}"/>
          </ac:spMkLst>
        </pc:spChg>
        <pc:spChg chg="add del mod">
          <ac:chgData name="Afzal, Tanzeel" userId="4c1bee66-eab8-4968-ab2a-d2fc86f622d3" providerId="ADAL" clId="{379C0618-42FE-451D-8FAA-3258774ED7D0}" dt="2023-12-11T13:59:34.489" v="717"/>
          <ac:spMkLst>
            <pc:docMk/>
            <pc:sldMk cId="256600027" sldId="2147479555"/>
            <ac:spMk id="10" creationId="{D97211A2-913C-2E5F-4E79-47BE8FF43FC3}"/>
          </ac:spMkLst>
        </pc:spChg>
        <pc:spChg chg="add del mod">
          <ac:chgData name="Afzal, Tanzeel" userId="4c1bee66-eab8-4968-ab2a-d2fc86f622d3" providerId="ADAL" clId="{379C0618-42FE-451D-8FAA-3258774ED7D0}" dt="2023-12-11T13:59:34.489" v="717"/>
          <ac:spMkLst>
            <pc:docMk/>
            <pc:sldMk cId="256600027" sldId="2147479555"/>
            <ac:spMk id="11" creationId="{03C6687F-5759-7031-5E20-D66F2AD0FF2B}"/>
          </ac:spMkLst>
        </pc:spChg>
        <pc:spChg chg="add del mod">
          <ac:chgData name="Afzal, Tanzeel" userId="4c1bee66-eab8-4968-ab2a-d2fc86f622d3" providerId="ADAL" clId="{379C0618-42FE-451D-8FAA-3258774ED7D0}" dt="2023-12-11T13:59:34.489" v="717"/>
          <ac:spMkLst>
            <pc:docMk/>
            <pc:sldMk cId="256600027" sldId="2147479555"/>
            <ac:spMk id="12" creationId="{75EF1D31-021C-761A-DFDF-26A41B899A2E}"/>
          </ac:spMkLst>
        </pc:spChg>
        <pc:spChg chg="add del mod">
          <ac:chgData name="Afzal, Tanzeel" userId="4c1bee66-eab8-4968-ab2a-d2fc86f622d3" providerId="ADAL" clId="{379C0618-42FE-451D-8FAA-3258774ED7D0}" dt="2023-12-11T13:59:34.489" v="717"/>
          <ac:spMkLst>
            <pc:docMk/>
            <pc:sldMk cId="256600027" sldId="2147479555"/>
            <ac:spMk id="13" creationId="{DF5353E5-9C5C-F2AF-9049-7DCB0CC1F6F8}"/>
          </ac:spMkLst>
        </pc:spChg>
        <pc:spChg chg="add del mod">
          <ac:chgData name="Afzal, Tanzeel" userId="4c1bee66-eab8-4968-ab2a-d2fc86f622d3" providerId="ADAL" clId="{379C0618-42FE-451D-8FAA-3258774ED7D0}" dt="2023-12-11T13:59:34.489" v="717"/>
          <ac:spMkLst>
            <pc:docMk/>
            <pc:sldMk cId="256600027" sldId="2147479555"/>
            <ac:spMk id="14" creationId="{47BE05B0-272C-378E-0E30-0C46F49FB0DC}"/>
          </ac:spMkLst>
        </pc:spChg>
        <pc:spChg chg="add del mod">
          <ac:chgData name="Afzal, Tanzeel" userId="4c1bee66-eab8-4968-ab2a-d2fc86f622d3" providerId="ADAL" clId="{379C0618-42FE-451D-8FAA-3258774ED7D0}" dt="2023-12-11T13:59:34.489" v="717"/>
          <ac:spMkLst>
            <pc:docMk/>
            <pc:sldMk cId="256600027" sldId="2147479555"/>
            <ac:spMk id="15" creationId="{B562C15B-ED83-5501-8D88-EEF10282C78D}"/>
          </ac:spMkLst>
        </pc:spChg>
        <pc:spChg chg="add del mod">
          <ac:chgData name="Afzal, Tanzeel" userId="4c1bee66-eab8-4968-ab2a-d2fc86f622d3" providerId="ADAL" clId="{379C0618-42FE-451D-8FAA-3258774ED7D0}" dt="2023-12-11T13:59:34.489" v="717"/>
          <ac:spMkLst>
            <pc:docMk/>
            <pc:sldMk cId="256600027" sldId="2147479555"/>
            <ac:spMk id="16" creationId="{87BC52E5-1802-E7DE-691D-0A60BD47B6C7}"/>
          </ac:spMkLst>
        </pc:spChg>
        <pc:spChg chg="add del mod">
          <ac:chgData name="Afzal, Tanzeel" userId="4c1bee66-eab8-4968-ab2a-d2fc86f622d3" providerId="ADAL" clId="{379C0618-42FE-451D-8FAA-3258774ED7D0}" dt="2023-12-11T13:59:34.489" v="717"/>
          <ac:spMkLst>
            <pc:docMk/>
            <pc:sldMk cId="256600027" sldId="2147479555"/>
            <ac:spMk id="17" creationId="{2BD948B2-A214-E7D6-BFC5-6D61F0AD9EA4}"/>
          </ac:spMkLst>
        </pc:spChg>
        <pc:spChg chg="add del mod">
          <ac:chgData name="Afzal, Tanzeel" userId="4c1bee66-eab8-4968-ab2a-d2fc86f622d3" providerId="ADAL" clId="{379C0618-42FE-451D-8FAA-3258774ED7D0}" dt="2023-12-11T13:59:34.489" v="717"/>
          <ac:spMkLst>
            <pc:docMk/>
            <pc:sldMk cId="256600027" sldId="2147479555"/>
            <ac:spMk id="18" creationId="{FFCCB7A5-4236-4F6E-DB69-48F32D1FE7BE}"/>
          </ac:spMkLst>
        </pc:spChg>
        <pc:spChg chg="add del mod">
          <ac:chgData name="Afzal, Tanzeel" userId="4c1bee66-eab8-4968-ab2a-d2fc86f622d3" providerId="ADAL" clId="{379C0618-42FE-451D-8FAA-3258774ED7D0}" dt="2023-12-11T13:59:34.489" v="717"/>
          <ac:spMkLst>
            <pc:docMk/>
            <pc:sldMk cId="256600027" sldId="2147479555"/>
            <ac:spMk id="19" creationId="{DFD0AFB4-5656-1CA2-6BD9-578A857DA05F}"/>
          </ac:spMkLst>
        </pc:spChg>
        <pc:spChg chg="add del mod">
          <ac:chgData name="Afzal, Tanzeel" userId="4c1bee66-eab8-4968-ab2a-d2fc86f622d3" providerId="ADAL" clId="{379C0618-42FE-451D-8FAA-3258774ED7D0}" dt="2023-12-11T13:59:34.489" v="717"/>
          <ac:spMkLst>
            <pc:docMk/>
            <pc:sldMk cId="256600027" sldId="2147479555"/>
            <ac:spMk id="20" creationId="{703C6136-6D81-A63E-BF66-E8044ED0A71D}"/>
          </ac:spMkLst>
        </pc:spChg>
        <pc:spChg chg="add del mod">
          <ac:chgData name="Afzal, Tanzeel" userId="4c1bee66-eab8-4968-ab2a-d2fc86f622d3" providerId="ADAL" clId="{379C0618-42FE-451D-8FAA-3258774ED7D0}" dt="2023-12-11T13:59:34.489" v="717"/>
          <ac:spMkLst>
            <pc:docMk/>
            <pc:sldMk cId="256600027" sldId="2147479555"/>
            <ac:spMk id="21" creationId="{9ACF7465-C5A8-AB44-2A17-2789E31D1C38}"/>
          </ac:spMkLst>
        </pc:spChg>
        <pc:spChg chg="add del mod">
          <ac:chgData name="Afzal, Tanzeel" userId="4c1bee66-eab8-4968-ab2a-d2fc86f622d3" providerId="ADAL" clId="{379C0618-42FE-451D-8FAA-3258774ED7D0}" dt="2023-12-11T13:59:34.489" v="717"/>
          <ac:spMkLst>
            <pc:docMk/>
            <pc:sldMk cId="256600027" sldId="2147479555"/>
            <ac:spMk id="22" creationId="{2B59E34D-8BD9-AA16-B22E-1D6D94ACFFBF}"/>
          </ac:spMkLst>
        </pc:spChg>
        <pc:spChg chg="add del mod">
          <ac:chgData name="Afzal, Tanzeel" userId="4c1bee66-eab8-4968-ab2a-d2fc86f622d3" providerId="ADAL" clId="{379C0618-42FE-451D-8FAA-3258774ED7D0}" dt="2023-12-11T13:59:34.489" v="717"/>
          <ac:spMkLst>
            <pc:docMk/>
            <pc:sldMk cId="256600027" sldId="2147479555"/>
            <ac:spMk id="23" creationId="{D80139AC-42DA-E883-F9B8-17BB21249687}"/>
          </ac:spMkLst>
        </pc:spChg>
        <pc:spChg chg="add del mod">
          <ac:chgData name="Afzal, Tanzeel" userId="4c1bee66-eab8-4968-ab2a-d2fc86f622d3" providerId="ADAL" clId="{379C0618-42FE-451D-8FAA-3258774ED7D0}" dt="2023-12-11T13:59:34.489" v="717"/>
          <ac:spMkLst>
            <pc:docMk/>
            <pc:sldMk cId="256600027" sldId="2147479555"/>
            <ac:spMk id="24" creationId="{7FABB32F-C5CE-BE69-D3EC-BAC8AE81DB51}"/>
          </ac:spMkLst>
        </pc:spChg>
        <pc:spChg chg="add del mod">
          <ac:chgData name="Afzal, Tanzeel" userId="4c1bee66-eab8-4968-ab2a-d2fc86f622d3" providerId="ADAL" clId="{379C0618-42FE-451D-8FAA-3258774ED7D0}" dt="2023-12-11T13:59:34.489" v="717"/>
          <ac:spMkLst>
            <pc:docMk/>
            <pc:sldMk cId="256600027" sldId="2147479555"/>
            <ac:spMk id="25" creationId="{959C6C91-088A-7058-D50E-A10EB8DB4B7E}"/>
          </ac:spMkLst>
        </pc:spChg>
        <pc:spChg chg="add del mod">
          <ac:chgData name="Afzal, Tanzeel" userId="4c1bee66-eab8-4968-ab2a-d2fc86f622d3" providerId="ADAL" clId="{379C0618-42FE-451D-8FAA-3258774ED7D0}" dt="2023-12-11T13:59:34.489" v="717"/>
          <ac:spMkLst>
            <pc:docMk/>
            <pc:sldMk cId="256600027" sldId="2147479555"/>
            <ac:spMk id="27" creationId="{655FF2EE-A732-6AF3-39C8-E8D155B7FA48}"/>
          </ac:spMkLst>
        </pc:spChg>
        <pc:spChg chg="add del mod">
          <ac:chgData name="Afzal, Tanzeel" userId="4c1bee66-eab8-4968-ab2a-d2fc86f622d3" providerId="ADAL" clId="{379C0618-42FE-451D-8FAA-3258774ED7D0}" dt="2023-12-11T13:59:34.489" v="717"/>
          <ac:spMkLst>
            <pc:docMk/>
            <pc:sldMk cId="256600027" sldId="2147479555"/>
            <ac:spMk id="29" creationId="{A994EA68-CE39-4499-10BF-A9A9F6A7E8D9}"/>
          </ac:spMkLst>
        </pc:spChg>
        <pc:spChg chg="add del mod">
          <ac:chgData name="Afzal, Tanzeel" userId="4c1bee66-eab8-4968-ab2a-d2fc86f622d3" providerId="ADAL" clId="{379C0618-42FE-451D-8FAA-3258774ED7D0}" dt="2023-12-11T13:59:34.489" v="717"/>
          <ac:spMkLst>
            <pc:docMk/>
            <pc:sldMk cId="256600027" sldId="2147479555"/>
            <ac:spMk id="30" creationId="{9D3BBD95-763A-6D7A-3C3A-F7DA5D6E1D47}"/>
          </ac:spMkLst>
        </pc:spChg>
        <pc:spChg chg="add mod">
          <ac:chgData name="Afzal, Tanzeel" userId="4c1bee66-eab8-4968-ab2a-d2fc86f622d3" providerId="ADAL" clId="{379C0618-42FE-451D-8FAA-3258774ED7D0}" dt="2023-12-11T13:59:53.096" v="718"/>
          <ac:spMkLst>
            <pc:docMk/>
            <pc:sldMk cId="256600027" sldId="2147479555"/>
            <ac:spMk id="31" creationId="{5825BA2D-1B97-661E-272C-65BB0A4118A5}"/>
          </ac:spMkLst>
        </pc:spChg>
        <pc:spChg chg="add mod">
          <ac:chgData name="Afzal, Tanzeel" userId="4c1bee66-eab8-4968-ab2a-d2fc86f622d3" providerId="ADAL" clId="{379C0618-42FE-451D-8FAA-3258774ED7D0}" dt="2023-12-11T13:59:53.096" v="718"/>
          <ac:spMkLst>
            <pc:docMk/>
            <pc:sldMk cId="256600027" sldId="2147479555"/>
            <ac:spMk id="32" creationId="{425461AE-77E8-7D25-F3FC-D449AEA505B0}"/>
          </ac:spMkLst>
        </pc:spChg>
        <pc:spChg chg="add mod">
          <ac:chgData name="Afzal, Tanzeel" userId="4c1bee66-eab8-4968-ab2a-d2fc86f622d3" providerId="ADAL" clId="{379C0618-42FE-451D-8FAA-3258774ED7D0}" dt="2023-12-11T13:59:53.096" v="718"/>
          <ac:spMkLst>
            <pc:docMk/>
            <pc:sldMk cId="256600027" sldId="2147479555"/>
            <ac:spMk id="33" creationId="{5F59E401-6038-223E-FBB2-41D37DC3DAA9}"/>
          </ac:spMkLst>
        </pc:spChg>
        <pc:spChg chg="add mod">
          <ac:chgData name="Afzal, Tanzeel" userId="4c1bee66-eab8-4968-ab2a-d2fc86f622d3" providerId="ADAL" clId="{379C0618-42FE-451D-8FAA-3258774ED7D0}" dt="2023-12-11T13:59:53.096" v="718"/>
          <ac:spMkLst>
            <pc:docMk/>
            <pc:sldMk cId="256600027" sldId="2147479555"/>
            <ac:spMk id="34" creationId="{1A216E56-ACB8-2BF7-CBC8-D895FC56721D}"/>
          </ac:spMkLst>
        </pc:spChg>
        <pc:spChg chg="add mod">
          <ac:chgData name="Afzal, Tanzeel" userId="4c1bee66-eab8-4968-ab2a-d2fc86f622d3" providerId="ADAL" clId="{379C0618-42FE-451D-8FAA-3258774ED7D0}" dt="2023-12-11T13:59:53.096" v="718"/>
          <ac:spMkLst>
            <pc:docMk/>
            <pc:sldMk cId="256600027" sldId="2147479555"/>
            <ac:spMk id="35" creationId="{1FA3CA76-8A4E-78CE-031A-AF64F450B5DB}"/>
          </ac:spMkLst>
        </pc:spChg>
        <pc:spChg chg="add mod">
          <ac:chgData name="Afzal, Tanzeel" userId="4c1bee66-eab8-4968-ab2a-d2fc86f622d3" providerId="ADAL" clId="{379C0618-42FE-451D-8FAA-3258774ED7D0}" dt="2023-12-11T13:59:53.096" v="718"/>
          <ac:spMkLst>
            <pc:docMk/>
            <pc:sldMk cId="256600027" sldId="2147479555"/>
            <ac:spMk id="36" creationId="{A3EEE8D3-37A8-4A83-8C0E-13799018C6D9}"/>
          </ac:spMkLst>
        </pc:spChg>
        <pc:spChg chg="add mod">
          <ac:chgData name="Afzal, Tanzeel" userId="4c1bee66-eab8-4968-ab2a-d2fc86f622d3" providerId="ADAL" clId="{379C0618-42FE-451D-8FAA-3258774ED7D0}" dt="2023-12-11T13:59:53.096" v="718"/>
          <ac:spMkLst>
            <pc:docMk/>
            <pc:sldMk cId="256600027" sldId="2147479555"/>
            <ac:spMk id="37" creationId="{50D15220-0001-DA01-3055-B50CDC0FB9E9}"/>
          </ac:spMkLst>
        </pc:spChg>
        <pc:spChg chg="add mod">
          <ac:chgData name="Afzal, Tanzeel" userId="4c1bee66-eab8-4968-ab2a-d2fc86f622d3" providerId="ADAL" clId="{379C0618-42FE-451D-8FAA-3258774ED7D0}" dt="2023-12-11T13:59:53.096" v="718"/>
          <ac:spMkLst>
            <pc:docMk/>
            <pc:sldMk cId="256600027" sldId="2147479555"/>
            <ac:spMk id="38" creationId="{2E413D39-49AC-F253-F163-5B71743F2F0B}"/>
          </ac:spMkLst>
        </pc:spChg>
        <pc:spChg chg="add mod">
          <ac:chgData name="Afzal, Tanzeel" userId="4c1bee66-eab8-4968-ab2a-d2fc86f622d3" providerId="ADAL" clId="{379C0618-42FE-451D-8FAA-3258774ED7D0}" dt="2023-12-11T13:59:53.096" v="718"/>
          <ac:spMkLst>
            <pc:docMk/>
            <pc:sldMk cId="256600027" sldId="2147479555"/>
            <ac:spMk id="39" creationId="{CFB7B9D0-4EBE-4E6B-8152-CAA49B2EE314}"/>
          </ac:spMkLst>
        </pc:spChg>
        <pc:spChg chg="add mod">
          <ac:chgData name="Afzal, Tanzeel" userId="4c1bee66-eab8-4968-ab2a-d2fc86f622d3" providerId="ADAL" clId="{379C0618-42FE-451D-8FAA-3258774ED7D0}" dt="2023-12-11T13:59:53.096" v="718"/>
          <ac:spMkLst>
            <pc:docMk/>
            <pc:sldMk cId="256600027" sldId="2147479555"/>
            <ac:spMk id="40" creationId="{4C1C5595-A5FE-85BD-6734-E088F9A3C1BA}"/>
          </ac:spMkLst>
        </pc:spChg>
        <pc:spChg chg="add mod">
          <ac:chgData name="Afzal, Tanzeel" userId="4c1bee66-eab8-4968-ab2a-d2fc86f622d3" providerId="ADAL" clId="{379C0618-42FE-451D-8FAA-3258774ED7D0}" dt="2023-12-11T13:59:53.096" v="718"/>
          <ac:spMkLst>
            <pc:docMk/>
            <pc:sldMk cId="256600027" sldId="2147479555"/>
            <ac:spMk id="41" creationId="{B1A99134-B882-45F7-8647-512639B78DE4}"/>
          </ac:spMkLst>
        </pc:spChg>
        <pc:spChg chg="add mod">
          <ac:chgData name="Afzal, Tanzeel" userId="4c1bee66-eab8-4968-ab2a-d2fc86f622d3" providerId="ADAL" clId="{379C0618-42FE-451D-8FAA-3258774ED7D0}" dt="2023-12-11T13:59:53.096" v="718"/>
          <ac:spMkLst>
            <pc:docMk/>
            <pc:sldMk cId="256600027" sldId="2147479555"/>
            <ac:spMk id="42" creationId="{2B40D0E7-2A64-CE6D-A1B4-6F0A4C130999}"/>
          </ac:spMkLst>
        </pc:spChg>
        <pc:spChg chg="add mod">
          <ac:chgData name="Afzal, Tanzeel" userId="4c1bee66-eab8-4968-ab2a-d2fc86f622d3" providerId="ADAL" clId="{379C0618-42FE-451D-8FAA-3258774ED7D0}" dt="2023-12-11T16:34:04.786" v="1318" actId="313"/>
          <ac:spMkLst>
            <pc:docMk/>
            <pc:sldMk cId="256600027" sldId="2147479555"/>
            <ac:spMk id="43" creationId="{60D148AD-1661-0128-790F-7598C0E4E0DF}"/>
          </ac:spMkLst>
        </pc:spChg>
        <pc:spChg chg="add mod">
          <ac:chgData name="Afzal, Tanzeel" userId="4c1bee66-eab8-4968-ab2a-d2fc86f622d3" providerId="ADAL" clId="{379C0618-42FE-451D-8FAA-3258774ED7D0}" dt="2023-12-11T13:59:53.096" v="718"/>
          <ac:spMkLst>
            <pc:docMk/>
            <pc:sldMk cId="256600027" sldId="2147479555"/>
            <ac:spMk id="44" creationId="{BA7A9EC4-3749-D594-30A6-C46ED7A7AD31}"/>
          </ac:spMkLst>
        </pc:spChg>
        <pc:spChg chg="add mod">
          <ac:chgData name="Afzal, Tanzeel" userId="4c1bee66-eab8-4968-ab2a-d2fc86f622d3" providerId="ADAL" clId="{379C0618-42FE-451D-8FAA-3258774ED7D0}" dt="2023-12-11T16:34:20.233" v="1333" actId="313"/>
          <ac:spMkLst>
            <pc:docMk/>
            <pc:sldMk cId="256600027" sldId="2147479555"/>
            <ac:spMk id="45" creationId="{60AA774A-DBCD-FA2C-C4AC-F2043FAA9299}"/>
          </ac:spMkLst>
        </pc:spChg>
        <pc:spChg chg="add mod">
          <ac:chgData name="Afzal, Tanzeel" userId="4c1bee66-eab8-4968-ab2a-d2fc86f622d3" providerId="ADAL" clId="{379C0618-42FE-451D-8FAA-3258774ED7D0}" dt="2023-12-11T13:59:53.096" v="718"/>
          <ac:spMkLst>
            <pc:docMk/>
            <pc:sldMk cId="256600027" sldId="2147479555"/>
            <ac:spMk id="46" creationId="{B478C9EA-8A22-4ADF-17CC-1DCD4C2103D6}"/>
          </ac:spMkLst>
        </pc:spChg>
        <pc:spChg chg="add mod">
          <ac:chgData name="Afzal, Tanzeel" userId="4c1bee66-eab8-4968-ab2a-d2fc86f622d3" providerId="ADAL" clId="{379C0618-42FE-451D-8FAA-3258774ED7D0}" dt="2023-12-11T13:59:53.096" v="718"/>
          <ac:spMkLst>
            <pc:docMk/>
            <pc:sldMk cId="256600027" sldId="2147479555"/>
            <ac:spMk id="47" creationId="{DE57D1B7-E8DE-BB19-1641-D9B89174FFB4}"/>
          </ac:spMkLst>
        </pc:spChg>
        <pc:spChg chg="add mod">
          <ac:chgData name="Afzal, Tanzeel" userId="4c1bee66-eab8-4968-ab2a-d2fc86f622d3" providerId="ADAL" clId="{379C0618-42FE-451D-8FAA-3258774ED7D0}" dt="2023-12-11T13:59:53.096" v="718"/>
          <ac:spMkLst>
            <pc:docMk/>
            <pc:sldMk cId="256600027" sldId="2147479555"/>
            <ac:spMk id="48" creationId="{56159F65-052E-3F92-D2A8-C8DE36797E44}"/>
          </ac:spMkLst>
        </pc:spChg>
        <pc:spChg chg="add mod">
          <ac:chgData name="Afzal, Tanzeel" userId="4c1bee66-eab8-4968-ab2a-d2fc86f622d3" providerId="ADAL" clId="{379C0618-42FE-451D-8FAA-3258774ED7D0}" dt="2023-12-11T13:59:53.096" v="718"/>
          <ac:spMkLst>
            <pc:docMk/>
            <pc:sldMk cId="256600027" sldId="2147479555"/>
            <ac:spMk id="50" creationId="{47111B73-8CA5-662F-02B4-17CFE19A4358}"/>
          </ac:spMkLst>
        </pc:spChg>
        <pc:spChg chg="add mod">
          <ac:chgData name="Afzal, Tanzeel" userId="4c1bee66-eab8-4968-ab2a-d2fc86f622d3" providerId="ADAL" clId="{379C0618-42FE-451D-8FAA-3258774ED7D0}" dt="2023-12-11T14:00:40.053" v="734" actId="313"/>
          <ac:spMkLst>
            <pc:docMk/>
            <pc:sldMk cId="256600027" sldId="2147479555"/>
            <ac:spMk id="52" creationId="{A264C1D1-7A5E-CD29-D991-701CE8F810FA}"/>
          </ac:spMkLst>
        </pc:spChg>
        <pc:graphicFrameChg chg="del">
          <ac:chgData name="Afzal, Tanzeel" userId="4c1bee66-eab8-4968-ab2a-d2fc86f622d3" providerId="ADAL" clId="{379C0618-42FE-451D-8FAA-3258774ED7D0}" dt="2023-12-11T13:58:45.764" v="698" actId="478"/>
          <ac:graphicFrameMkLst>
            <pc:docMk/>
            <pc:sldMk cId="256600027" sldId="2147479555"/>
            <ac:graphicFrameMk id="6" creationId="{65A3CD0E-CEED-0CC7-421E-DF7B1C9B16EC}"/>
          </ac:graphicFrameMkLst>
        </pc:graphicFrameChg>
        <pc:cxnChg chg="add del mod">
          <ac:chgData name="Afzal, Tanzeel" userId="4c1bee66-eab8-4968-ab2a-d2fc86f622d3" providerId="ADAL" clId="{379C0618-42FE-451D-8FAA-3258774ED7D0}" dt="2023-12-11T13:59:34.489" v="717"/>
          <ac:cxnSpMkLst>
            <pc:docMk/>
            <pc:sldMk cId="256600027" sldId="2147479555"/>
            <ac:cxnSpMk id="26" creationId="{F51F7F04-CED1-C2FD-EEF7-46C525065A45}"/>
          </ac:cxnSpMkLst>
        </pc:cxnChg>
        <pc:cxnChg chg="add del mod">
          <ac:chgData name="Afzal, Tanzeel" userId="4c1bee66-eab8-4968-ab2a-d2fc86f622d3" providerId="ADAL" clId="{379C0618-42FE-451D-8FAA-3258774ED7D0}" dt="2023-12-11T13:59:34.489" v="717"/>
          <ac:cxnSpMkLst>
            <pc:docMk/>
            <pc:sldMk cId="256600027" sldId="2147479555"/>
            <ac:cxnSpMk id="28" creationId="{FF7A8FAA-1EF8-86B3-64B0-0696AC2E127E}"/>
          </ac:cxnSpMkLst>
        </pc:cxnChg>
        <pc:cxnChg chg="add mod">
          <ac:chgData name="Afzal, Tanzeel" userId="4c1bee66-eab8-4968-ab2a-d2fc86f622d3" providerId="ADAL" clId="{379C0618-42FE-451D-8FAA-3258774ED7D0}" dt="2023-12-11T13:59:53.096" v="718"/>
          <ac:cxnSpMkLst>
            <pc:docMk/>
            <pc:sldMk cId="256600027" sldId="2147479555"/>
            <ac:cxnSpMk id="49" creationId="{0D4ABC98-A504-50E7-2FB5-5ED49EED33B7}"/>
          </ac:cxnSpMkLst>
        </pc:cxnChg>
        <pc:cxnChg chg="add mod">
          <ac:chgData name="Afzal, Tanzeel" userId="4c1bee66-eab8-4968-ab2a-d2fc86f622d3" providerId="ADAL" clId="{379C0618-42FE-451D-8FAA-3258774ED7D0}" dt="2023-12-11T13:59:53.096" v="718"/>
          <ac:cxnSpMkLst>
            <pc:docMk/>
            <pc:sldMk cId="256600027" sldId="2147479555"/>
            <ac:cxnSpMk id="51" creationId="{AED6C678-64F6-10D3-FB4C-565FC6E04054}"/>
          </ac:cxnSpMkLst>
        </pc:cxnChg>
      </pc:sldChg>
      <pc:sldChg chg="add del">
        <pc:chgData name="Afzal, Tanzeel" userId="4c1bee66-eab8-4968-ab2a-d2fc86f622d3" providerId="ADAL" clId="{379C0618-42FE-451D-8FAA-3258774ED7D0}" dt="2023-12-11T12:33:28.099" v="385" actId="47"/>
        <pc:sldMkLst>
          <pc:docMk/>
          <pc:sldMk cId="3870620563" sldId="2147479555"/>
        </pc:sldMkLst>
      </pc:sldChg>
      <pc:sldChg chg="add del">
        <pc:chgData name="Afzal, Tanzeel" userId="4c1bee66-eab8-4968-ab2a-d2fc86f622d3" providerId="ADAL" clId="{379C0618-42FE-451D-8FAA-3258774ED7D0}" dt="2023-12-11T12:33:28.099" v="385" actId="47"/>
        <pc:sldMkLst>
          <pc:docMk/>
          <pc:sldMk cId="1560310412" sldId="2147479556"/>
        </pc:sldMkLst>
      </pc:sldChg>
      <pc:sldChg chg="addSp delSp modSp add mod">
        <pc:chgData name="Afzal, Tanzeel" userId="4c1bee66-eab8-4968-ab2a-d2fc86f622d3" providerId="ADAL" clId="{379C0618-42FE-451D-8FAA-3258774ED7D0}" dt="2023-12-11T16:32:54.773" v="1282" actId="20577"/>
        <pc:sldMkLst>
          <pc:docMk/>
          <pc:sldMk cId="4098489044" sldId="2147479556"/>
        </pc:sldMkLst>
        <pc:spChg chg="mod">
          <ac:chgData name="Afzal, Tanzeel" userId="4c1bee66-eab8-4968-ab2a-d2fc86f622d3" providerId="ADAL" clId="{379C0618-42FE-451D-8FAA-3258774ED7D0}" dt="2023-12-11T16:32:54.773" v="1282" actId="20577"/>
          <ac:spMkLst>
            <pc:docMk/>
            <pc:sldMk cId="4098489044" sldId="2147479556"/>
            <ac:spMk id="4" creationId="{C4ED0885-CD66-777A-B69A-7B47DBCD398F}"/>
          </ac:spMkLst>
        </pc:spChg>
        <pc:spChg chg="mod">
          <ac:chgData name="Afzal, Tanzeel" userId="4c1bee66-eab8-4968-ab2a-d2fc86f622d3" providerId="ADAL" clId="{379C0618-42FE-451D-8FAA-3258774ED7D0}" dt="2023-12-11T16:22:08.341" v="1246" actId="255"/>
          <ac:spMkLst>
            <pc:docMk/>
            <pc:sldMk cId="4098489044" sldId="2147479556"/>
            <ac:spMk id="14" creationId="{922B792C-16FA-517B-DB65-2F5DBA64C44C}"/>
          </ac:spMkLst>
        </pc:spChg>
        <pc:spChg chg="mod">
          <ac:chgData name="Afzal, Tanzeel" userId="4c1bee66-eab8-4968-ab2a-d2fc86f622d3" providerId="ADAL" clId="{379C0618-42FE-451D-8FAA-3258774ED7D0}" dt="2023-12-11T16:01:39.119" v="1200" actId="207"/>
          <ac:spMkLst>
            <pc:docMk/>
            <pc:sldMk cId="4098489044" sldId="2147479556"/>
            <ac:spMk id="18" creationId="{86A54CEF-AA2C-21E1-A816-4FA67F5451E5}"/>
          </ac:spMkLst>
        </pc:spChg>
        <pc:spChg chg="mod">
          <ac:chgData name="Afzal, Tanzeel" userId="4c1bee66-eab8-4968-ab2a-d2fc86f622d3" providerId="ADAL" clId="{379C0618-42FE-451D-8FAA-3258774ED7D0}" dt="2023-12-11T16:01:39.119" v="1200" actId="207"/>
          <ac:spMkLst>
            <pc:docMk/>
            <pc:sldMk cId="4098489044" sldId="2147479556"/>
            <ac:spMk id="19" creationId="{227E6A4D-86B3-6A1C-9977-0AB250C3CE3E}"/>
          </ac:spMkLst>
        </pc:spChg>
        <pc:spChg chg="mod">
          <ac:chgData name="Afzal, Tanzeel" userId="4c1bee66-eab8-4968-ab2a-d2fc86f622d3" providerId="ADAL" clId="{379C0618-42FE-451D-8FAA-3258774ED7D0}" dt="2023-12-11T16:01:39.119" v="1200" actId="207"/>
          <ac:spMkLst>
            <pc:docMk/>
            <pc:sldMk cId="4098489044" sldId="2147479556"/>
            <ac:spMk id="20" creationId="{F815E9F8-5169-375F-4B57-FE81945D661E}"/>
          </ac:spMkLst>
        </pc:spChg>
        <pc:spChg chg="mod">
          <ac:chgData name="Afzal, Tanzeel" userId="4c1bee66-eab8-4968-ab2a-d2fc86f622d3" providerId="ADAL" clId="{379C0618-42FE-451D-8FAA-3258774ED7D0}" dt="2023-12-11T16:01:39.119" v="1200" actId="207"/>
          <ac:spMkLst>
            <pc:docMk/>
            <pc:sldMk cId="4098489044" sldId="2147479556"/>
            <ac:spMk id="21" creationId="{E69BE695-F95C-41AB-287D-807CDFCC3C44}"/>
          </ac:spMkLst>
        </pc:spChg>
        <pc:spChg chg="mod">
          <ac:chgData name="Afzal, Tanzeel" userId="4c1bee66-eab8-4968-ab2a-d2fc86f622d3" providerId="ADAL" clId="{379C0618-42FE-451D-8FAA-3258774ED7D0}" dt="2023-12-11T16:01:39.119" v="1200" actId="207"/>
          <ac:spMkLst>
            <pc:docMk/>
            <pc:sldMk cId="4098489044" sldId="2147479556"/>
            <ac:spMk id="22" creationId="{CD9F2662-9807-EA33-7D0F-773247FB08D1}"/>
          </ac:spMkLst>
        </pc:spChg>
        <pc:spChg chg="mod">
          <ac:chgData name="Afzal, Tanzeel" userId="4c1bee66-eab8-4968-ab2a-d2fc86f622d3" providerId="ADAL" clId="{379C0618-42FE-451D-8FAA-3258774ED7D0}" dt="2023-12-11T16:01:39.119" v="1200" actId="207"/>
          <ac:spMkLst>
            <pc:docMk/>
            <pc:sldMk cId="4098489044" sldId="2147479556"/>
            <ac:spMk id="23" creationId="{5DE521B1-2A2C-4D92-6B95-9E53DBD06784}"/>
          </ac:spMkLst>
        </pc:spChg>
        <pc:spChg chg="mod">
          <ac:chgData name="Afzal, Tanzeel" userId="4c1bee66-eab8-4968-ab2a-d2fc86f622d3" providerId="ADAL" clId="{379C0618-42FE-451D-8FAA-3258774ED7D0}" dt="2023-12-11T16:01:39.119" v="1200" actId="207"/>
          <ac:spMkLst>
            <pc:docMk/>
            <pc:sldMk cId="4098489044" sldId="2147479556"/>
            <ac:spMk id="24" creationId="{D30D61A1-ECC4-4B78-63BA-E3ED438F4544}"/>
          </ac:spMkLst>
        </pc:spChg>
        <pc:spChg chg="mod">
          <ac:chgData name="Afzal, Tanzeel" userId="4c1bee66-eab8-4968-ab2a-d2fc86f622d3" providerId="ADAL" clId="{379C0618-42FE-451D-8FAA-3258774ED7D0}" dt="2023-12-11T16:01:39.119" v="1200" actId="207"/>
          <ac:spMkLst>
            <pc:docMk/>
            <pc:sldMk cId="4098489044" sldId="2147479556"/>
            <ac:spMk id="25" creationId="{DEACA72A-9734-8D0F-92AE-02B05A585740}"/>
          </ac:spMkLst>
        </pc:spChg>
        <pc:spChg chg="mod">
          <ac:chgData name="Afzal, Tanzeel" userId="4c1bee66-eab8-4968-ab2a-d2fc86f622d3" providerId="ADAL" clId="{379C0618-42FE-451D-8FAA-3258774ED7D0}" dt="2023-12-11T16:01:39.119" v="1200" actId="207"/>
          <ac:spMkLst>
            <pc:docMk/>
            <pc:sldMk cId="4098489044" sldId="2147479556"/>
            <ac:spMk id="26" creationId="{DEC5F095-6816-3296-71EB-2D568D1A912B}"/>
          </ac:spMkLst>
        </pc:spChg>
        <pc:spChg chg="mod">
          <ac:chgData name="Afzal, Tanzeel" userId="4c1bee66-eab8-4968-ab2a-d2fc86f622d3" providerId="ADAL" clId="{379C0618-42FE-451D-8FAA-3258774ED7D0}" dt="2023-12-11T16:01:39.119" v="1200" actId="207"/>
          <ac:spMkLst>
            <pc:docMk/>
            <pc:sldMk cId="4098489044" sldId="2147479556"/>
            <ac:spMk id="27" creationId="{23333B76-D7B3-0431-859B-2ED78B394105}"/>
          </ac:spMkLst>
        </pc:spChg>
        <pc:spChg chg="mod">
          <ac:chgData name="Afzal, Tanzeel" userId="4c1bee66-eab8-4968-ab2a-d2fc86f622d3" providerId="ADAL" clId="{379C0618-42FE-451D-8FAA-3258774ED7D0}" dt="2023-12-11T16:01:39.119" v="1200" actId="207"/>
          <ac:spMkLst>
            <pc:docMk/>
            <pc:sldMk cId="4098489044" sldId="2147479556"/>
            <ac:spMk id="28" creationId="{ABA41DAE-C844-D718-359B-46CA303CA47F}"/>
          </ac:spMkLst>
        </pc:spChg>
        <pc:spChg chg="mod">
          <ac:chgData name="Afzal, Tanzeel" userId="4c1bee66-eab8-4968-ab2a-d2fc86f622d3" providerId="ADAL" clId="{379C0618-42FE-451D-8FAA-3258774ED7D0}" dt="2023-12-11T16:01:39.119" v="1200" actId="207"/>
          <ac:spMkLst>
            <pc:docMk/>
            <pc:sldMk cId="4098489044" sldId="2147479556"/>
            <ac:spMk id="29" creationId="{3A6EA236-6063-3EB8-7B9B-8F17F710B8A9}"/>
          </ac:spMkLst>
        </pc:spChg>
        <pc:spChg chg="mod">
          <ac:chgData name="Afzal, Tanzeel" userId="4c1bee66-eab8-4968-ab2a-d2fc86f622d3" providerId="ADAL" clId="{379C0618-42FE-451D-8FAA-3258774ED7D0}" dt="2023-12-11T16:01:39.119" v="1200" actId="207"/>
          <ac:spMkLst>
            <pc:docMk/>
            <pc:sldMk cId="4098489044" sldId="2147479556"/>
            <ac:spMk id="30" creationId="{42E9F2BB-E08A-1958-7C57-2087559FE126}"/>
          </ac:spMkLst>
        </pc:spChg>
        <pc:spChg chg="mod">
          <ac:chgData name="Afzal, Tanzeel" userId="4c1bee66-eab8-4968-ab2a-d2fc86f622d3" providerId="ADAL" clId="{379C0618-42FE-451D-8FAA-3258774ED7D0}" dt="2023-12-11T16:01:39.119" v="1200" actId="207"/>
          <ac:spMkLst>
            <pc:docMk/>
            <pc:sldMk cId="4098489044" sldId="2147479556"/>
            <ac:spMk id="31" creationId="{B5506293-8ED1-FFC9-0ACA-0784716CC62D}"/>
          </ac:spMkLst>
        </pc:spChg>
        <pc:spChg chg="mod">
          <ac:chgData name="Afzal, Tanzeel" userId="4c1bee66-eab8-4968-ab2a-d2fc86f622d3" providerId="ADAL" clId="{379C0618-42FE-451D-8FAA-3258774ED7D0}" dt="2023-12-11T16:01:39.119" v="1200" actId="207"/>
          <ac:spMkLst>
            <pc:docMk/>
            <pc:sldMk cId="4098489044" sldId="2147479556"/>
            <ac:spMk id="32" creationId="{1E406E83-F996-BCB4-F02F-A7AFFE018A93}"/>
          </ac:spMkLst>
        </pc:spChg>
        <pc:spChg chg="mod">
          <ac:chgData name="Afzal, Tanzeel" userId="4c1bee66-eab8-4968-ab2a-d2fc86f622d3" providerId="ADAL" clId="{379C0618-42FE-451D-8FAA-3258774ED7D0}" dt="2023-12-11T16:01:39.119" v="1200" actId="207"/>
          <ac:spMkLst>
            <pc:docMk/>
            <pc:sldMk cId="4098489044" sldId="2147479556"/>
            <ac:spMk id="33" creationId="{E5A0EC54-0F47-F82D-673C-FBBA2835755E}"/>
          </ac:spMkLst>
        </pc:spChg>
        <pc:spChg chg="mod">
          <ac:chgData name="Afzal, Tanzeel" userId="4c1bee66-eab8-4968-ab2a-d2fc86f622d3" providerId="ADAL" clId="{379C0618-42FE-451D-8FAA-3258774ED7D0}" dt="2023-12-11T16:01:39.119" v="1200" actId="207"/>
          <ac:spMkLst>
            <pc:docMk/>
            <pc:sldMk cId="4098489044" sldId="2147479556"/>
            <ac:spMk id="34" creationId="{8ED3A2BE-E831-F696-6CD3-2CC0C8ED27B5}"/>
          </ac:spMkLst>
        </pc:spChg>
        <pc:spChg chg="mod">
          <ac:chgData name="Afzal, Tanzeel" userId="4c1bee66-eab8-4968-ab2a-d2fc86f622d3" providerId="ADAL" clId="{379C0618-42FE-451D-8FAA-3258774ED7D0}" dt="2023-12-11T16:01:39.119" v="1200" actId="207"/>
          <ac:spMkLst>
            <pc:docMk/>
            <pc:sldMk cId="4098489044" sldId="2147479556"/>
            <ac:spMk id="43" creationId="{DDDBB628-45A5-487A-38E6-1B7EC60B25D6}"/>
          </ac:spMkLst>
        </pc:spChg>
        <pc:spChg chg="mod">
          <ac:chgData name="Afzal, Tanzeel" userId="4c1bee66-eab8-4968-ab2a-d2fc86f622d3" providerId="ADAL" clId="{379C0618-42FE-451D-8FAA-3258774ED7D0}" dt="2023-12-11T16:01:39.119" v="1200" actId="207"/>
          <ac:spMkLst>
            <pc:docMk/>
            <pc:sldMk cId="4098489044" sldId="2147479556"/>
            <ac:spMk id="44" creationId="{CECD8F43-EFE5-0600-DCD8-890F2BF2A3F5}"/>
          </ac:spMkLst>
        </pc:spChg>
        <pc:spChg chg="mod">
          <ac:chgData name="Afzal, Tanzeel" userId="4c1bee66-eab8-4968-ab2a-d2fc86f622d3" providerId="ADAL" clId="{379C0618-42FE-451D-8FAA-3258774ED7D0}" dt="2023-12-11T16:01:39.119" v="1200" actId="207"/>
          <ac:spMkLst>
            <pc:docMk/>
            <pc:sldMk cId="4098489044" sldId="2147479556"/>
            <ac:spMk id="45" creationId="{21587D87-3BF1-17FB-2AAF-7FFD33254526}"/>
          </ac:spMkLst>
        </pc:spChg>
        <pc:spChg chg="mod">
          <ac:chgData name="Afzal, Tanzeel" userId="4c1bee66-eab8-4968-ab2a-d2fc86f622d3" providerId="ADAL" clId="{379C0618-42FE-451D-8FAA-3258774ED7D0}" dt="2023-12-11T16:01:39.119" v="1200" actId="207"/>
          <ac:spMkLst>
            <pc:docMk/>
            <pc:sldMk cId="4098489044" sldId="2147479556"/>
            <ac:spMk id="46" creationId="{2309D403-2E58-2E63-FC6C-9CCC59F4D56F}"/>
          </ac:spMkLst>
        </pc:spChg>
        <pc:spChg chg="mod">
          <ac:chgData name="Afzal, Tanzeel" userId="4c1bee66-eab8-4968-ab2a-d2fc86f622d3" providerId="ADAL" clId="{379C0618-42FE-451D-8FAA-3258774ED7D0}" dt="2023-12-11T16:01:39.119" v="1200" actId="207"/>
          <ac:spMkLst>
            <pc:docMk/>
            <pc:sldMk cId="4098489044" sldId="2147479556"/>
            <ac:spMk id="47" creationId="{F773A7AA-DF2D-0CE0-E6B2-17BA6D4E315B}"/>
          </ac:spMkLst>
        </pc:spChg>
        <pc:spChg chg="mod">
          <ac:chgData name="Afzal, Tanzeel" userId="4c1bee66-eab8-4968-ab2a-d2fc86f622d3" providerId="ADAL" clId="{379C0618-42FE-451D-8FAA-3258774ED7D0}" dt="2023-12-11T16:01:39.119" v="1200" actId="207"/>
          <ac:spMkLst>
            <pc:docMk/>
            <pc:sldMk cId="4098489044" sldId="2147479556"/>
            <ac:spMk id="48" creationId="{799E8555-47C7-7244-0961-E2D0F60CF687}"/>
          </ac:spMkLst>
        </pc:spChg>
        <pc:spChg chg="mod">
          <ac:chgData name="Afzal, Tanzeel" userId="4c1bee66-eab8-4968-ab2a-d2fc86f622d3" providerId="ADAL" clId="{379C0618-42FE-451D-8FAA-3258774ED7D0}" dt="2023-12-11T16:01:39.119" v="1200" actId="207"/>
          <ac:spMkLst>
            <pc:docMk/>
            <pc:sldMk cId="4098489044" sldId="2147479556"/>
            <ac:spMk id="49" creationId="{CCB4D257-BC61-B095-D25F-CF4819A2B19F}"/>
          </ac:spMkLst>
        </pc:spChg>
        <pc:spChg chg="mod">
          <ac:chgData name="Afzal, Tanzeel" userId="4c1bee66-eab8-4968-ab2a-d2fc86f622d3" providerId="ADAL" clId="{379C0618-42FE-451D-8FAA-3258774ED7D0}" dt="2023-12-11T16:01:39.119" v="1200" actId="207"/>
          <ac:spMkLst>
            <pc:docMk/>
            <pc:sldMk cId="4098489044" sldId="2147479556"/>
            <ac:spMk id="50" creationId="{D874F956-E82D-1598-6B94-B1BCDD3CAA36}"/>
          </ac:spMkLst>
        </pc:spChg>
        <pc:spChg chg="mod">
          <ac:chgData name="Afzal, Tanzeel" userId="4c1bee66-eab8-4968-ab2a-d2fc86f622d3" providerId="ADAL" clId="{379C0618-42FE-451D-8FAA-3258774ED7D0}" dt="2023-12-11T16:01:49.426" v="1202"/>
          <ac:spMkLst>
            <pc:docMk/>
            <pc:sldMk cId="4098489044" sldId="2147479556"/>
            <ac:spMk id="52" creationId="{5204DD12-3167-A966-D43D-1FA86D57DE44}"/>
          </ac:spMkLst>
        </pc:spChg>
        <pc:spChg chg="mod">
          <ac:chgData name="Afzal, Tanzeel" userId="4c1bee66-eab8-4968-ab2a-d2fc86f622d3" providerId="ADAL" clId="{379C0618-42FE-451D-8FAA-3258774ED7D0}" dt="2023-12-11T16:01:49.426" v="1202"/>
          <ac:spMkLst>
            <pc:docMk/>
            <pc:sldMk cId="4098489044" sldId="2147479556"/>
            <ac:spMk id="53" creationId="{B2AD30DB-FC1A-7B94-3BC2-05AA8C49F538}"/>
          </ac:spMkLst>
        </pc:spChg>
        <pc:spChg chg="mod">
          <ac:chgData name="Afzal, Tanzeel" userId="4c1bee66-eab8-4968-ab2a-d2fc86f622d3" providerId="ADAL" clId="{379C0618-42FE-451D-8FAA-3258774ED7D0}" dt="2023-12-11T16:01:49.426" v="1202"/>
          <ac:spMkLst>
            <pc:docMk/>
            <pc:sldMk cId="4098489044" sldId="2147479556"/>
            <ac:spMk id="54" creationId="{C668CC24-E66A-E2E7-103F-8389BEB4D5AA}"/>
          </ac:spMkLst>
        </pc:spChg>
        <pc:spChg chg="mod">
          <ac:chgData name="Afzal, Tanzeel" userId="4c1bee66-eab8-4968-ab2a-d2fc86f622d3" providerId="ADAL" clId="{379C0618-42FE-451D-8FAA-3258774ED7D0}" dt="2023-12-11T16:01:49.426" v="1202"/>
          <ac:spMkLst>
            <pc:docMk/>
            <pc:sldMk cId="4098489044" sldId="2147479556"/>
            <ac:spMk id="55" creationId="{A2549E6D-AA03-DEC4-61D8-BCA8959AB1A1}"/>
          </ac:spMkLst>
        </pc:spChg>
        <pc:spChg chg="mod">
          <ac:chgData name="Afzal, Tanzeel" userId="4c1bee66-eab8-4968-ab2a-d2fc86f622d3" providerId="ADAL" clId="{379C0618-42FE-451D-8FAA-3258774ED7D0}" dt="2023-12-11T16:01:49.426" v="1202"/>
          <ac:spMkLst>
            <pc:docMk/>
            <pc:sldMk cId="4098489044" sldId="2147479556"/>
            <ac:spMk id="56" creationId="{B0E22E41-DD9D-CEAE-BB80-7D947044728B}"/>
          </ac:spMkLst>
        </pc:spChg>
        <pc:spChg chg="mod">
          <ac:chgData name="Afzal, Tanzeel" userId="4c1bee66-eab8-4968-ab2a-d2fc86f622d3" providerId="ADAL" clId="{379C0618-42FE-451D-8FAA-3258774ED7D0}" dt="2023-12-11T16:01:49.426" v="1202"/>
          <ac:spMkLst>
            <pc:docMk/>
            <pc:sldMk cId="4098489044" sldId="2147479556"/>
            <ac:spMk id="57" creationId="{E439D600-2F7F-F8A8-9721-9253250DA677}"/>
          </ac:spMkLst>
        </pc:spChg>
        <pc:spChg chg="mod">
          <ac:chgData name="Afzal, Tanzeel" userId="4c1bee66-eab8-4968-ab2a-d2fc86f622d3" providerId="ADAL" clId="{379C0618-42FE-451D-8FAA-3258774ED7D0}" dt="2023-12-11T16:01:49.426" v="1202"/>
          <ac:spMkLst>
            <pc:docMk/>
            <pc:sldMk cId="4098489044" sldId="2147479556"/>
            <ac:spMk id="58" creationId="{9AE97C9E-B27E-35C6-6389-789A30CEDFB0}"/>
          </ac:spMkLst>
        </pc:spChg>
        <pc:spChg chg="mod">
          <ac:chgData name="Afzal, Tanzeel" userId="4c1bee66-eab8-4968-ab2a-d2fc86f622d3" providerId="ADAL" clId="{379C0618-42FE-451D-8FAA-3258774ED7D0}" dt="2023-12-11T16:01:49.426" v="1202"/>
          <ac:spMkLst>
            <pc:docMk/>
            <pc:sldMk cId="4098489044" sldId="2147479556"/>
            <ac:spMk id="59" creationId="{9EC7DFD3-6604-EEBF-662C-AB6109A3928D}"/>
          </ac:spMkLst>
        </pc:spChg>
        <pc:spChg chg="mod">
          <ac:chgData name="Afzal, Tanzeel" userId="4c1bee66-eab8-4968-ab2a-d2fc86f622d3" providerId="ADAL" clId="{379C0618-42FE-451D-8FAA-3258774ED7D0}" dt="2023-12-11T16:01:49.426" v="1202"/>
          <ac:spMkLst>
            <pc:docMk/>
            <pc:sldMk cId="4098489044" sldId="2147479556"/>
            <ac:spMk id="60" creationId="{38FCC577-1107-3B35-7292-A2B1AC017814}"/>
          </ac:spMkLst>
        </pc:spChg>
        <pc:spChg chg="mod">
          <ac:chgData name="Afzal, Tanzeel" userId="4c1bee66-eab8-4968-ab2a-d2fc86f622d3" providerId="ADAL" clId="{379C0618-42FE-451D-8FAA-3258774ED7D0}" dt="2023-12-11T16:01:49.426" v="1202"/>
          <ac:spMkLst>
            <pc:docMk/>
            <pc:sldMk cId="4098489044" sldId="2147479556"/>
            <ac:spMk id="61" creationId="{58165805-E77A-E103-5740-17019456F91F}"/>
          </ac:spMkLst>
        </pc:spChg>
        <pc:spChg chg="mod">
          <ac:chgData name="Afzal, Tanzeel" userId="4c1bee66-eab8-4968-ab2a-d2fc86f622d3" providerId="ADAL" clId="{379C0618-42FE-451D-8FAA-3258774ED7D0}" dt="2023-12-11T16:01:49.426" v="1202"/>
          <ac:spMkLst>
            <pc:docMk/>
            <pc:sldMk cId="4098489044" sldId="2147479556"/>
            <ac:spMk id="62" creationId="{369F3C72-B18D-DBC4-A876-842048B733DF}"/>
          </ac:spMkLst>
        </pc:spChg>
        <pc:spChg chg="mod">
          <ac:chgData name="Afzal, Tanzeel" userId="4c1bee66-eab8-4968-ab2a-d2fc86f622d3" providerId="ADAL" clId="{379C0618-42FE-451D-8FAA-3258774ED7D0}" dt="2023-12-11T16:01:49.426" v="1202"/>
          <ac:spMkLst>
            <pc:docMk/>
            <pc:sldMk cId="4098489044" sldId="2147479556"/>
            <ac:spMk id="63" creationId="{4A625154-9E10-1B17-CF43-AC3939236102}"/>
          </ac:spMkLst>
        </pc:spChg>
        <pc:spChg chg="mod">
          <ac:chgData name="Afzal, Tanzeel" userId="4c1bee66-eab8-4968-ab2a-d2fc86f622d3" providerId="ADAL" clId="{379C0618-42FE-451D-8FAA-3258774ED7D0}" dt="2023-12-11T16:01:49.426" v="1202"/>
          <ac:spMkLst>
            <pc:docMk/>
            <pc:sldMk cId="4098489044" sldId="2147479556"/>
            <ac:spMk id="64" creationId="{2B7B6281-108A-56C4-969C-F9430973DD06}"/>
          </ac:spMkLst>
        </pc:spChg>
        <pc:spChg chg="mod">
          <ac:chgData name="Afzal, Tanzeel" userId="4c1bee66-eab8-4968-ab2a-d2fc86f622d3" providerId="ADAL" clId="{379C0618-42FE-451D-8FAA-3258774ED7D0}" dt="2023-12-11T16:01:49.426" v="1202"/>
          <ac:spMkLst>
            <pc:docMk/>
            <pc:sldMk cId="4098489044" sldId="2147479556"/>
            <ac:spMk id="65" creationId="{B62269EC-8DA1-53A8-2AD9-AA39F9EE657A}"/>
          </ac:spMkLst>
        </pc:spChg>
        <pc:spChg chg="mod">
          <ac:chgData name="Afzal, Tanzeel" userId="4c1bee66-eab8-4968-ab2a-d2fc86f622d3" providerId="ADAL" clId="{379C0618-42FE-451D-8FAA-3258774ED7D0}" dt="2023-12-11T16:01:49.426" v="1202"/>
          <ac:spMkLst>
            <pc:docMk/>
            <pc:sldMk cId="4098489044" sldId="2147479556"/>
            <ac:spMk id="66" creationId="{52FCABAB-7036-C22D-3552-3B67A473CD97}"/>
          </ac:spMkLst>
        </pc:spChg>
        <pc:spChg chg="mod">
          <ac:chgData name="Afzal, Tanzeel" userId="4c1bee66-eab8-4968-ab2a-d2fc86f622d3" providerId="ADAL" clId="{379C0618-42FE-451D-8FAA-3258774ED7D0}" dt="2023-12-11T16:01:49.426" v="1202"/>
          <ac:spMkLst>
            <pc:docMk/>
            <pc:sldMk cId="4098489044" sldId="2147479556"/>
            <ac:spMk id="67" creationId="{F7994BBE-8B9C-2644-8CD1-ABF52DE53BEB}"/>
          </ac:spMkLst>
        </pc:spChg>
        <pc:spChg chg="mod">
          <ac:chgData name="Afzal, Tanzeel" userId="4c1bee66-eab8-4968-ab2a-d2fc86f622d3" providerId="ADAL" clId="{379C0618-42FE-451D-8FAA-3258774ED7D0}" dt="2023-12-11T16:01:49.426" v="1202"/>
          <ac:spMkLst>
            <pc:docMk/>
            <pc:sldMk cId="4098489044" sldId="2147479556"/>
            <ac:spMk id="68" creationId="{9136C23B-1029-B10E-8604-5A79D7A519C5}"/>
          </ac:spMkLst>
        </pc:spChg>
        <pc:spChg chg="mod">
          <ac:chgData name="Afzal, Tanzeel" userId="4c1bee66-eab8-4968-ab2a-d2fc86f622d3" providerId="ADAL" clId="{379C0618-42FE-451D-8FAA-3258774ED7D0}" dt="2023-12-11T16:01:49.426" v="1202"/>
          <ac:spMkLst>
            <pc:docMk/>
            <pc:sldMk cId="4098489044" sldId="2147479556"/>
            <ac:spMk id="77" creationId="{18290A1C-A99C-E50A-4199-3012759CD235}"/>
          </ac:spMkLst>
        </pc:spChg>
        <pc:spChg chg="mod">
          <ac:chgData name="Afzal, Tanzeel" userId="4c1bee66-eab8-4968-ab2a-d2fc86f622d3" providerId="ADAL" clId="{379C0618-42FE-451D-8FAA-3258774ED7D0}" dt="2023-12-11T16:01:49.426" v="1202"/>
          <ac:spMkLst>
            <pc:docMk/>
            <pc:sldMk cId="4098489044" sldId="2147479556"/>
            <ac:spMk id="78" creationId="{B5159680-1130-C902-DAA4-20431F69FC27}"/>
          </ac:spMkLst>
        </pc:spChg>
        <pc:spChg chg="mod">
          <ac:chgData name="Afzal, Tanzeel" userId="4c1bee66-eab8-4968-ab2a-d2fc86f622d3" providerId="ADAL" clId="{379C0618-42FE-451D-8FAA-3258774ED7D0}" dt="2023-12-11T16:01:49.426" v="1202"/>
          <ac:spMkLst>
            <pc:docMk/>
            <pc:sldMk cId="4098489044" sldId="2147479556"/>
            <ac:spMk id="79" creationId="{8AB8D2DC-E1B1-C513-7B00-BF4A41A4CD10}"/>
          </ac:spMkLst>
        </pc:spChg>
        <pc:spChg chg="mod">
          <ac:chgData name="Afzal, Tanzeel" userId="4c1bee66-eab8-4968-ab2a-d2fc86f622d3" providerId="ADAL" clId="{379C0618-42FE-451D-8FAA-3258774ED7D0}" dt="2023-12-11T16:01:49.426" v="1202"/>
          <ac:spMkLst>
            <pc:docMk/>
            <pc:sldMk cId="4098489044" sldId="2147479556"/>
            <ac:spMk id="80" creationId="{7E81BA7E-1C31-FB7D-981C-B261BE861A0E}"/>
          </ac:spMkLst>
        </pc:spChg>
        <pc:spChg chg="mod">
          <ac:chgData name="Afzal, Tanzeel" userId="4c1bee66-eab8-4968-ab2a-d2fc86f622d3" providerId="ADAL" clId="{379C0618-42FE-451D-8FAA-3258774ED7D0}" dt="2023-12-11T16:01:49.426" v="1202"/>
          <ac:spMkLst>
            <pc:docMk/>
            <pc:sldMk cId="4098489044" sldId="2147479556"/>
            <ac:spMk id="81" creationId="{D11D5271-FEE3-5EBD-F77F-00745887DD12}"/>
          </ac:spMkLst>
        </pc:spChg>
        <pc:spChg chg="mod">
          <ac:chgData name="Afzal, Tanzeel" userId="4c1bee66-eab8-4968-ab2a-d2fc86f622d3" providerId="ADAL" clId="{379C0618-42FE-451D-8FAA-3258774ED7D0}" dt="2023-12-11T16:01:49.426" v="1202"/>
          <ac:spMkLst>
            <pc:docMk/>
            <pc:sldMk cId="4098489044" sldId="2147479556"/>
            <ac:spMk id="82" creationId="{EF2CD109-A338-95A4-17E8-E23DDF9AD00D}"/>
          </ac:spMkLst>
        </pc:spChg>
        <pc:spChg chg="mod">
          <ac:chgData name="Afzal, Tanzeel" userId="4c1bee66-eab8-4968-ab2a-d2fc86f622d3" providerId="ADAL" clId="{379C0618-42FE-451D-8FAA-3258774ED7D0}" dt="2023-12-11T16:01:49.426" v="1202"/>
          <ac:spMkLst>
            <pc:docMk/>
            <pc:sldMk cId="4098489044" sldId="2147479556"/>
            <ac:spMk id="83" creationId="{31C290D9-C983-1BFA-4464-D6179FBBF095}"/>
          </ac:spMkLst>
        </pc:spChg>
        <pc:spChg chg="mod">
          <ac:chgData name="Afzal, Tanzeel" userId="4c1bee66-eab8-4968-ab2a-d2fc86f622d3" providerId="ADAL" clId="{379C0618-42FE-451D-8FAA-3258774ED7D0}" dt="2023-12-11T16:01:49.426" v="1202"/>
          <ac:spMkLst>
            <pc:docMk/>
            <pc:sldMk cId="4098489044" sldId="2147479556"/>
            <ac:spMk id="84" creationId="{352547F5-24A1-8C52-ED90-DEB4E6F4F241}"/>
          </ac:spMkLst>
        </pc:spChg>
        <pc:grpChg chg="add del mod">
          <ac:chgData name="Afzal, Tanzeel" userId="4c1bee66-eab8-4968-ab2a-d2fc86f622d3" providerId="ADAL" clId="{379C0618-42FE-451D-8FAA-3258774ED7D0}" dt="2023-12-11T16:01:39.998" v="1201"/>
          <ac:grpSpMkLst>
            <pc:docMk/>
            <pc:sldMk cId="4098489044" sldId="2147479556"/>
            <ac:grpSpMk id="17" creationId="{B4140666-9C89-2ED3-9F20-D945DABF7235}"/>
          </ac:grpSpMkLst>
        </pc:grpChg>
        <pc:grpChg chg="mod">
          <ac:chgData name="Afzal, Tanzeel" userId="4c1bee66-eab8-4968-ab2a-d2fc86f622d3" providerId="ADAL" clId="{379C0618-42FE-451D-8FAA-3258774ED7D0}" dt="2023-12-11T16:01:39.119" v="1200" actId="207"/>
          <ac:grpSpMkLst>
            <pc:docMk/>
            <pc:sldMk cId="4098489044" sldId="2147479556"/>
            <ac:grpSpMk id="35" creationId="{C35299E7-ED9A-4B35-610B-88EE19CF40DA}"/>
          </ac:grpSpMkLst>
        </pc:grpChg>
        <pc:grpChg chg="mod">
          <ac:chgData name="Afzal, Tanzeel" userId="4c1bee66-eab8-4968-ab2a-d2fc86f622d3" providerId="ADAL" clId="{379C0618-42FE-451D-8FAA-3258774ED7D0}" dt="2023-12-11T16:01:39.119" v="1200" actId="207"/>
          <ac:grpSpMkLst>
            <pc:docMk/>
            <pc:sldMk cId="4098489044" sldId="2147479556"/>
            <ac:grpSpMk id="36" creationId="{EDCBD832-F746-893C-8D46-6983D8ED257F}"/>
          </ac:grpSpMkLst>
        </pc:grpChg>
        <pc:grpChg chg="mod">
          <ac:chgData name="Afzal, Tanzeel" userId="4c1bee66-eab8-4968-ab2a-d2fc86f622d3" providerId="ADAL" clId="{379C0618-42FE-451D-8FAA-3258774ED7D0}" dt="2023-12-11T16:01:39.119" v="1200" actId="207"/>
          <ac:grpSpMkLst>
            <pc:docMk/>
            <pc:sldMk cId="4098489044" sldId="2147479556"/>
            <ac:grpSpMk id="37" creationId="{64740860-2B8D-13FD-769D-51F73C84DD9E}"/>
          </ac:grpSpMkLst>
        </pc:grpChg>
        <pc:grpChg chg="mod">
          <ac:chgData name="Afzal, Tanzeel" userId="4c1bee66-eab8-4968-ab2a-d2fc86f622d3" providerId="ADAL" clId="{379C0618-42FE-451D-8FAA-3258774ED7D0}" dt="2023-12-11T16:01:39.119" v="1200" actId="207"/>
          <ac:grpSpMkLst>
            <pc:docMk/>
            <pc:sldMk cId="4098489044" sldId="2147479556"/>
            <ac:grpSpMk id="38" creationId="{F5762CE1-B593-A595-9A4F-F217632AF17C}"/>
          </ac:grpSpMkLst>
        </pc:grpChg>
        <pc:grpChg chg="add del mod">
          <ac:chgData name="Afzal, Tanzeel" userId="4c1bee66-eab8-4968-ab2a-d2fc86f622d3" providerId="ADAL" clId="{379C0618-42FE-451D-8FAA-3258774ED7D0}" dt="2023-12-11T16:03:05.859" v="1207" actId="478"/>
          <ac:grpSpMkLst>
            <pc:docMk/>
            <pc:sldMk cId="4098489044" sldId="2147479556"/>
            <ac:grpSpMk id="51" creationId="{3D205EFC-DA3C-CF27-5B75-84C47202ED1F}"/>
          </ac:grpSpMkLst>
        </pc:grpChg>
        <pc:grpChg chg="mod">
          <ac:chgData name="Afzal, Tanzeel" userId="4c1bee66-eab8-4968-ab2a-d2fc86f622d3" providerId="ADAL" clId="{379C0618-42FE-451D-8FAA-3258774ED7D0}" dt="2023-12-11T16:01:49.426" v="1202"/>
          <ac:grpSpMkLst>
            <pc:docMk/>
            <pc:sldMk cId="4098489044" sldId="2147479556"/>
            <ac:grpSpMk id="69" creationId="{7E4424AB-8706-43B9-1038-1835006ED7EA}"/>
          </ac:grpSpMkLst>
        </pc:grpChg>
        <pc:grpChg chg="mod">
          <ac:chgData name="Afzal, Tanzeel" userId="4c1bee66-eab8-4968-ab2a-d2fc86f622d3" providerId="ADAL" clId="{379C0618-42FE-451D-8FAA-3258774ED7D0}" dt="2023-12-11T16:01:49.426" v="1202"/>
          <ac:grpSpMkLst>
            <pc:docMk/>
            <pc:sldMk cId="4098489044" sldId="2147479556"/>
            <ac:grpSpMk id="70" creationId="{1C92A99E-8625-B1CE-A0BC-F29C1D0840B8}"/>
          </ac:grpSpMkLst>
        </pc:grpChg>
        <pc:grpChg chg="mod">
          <ac:chgData name="Afzal, Tanzeel" userId="4c1bee66-eab8-4968-ab2a-d2fc86f622d3" providerId="ADAL" clId="{379C0618-42FE-451D-8FAA-3258774ED7D0}" dt="2023-12-11T16:01:49.426" v="1202"/>
          <ac:grpSpMkLst>
            <pc:docMk/>
            <pc:sldMk cId="4098489044" sldId="2147479556"/>
            <ac:grpSpMk id="71" creationId="{B94248E3-E4D4-3897-9CA7-F01C25CEFFAE}"/>
          </ac:grpSpMkLst>
        </pc:grpChg>
        <pc:grpChg chg="mod">
          <ac:chgData name="Afzal, Tanzeel" userId="4c1bee66-eab8-4968-ab2a-d2fc86f622d3" providerId="ADAL" clId="{379C0618-42FE-451D-8FAA-3258774ED7D0}" dt="2023-12-11T16:01:49.426" v="1202"/>
          <ac:grpSpMkLst>
            <pc:docMk/>
            <pc:sldMk cId="4098489044" sldId="2147479556"/>
            <ac:grpSpMk id="72" creationId="{829143D3-862E-B1CF-A6D2-36AF8725D69D}"/>
          </ac:grpSpMkLst>
        </pc:grpChg>
        <pc:picChg chg="add mod">
          <ac:chgData name="Afzal, Tanzeel" userId="4c1bee66-eab8-4968-ab2a-d2fc86f622d3" providerId="ADAL" clId="{379C0618-42FE-451D-8FAA-3258774ED7D0}" dt="2023-12-11T16:05:29.905" v="1212" actId="1076"/>
          <ac:picMkLst>
            <pc:docMk/>
            <pc:sldMk cId="4098489044" sldId="2147479556"/>
            <ac:picMk id="86" creationId="{21C439A3-B122-CC18-F43D-10EB1C11B870}"/>
          </ac:picMkLst>
        </pc:picChg>
        <pc:cxnChg chg="mod">
          <ac:chgData name="Afzal, Tanzeel" userId="4c1bee66-eab8-4968-ab2a-d2fc86f622d3" providerId="ADAL" clId="{379C0618-42FE-451D-8FAA-3258774ED7D0}" dt="2023-12-11T16:01:39.119" v="1200" actId="207"/>
          <ac:cxnSpMkLst>
            <pc:docMk/>
            <pc:sldMk cId="4098489044" sldId="2147479556"/>
            <ac:cxnSpMk id="39" creationId="{B0ACF812-C0B9-82CD-378A-D1D492F29597}"/>
          </ac:cxnSpMkLst>
        </pc:cxnChg>
        <pc:cxnChg chg="mod">
          <ac:chgData name="Afzal, Tanzeel" userId="4c1bee66-eab8-4968-ab2a-d2fc86f622d3" providerId="ADAL" clId="{379C0618-42FE-451D-8FAA-3258774ED7D0}" dt="2023-12-11T16:01:39.119" v="1200" actId="207"/>
          <ac:cxnSpMkLst>
            <pc:docMk/>
            <pc:sldMk cId="4098489044" sldId="2147479556"/>
            <ac:cxnSpMk id="40" creationId="{A64FD9FF-7F66-C0F9-9C3E-EBE460AE870C}"/>
          </ac:cxnSpMkLst>
        </pc:cxnChg>
        <pc:cxnChg chg="mod">
          <ac:chgData name="Afzal, Tanzeel" userId="4c1bee66-eab8-4968-ab2a-d2fc86f622d3" providerId="ADAL" clId="{379C0618-42FE-451D-8FAA-3258774ED7D0}" dt="2023-12-11T16:01:39.119" v="1200" actId="207"/>
          <ac:cxnSpMkLst>
            <pc:docMk/>
            <pc:sldMk cId="4098489044" sldId="2147479556"/>
            <ac:cxnSpMk id="41" creationId="{95B0F73C-DE70-81B0-8A48-19DD61F89731}"/>
          </ac:cxnSpMkLst>
        </pc:cxnChg>
        <pc:cxnChg chg="mod">
          <ac:chgData name="Afzal, Tanzeel" userId="4c1bee66-eab8-4968-ab2a-d2fc86f622d3" providerId="ADAL" clId="{379C0618-42FE-451D-8FAA-3258774ED7D0}" dt="2023-12-11T16:01:39.119" v="1200" actId="207"/>
          <ac:cxnSpMkLst>
            <pc:docMk/>
            <pc:sldMk cId="4098489044" sldId="2147479556"/>
            <ac:cxnSpMk id="42" creationId="{69F22709-20CD-856A-48FA-1923998F5BC8}"/>
          </ac:cxnSpMkLst>
        </pc:cxnChg>
        <pc:cxnChg chg="mod">
          <ac:chgData name="Afzal, Tanzeel" userId="4c1bee66-eab8-4968-ab2a-d2fc86f622d3" providerId="ADAL" clId="{379C0618-42FE-451D-8FAA-3258774ED7D0}" dt="2023-12-11T16:01:49.426" v="1202"/>
          <ac:cxnSpMkLst>
            <pc:docMk/>
            <pc:sldMk cId="4098489044" sldId="2147479556"/>
            <ac:cxnSpMk id="73" creationId="{1CA87DE7-8161-8596-AA82-DBA82FBE047F}"/>
          </ac:cxnSpMkLst>
        </pc:cxnChg>
        <pc:cxnChg chg="mod">
          <ac:chgData name="Afzal, Tanzeel" userId="4c1bee66-eab8-4968-ab2a-d2fc86f622d3" providerId="ADAL" clId="{379C0618-42FE-451D-8FAA-3258774ED7D0}" dt="2023-12-11T16:01:49.426" v="1202"/>
          <ac:cxnSpMkLst>
            <pc:docMk/>
            <pc:sldMk cId="4098489044" sldId="2147479556"/>
            <ac:cxnSpMk id="74" creationId="{7648CEAC-F20F-36EE-D91D-7E564660D8DD}"/>
          </ac:cxnSpMkLst>
        </pc:cxnChg>
        <pc:cxnChg chg="mod">
          <ac:chgData name="Afzal, Tanzeel" userId="4c1bee66-eab8-4968-ab2a-d2fc86f622d3" providerId="ADAL" clId="{379C0618-42FE-451D-8FAA-3258774ED7D0}" dt="2023-12-11T16:01:49.426" v="1202"/>
          <ac:cxnSpMkLst>
            <pc:docMk/>
            <pc:sldMk cId="4098489044" sldId="2147479556"/>
            <ac:cxnSpMk id="75" creationId="{18FFBF36-DEF6-941E-67BB-C33350F439D4}"/>
          </ac:cxnSpMkLst>
        </pc:cxnChg>
        <pc:cxnChg chg="mod">
          <ac:chgData name="Afzal, Tanzeel" userId="4c1bee66-eab8-4968-ab2a-d2fc86f622d3" providerId="ADAL" clId="{379C0618-42FE-451D-8FAA-3258774ED7D0}" dt="2023-12-11T16:01:49.426" v="1202"/>
          <ac:cxnSpMkLst>
            <pc:docMk/>
            <pc:sldMk cId="4098489044" sldId="2147479556"/>
            <ac:cxnSpMk id="76" creationId="{3B049CBB-D917-90BA-4A41-1DE33C72037F}"/>
          </ac:cxnSpMkLst>
        </pc:cxnChg>
      </pc:sldChg>
      <pc:sldChg chg="ord">
        <pc:chgData name="Afzal, Tanzeel" userId="4c1bee66-eab8-4968-ab2a-d2fc86f622d3" providerId="ADAL" clId="{379C0618-42FE-451D-8FAA-3258774ED7D0}" dt="2023-12-11T17:47:50.463" v="1828"/>
        <pc:sldMkLst>
          <pc:docMk/>
          <pc:sldMk cId="775752231" sldId="2147479557"/>
        </pc:sldMkLst>
      </pc:sldChg>
      <pc:sldChg chg="add del">
        <pc:chgData name="Afzal, Tanzeel" userId="4c1bee66-eab8-4968-ab2a-d2fc86f622d3" providerId="ADAL" clId="{379C0618-42FE-451D-8FAA-3258774ED7D0}" dt="2023-12-11T12:33:28.099" v="385" actId="47"/>
        <pc:sldMkLst>
          <pc:docMk/>
          <pc:sldMk cId="4258385842" sldId="2147479557"/>
        </pc:sldMkLst>
      </pc:sldChg>
      <pc:sldChg chg="modSp mod delCm modCm">
        <pc:chgData name="Afzal, Tanzeel" userId="4c1bee66-eab8-4968-ab2a-d2fc86f622d3" providerId="ADAL" clId="{379C0618-42FE-451D-8FAA-3258774ED7D0}" dt="2023-12-11T18:53:32.386" v="2931"/>
        <pc:sldMkLst>
          <pc:docMk/>
          <pc:sldMk cId="1192362056" sldId="2147479558"/>
        </pc:sldMkLst>
        <pc:spChg chg="mod">
          <ac:chgData name="Afzal, Tanzeel" userId="4c1bee66-eab8-4968-ab2a-d2fc86f622d3" providerId="ADAL" clId="{379C0618-42FE-451D-8FAA-3258774ED7D0}" dt="2023-12-11T15:11:18.750" v="972" actId="1076"/>
          <ac:spMkLst>
            <pc:docMk/>
            <pc:sldMk cId="1192362056" sldId="2147479558"/>
            <ac:spMk id="5" creationId="{73BAA790-FE7B-E03B-2C71-7FAEFECCC5A0}"/>
          </ac:spMkLst>
        </pc:spChg>
        <pc:graphicFrameChg chg="mod modGraphic">
          <ac:chgData name="Afzal, Tanzeel" userId="4c1bee66-eab8-4968-ab2a-d2fc86f622d3" providerId="ADAL" clId="{379C0618-42FE-451D-8FAA-3258774ED7D0}" dt="2023-12-11T15:13:08.990" v="992" actId="1035"/>
          <ac:graphicFrameMkLst>
            <pc:docMk/>
            <pc:sldMk cId="1192362056" sldId="2147479558"/>
            <ac:graphicFrameMk id="6" creationId="{4174133B-583D-857D-2D4E-67C3A8DB6C43}"/>
          </ac:graphicFrameMkLst>
        </pc:graphicFrameChg>
      </pc:sldChg>
      <pc:sldChg chg="add del">
        <pc:chgData name="Afzal, Tanzeel" userId="4c1bee66-eab8-4968-ab2a-d2fc86f622d3" providerId="ADAL" clId="{379C0618-42FE-451D-8FAA-3258774ED7D0}" dt="2023-12-11T12:33:28.099" v="385" actId="47"/>
        <pc:sldMkLst>
          <pc:docMk/>
          <pc:sldMk cId="2531447705" sldId="2147479558"/>
        </pc:sldMkLst>
      </pc:sldChg>
      <pc:sldChg chg="add del ord">
        <pc:chgData name="Afzal, Tanzeel" userId="4c1bee66-eab8-4968-ab2a-d2fc86f622d3" providerId="ADAL" clId="{379C0618-42FE-451D-8FAA-3258774ED7D0}" dt="2023-12-11T17:47:50.463" v="1828"/>
        <pc:sldMkLst>
          <pc:docMk/>
          <pc:sldMk cId="2395944440" sldId="2147479559"/>
        </pc:sldMkLst>
      </pc:sldChg>
      <pc:sldChg chg="add del">
        <pc:chgData name="Afzal, Tanzeel" userId="4c1bee66-eab8-4968-ab2a-d2fc86f622d3" providerId="ADAL" clId="{379C0618-42FE-451D-8FAA-3258774ED7D0}" dt="2023-12-11T12:33:28.099" v="385" actId="47"/>
        <pc:sldMkLst>
          <pc:docMk/>
          <pc:sldMk cId="398161562" sldId="2147479560"/>
        </pc:sldMkLst>
      </pc:sldChg>
      <pc:sldChg chg="ord">
        <pc:chgData name="Afzal, Tanzeel" userId="4c1bee66-eab8-4968-ab2a-d2fc86f622d3" providerId="ADAL" clId="{379C0618-42FE-451D-8FAA-3258774ED7D0}" dt="2023-12-11T17:47:50.463" v="1828"/>
        <pc:sldMkLst>
          <pc:docMk/>
          <pc:sldMk cId="1891079789" sldId="2147479560"/>
        </pc:sldMkLst>
      </pc:sldChg>
      <pc:sldChg chg="modSp add del mod">
        <pc:chgData name="Afzal, Tanzeel" userId="4c1bee66-eab8-4968-ab2a-d2fc86f622d3" providerId="ADAL" clId="{379C0618-42FE-451D-8FAA-3258774ED7D0}" dt="2023-12-11T16:10:56.451" v="1230" actId="47"/>
        <pc:sldMkLst>
          <pc:docMk/>
          <pc:sldMk cId="13822481" sldId="2147479561"/>
        </pc:sldMkLst>
        <pc:graphicFrameChg chg="mod modGraphic">
          <ac:chgData name="Afzal, Tanzeel" userId="4c1bee66-eab8-4968-ab2a-d2fc86f622d3" providerId="ADAL" clId="{379C0618-42FE-451D-8FAA-3258774ED7D0}" dt="2023-12-11T16:09:00.919" v="1229" actId="20577"/>
          <ac:graphicFrameMkLst>
            <pc:docMk/>
            <pc:sldMk cId="13822481" sldId="2147479561"/>
            <ac:graphicFrameMk id="5" creationId="{E9AE7BA3-E382-37AF-A4D7-457B619974F4}"/>
          </ac:graphicFrameMkLst>
        </pc:graphicFrameChg>
      </pc:sldChg>
      <pc:sldChg chg="add del">
        <pc:chgData name="Afzal, Tanzeel" userId="4c1bee66-eab8-4968-ab2a-d2fc86f622d3" providerId="ADAL" clId="{379C0618-42FE-451D-8FAA-3258774ED7D0}" dt="2023-12-11T12:33:28.099" v="385" actId="47"/>
        <pc:sldMkLst>
          <pc:docMk/>
          <pc:sldMk cId="722200965" sldId="2147479561"/>
        </pc:sldMkLst>
      </pc:sldChg>
      <pc:sldChg chg="modSp add del mod">
        <pc:chgData name="Afzal, Tanzeel" userId="4c1bee66-eab8-4968-ab2a-d2fc86f622d3" providerId="ADAL" clId="{379C0618-42FE-451D-8FAA-3258774ED7D0}" dt="2023-12-11T17:49:18.124" v="1835" actId="2696"/>
        <pc:sldMkLst>
          <pc:docMk/>
          <pc:sldMk cId="1566640999" sldId="2147479562"/>
        </pc:sldMkLst>
        <pc:graphicFrameChg chg="mod modGraphic">
          <ac:chgData name="Afzal, Tanzeel" userId="4c1bee66-eab8-4968-ab2a-d2fc86f622d3" providerId="ADAL" clId="{379C0618-42FE-451D-8FAA-3258774ED7D0}" dt="2023-12-11T17:14:36.319" v="1782" actId="20577"/>
          <ac:graphicFrameMkLst>
            <pc:docMk/>
            <pc:sldMk cId="1566640999" sldId="2147479562"/>
            <ac:graphicFrameMk id="5" creationId="{E9AE7BA3-E382-37AF-A4D7-457B619974F4}"/>
          </ac:graphicFrameMkLst>
        </pc:graphicFrameChg>
      </pc:sldChg>
      <pc:sldChg chg="add del">
        <pc:chgData name="Afzal, Tanzeel" userId="4c1bee66-eab8-4968-ab2a-d2fc86f622d3" providerId="ADAL" clId="{379C0618-42FE-451D-8FAA-3258774ED7D0}" dt="2023-12-11T12:33:28.099" v="385" actId="47"/>
        <pc:sldMkLst>
          <pc:docMk/>
          <pc:sldMk cId="1816172359" sldId="2147479562"/>
        </pc:sldMkLst>
      </pc:sldChg>
      <pc:sldChg chg="add">
        <pc:chgData name="Afzal, Tanzeel" userId="4c1bee66-eab8-4968-ab2a-d2fc86f622d3" providerId="ADAL" clId="{379C0618-42FE-451D-8FAA-3258774ED7D0}" dt="2023-12-11T17:49:21.842" v="1836"/>
        <pc:sldMkLst>
          <pc:docMk/>
          <pc:sldMk cId="4280744372" sldId="2147479562"/>
        </pc:sldMkLst>
      </pc:sldChg>
      <pc:sldChg chg="add del">
        <pc:chgData name="Afzal, Tanzeel" userId="4c1bee66-eab8-4968-ab2a-d2fc86f622d3" providerId="ADAL" clId="{379C0618-42FE-451D-8FAA-3258774ED7D0}" dt="2023-12-11T12:33:28.099" v="385" actId="47"/>
        <pc:sldMkLst>
          <pc:docMk/>
          <pc:sldMk cId="192010468" sldId="2147479563"/>
        </pc:sldMkLst>
      </pc:sldChg>
      <pc:sldChg chg="add del">
        <pc:chgData name="Afzal, Tanzeel" userId="4c1bee66-eab8-4968-ab2a-d2fc86f622d3" providerId="ADAL" clId="{379C0618-42FE-451D-8FAA-3258774ED7D0}" dt="2023-12-11T12:33:28.099" v="385" actId="47"/>
        <pc:sldMkLst>
          <pc:docMk/>
          <pc:sldMk cId="2571935147" sldId="2147479564"/>
        </pc:sldMkLst>
      </pc:sldChg>
      <pc:sldChg chg="add del">
        <pc:chgData name="Afzal, Tanzeel" userId="4c1bee66-eab8-4968-ab2a-d2fc86f622d3" providerId="ADAL" clId="{379C0618-42FE-451D-8FAA-3258774ED7D0}" dt="2023-12-11T12:33:28.099" v="385" actId="47"/>
        <pc:sldMkLst>
          <pc:docMk/>
          <pc:sldMk cId="1265989539" sldId="2147479565"/>
        </pc:sldMkLst>
      </pc:sldChg>
      <pc:sldChg chg="modSp add mod">
        <pc:chgData name="Afzal, Tanzeel" userId="4c1bee66-eab8-4968-ab2a-d2fc86f622d3" providerId="ADAL" clId="{379C0618-42FE-451D-8FAA-3258774ED7D0}" dt="2023-12-11T18:58:37.696" v="2987" actId="20577"/>
        <pc:sldMkLst>
          <pc:docMk/>
          <pc:sldMk cId="3780257670" sldId="2147479565"/>
        </pc:sldMkLst>
        <pc:spChg chg="mod">
          <ac:chgData name="Afzal, Tanzeel" userId="4c1bee66-eab8-4968-ab2a-d2fc86f622d3" providerId="ADAL" clId="{379C0618-42FE-451D-8FAA-3258774ED7D0}" dt="2023-12-11T18:58:37.696" v="2987" actId="20577"/>
          <ac:spMkLst>
            <pc:docMk/>
            <pc:sldMk cId="3780257670" sldId="2147479565"/>
            <ac:spMk id="88" creationId="{7F7F099B-8F9F-1FE1-69A9-C32C6EDCBC1D}"/>
          </ac:spMkLst>
        </pc:spChg>
        <pc:spChg chg="mod">
          <ac:chgData name="Afzal, Tanzeel" userId="4c1bee66-eab8-4968-ab2a-d2fc86f622d3" providerId="ADAL" clId="{379C0618-42FE-451D-8FAA-3258774ED7D0}" dt="2023-12-11T18:58:27.789" v="2958" actId="20577"/>
          <ac:spMkLst>
            <pc:docMk/>
            <pc:sldMk cId="3780257670" sldId="2147479565"/>
            <ac:spMk id="89" creationId="{0177CC97-1339-5FBC-CD7C-6B0DAB826951}"/>
          </ac:spMkLst>
        </pc:spChg>
      </pc:sldChg>
      <pc:sldChg chg="add del">
        <pc:chgData name="Afzal, Tanzeel" userId="4c1bee66-eab8-4968-ab2a-d2fc86f622d3" providerId="ADAL" clId="{379C0618-42FE-451D-8FAA-3258774ED7D0}" dt="2023-12-11T12:33:28.099" v="385" actId="47"/>
        <pc:sldMkLst>
          <pc:docMk/>
          <pc:sldMk cId="1494417918" sldId="2147479566"/>
        </pc:sldMkLst>
      </pc:sldChg>
      <pc:sldChg chg="add del">
        <pc:chgData name="Afzal, Tanzeel" userId="4c1bee66-eab8-4968-ab2a-d2fc86f622d3" providerId="ADAL" clId="{379C0618-42FE-451D-8FAA-3258774ED7D0}" dt="2023-12-11T12:33:28.099" v="385" actId="47"/>
        <pc:sldMkLst>
          <pc:docMk/>
          <pc:sldMk cId="790244773" sldId="2147479567"/>
        </pc:sldMkLst>
      </pc:sldChg>
      <pc:sldChg chg="add del">
        <pc:chgData name="Afzal, Tanzeel" userId="4c1bee66-eab8-4968-ab2a-d2fc86f622d3" providerId="ADAL" clId="{379C0618-42FE-451D-8FAA-3258774ED7D0}" dt="2023-12-11T12:33:28.099" v="385" actId="47"/>
        <pc:sldMkLst>
          <pc:docMk/>
          <pc:sldMk cId="3208500402" sldId="2147479568"/>
        </pc:sldMkLst>
      </pc:sldChg>
      <pc:sldChg chg="add del">
        <pc:chgData name="Afzal, Tanzeel" userId="4c1bee66-eab8-4968-ab2a-d2fc86f622d3" providerId="ADAL" clId="{379C0618-42FE-451D-8FAA-3258774ED7D0}" dt="2023-12-11T12:33:17.485" v="384" actId="47"/>
        <pc:sldMkLst>
          <pc:docMk/>
          <pc:sldMk cId="414292195" sldId="2147479569"/>
        </pc:sldMkLst>
      </pc:sldChg>
      <pc:sldChg chg="add del">
        <pc:chgData name="Afzal, Tanzeel" userId="4c1bee66-eab8-4968-ab2a-d2fc86f622d3" providerId="ADAL" clId="{379C0618-42FE-451D-8FAA-3258774ED7D0}" dt="2023-12-11T12:33:17.485" v="384" actId="47"/>
        <pc:sldMkLst>
          <pc:docMk/>
          <pc:sldMk cId="1764675826" sldId="2147479570"/>
        </pc:sldMkLst>
      </pc:sldChg>
      <pc:sldChg chg="add del">
        <pc:chgData name="Afzal, Tanzeel" userId="4c1bee66-eab8-4968-ab2a-d2fc86f622d3" providerId="ADAL" clId="{379C0618-42FE-451D-8FAA-3258774ED7D0}" dt="2023-12-11T12:33:17.485" v="384" actId="47"/>
        <pc:sldMkLst>
          <pc:docMk/>
          <pc:sldMk cId="2284031341" sldId="2147479571"/>
        </pc:sldMkLst>
      </pc:sldChg>
      <pc:sldChg chg="add del">
        <pc:chgData name="Afzal, Tanzeel" userId="4c1bee66-eab8-4968-ab2a-d2fc86f622d3" providerId="ADAL" clId="{379C0618-42FE-451D-8FAA-3258774ED7D0}" dt="2023-12-11T12:33:17.485" v="384" actId="47"/>
        <pc:sldMkLst>
          <pc:docMk/>
          <pc:sldMk cId="4079528504" sldId="2147479572"/>
        </pc:sldMkLst>
      </pc:sldChg>
      <pc:sldChg chg="add del">
        <pc:chgData name="Afzal, Tanzeel" userId="4c1bee66-eab8-4968-ab2a-d2fc86f622d3" providerId="ADAL" clId="{379C0618-42FE-451D-8FAA-3258774ED7D0}" dt="2023-12-11T12:33:17.485" v="384" actId="47"/>
        <pc:sldMkLst>
          <pc:docMk/>
          <pc:sldMk cId="3763951914" sldId="2147479573"/>
        </pc:sldMkLst>
      </pc:sldChg>
      <pc:sldChg chg="add del">
        <pc:chgData name="Afzal, Tanzeel" userId="4c1bee66-eab8-4968-ab2a-d2fc86f622d3" providerId="ADAL" clId="{379C0618-42FE-451D-8FAA-3258774ED7D0}" dt="2023-12-11T12:33:17.485" v="384" actId="47"/>
        <pc:sldMkLst>
          <pc:docMk/>
          <pc:sldMk cId="2127393035" sldId="2147479574"/>
        </pc:sldMkLst>
      </pc:sldChg>
      <pc:sldChg chg="add del">
        <pc:chgData name="Afzal, Tanzeel" userId="4c1bee66-eab8-4968-ab2a-d2fc86f622d3" providerId="ADAL" clId="{379C0618-42FE-451D-8FAA-3258774ED7D0}" dt="2023-12-11T12:33:17.485" v="384" actId="47"/>
        <pc:sldMkLst>
          <pc:docMk/>
          <pc:sldMk cId="749916818" sldId="2147479575"/>
        </pc:sldMkLst>
      </pc:sldChg>
      <pc:sldChg chg="add del">
        <pc:chgData name="Afzal, Tanzeel" userId="4c1bee66-eab8-4968-ab2a-d2fc86f622d3" providerId="ADAL" clId="{379C0618-42FE-451D-8FAA-3258774ED7D0}" dt="2023-12-11T12:33:17.485" v="384" actId="47"/>
        <pc:sldMkLst>
          <pc:docMk/>
          <pc:sldMk cId="1310867910" sldId="2147479576"/>
        </pc:sldMkLst>
      </pc:sldChg>
      <pc:sldChg chg="add del">
        <pc:chgData name="Afzal, Tanzeel" userId="4c1bee66-eab8-4968-ab2a-d2fc86f622d3" providerId="ADAL" clId="{379C0618-42FE-451D-8FAA-3258774ED7D0}" dt="2023-12-11T12:33:17.485" v="384" actId="47"/>
        <pc:sldMkLst>
          <pc:docMk/>
          <pc:sldMk cId="2990272462" sldId="2147479577"/>
        </pc:sldMkLst>
      </pc:sldChg>
      <pc:sldChg chg="add del">
        <pc:chgData name="Afzal, Tanzeel" userId="4c1bee66-eab8-4968-ab2a-d2fc86f622d3" providerId="ADAL" clId="{379C0618-42FE-451D-8FAA-3258774ED7D0}" dt="2023-12-11T12:33:17.485" v="384" actId="47"/>
        <pc:sldMkLst>
          <pc:docMk/>
          <pc:sldMk cId="974210103" sldId="2147479578"/>
        </pc:sldMkLst>
      </pc:sldChg>
      <pc:sldChg chg="add del">
        <pc:chgData name="Afzal, Tanzeel" userId="4c1bee66-eab8-4968-ab2a-d2fc86f622d3" providerId="ADAL" clId="{379C0618-42FE-451D-8FAA-3258774ED7D0}" dt="2023-12-11T12:33:17.485" v="384" actId="47"/>
        <pc:sldMkLst>
          <pc:docMk/>
          <pc:sldMk cId="3008211624" sldId="2147479579"/>
        </pc:sldMkLst>
      </pc:sldChg>
      <pc:sldMasterChg chg="del delSldLayout">
        <pc:chgData name="Afzal, Tanzeel" userId="4c1bee66-eab8-4968-ab2a-d2fc86f622d3" providerId="ADAL" clId="{379C0618-42FE-451D-8FAA-3258774ED7D0}" dt="2023-12-11T12:33:38.180" v="386" actId="47"/>
        <pc:sldMasterMkLst>
          <pc:docMk/>
          <pc:sldMasterMk cId="1921801857" sldId="2147483713"/>
        </pc:sldMasterMkLst>
        <pc:sldLayoutChg chg="del">
          <pc:chgData name="Afzal, Tanzeel" userId="4c1bee66-eab8-4968-ab2a-d2fc86f622d3" providerId="ADAL" clId="{379C0618-42FE-451D-8FAA-3258774ED7D0}" dt="2023-12-11T12:33:38.180" v="386" actId="47"/>
          <pc:sldLayoutMkLst>
            <pc:docMk/>
            <pc:sldMasterMk cId="1921801857" sldId="2147483713"/>
            <pc:sldLayoutMk cId="1684889934" sldId="2147483714"/>
          </pc:sldLayoutMkLst>
        </pc:sldLayoutChg>
        <pc:sldLayoutChg chg="del">
          <pc:chgData name="Afzal, Tanzeel" userId="4c1bee66-eab8-4968-ab2a-d2fc86f622d3" providerId="ADAL" clId="{379C0618-42FE-451D-8FAA-3258774ED7D0}" dt="2023-12-11T12:33:38.180" v="386" actId="47"/>
          <pc:sldLayoutMkLst>
            <pc:docMk/>
            <pc:sldMasterMk cId="1921801857" sldId="2147483713"/>
            <pc:sldLayoutMk cId="2090726803" sldId="2147483715"/>
          </pc:sldLayoutMkLst>
        </pc:sldLayoutChg>
        <pc:sldLayoutChg chg="del">
          <pc:chgData name="Afzal, Tanzeel" userId="4c1bee66-eab8-4968-ab2a-d2fc86f622d3" providerId="ADAL" clId="{379C0618-42FE-451D-8FAA-3258774ED7D0}" dt="2023-12-11T12:33:38.180" v="386" actId="47"/>
          <pc:sldLayoutMkLst>
            <pc:docMk/>
            <pc:sldMasterMk cId="1921801857" sldId="2147483713"/>
            <pc:sldLayoutMk cId="2390497603" sldId="2147483716"/>
          </pc:sldLayoutMkLst>
        </pc:sldLayoutChg>
        <pc:sldLayoutChg chg="del">
          <pc:chgData name="Afzal, Tanzeel" userId="4c1bee66-eab8-4968-ab2a-d2fc86f622d3" providerId="ADAL" clId="{379C0618-42FE-451D-8FAA-3258774ED7D0}" dt="2023-12-11T12:33:38.180" v="386" actId="47"/>
          <pc:sldLayoutMkLst>
            <pc:docMk/>
            <pc:sldMasterMk cId="1921801857" sldId="2147483713"/>
            <pc:sldLayoutMk cId="278683653" sldId="2147483717"/>
          </pc:sldLayoutMkLst>
        </pc:sldLayoutChg>
        <pc:sldLayoutChg chg="del">
          <pc:chgData name="Afzal, Tanzeel" userId="4c1bee66-eab8-4968-ab2a-d2fc86f622d3" providerId="ADAL" clId="{379C0618-42FE-451D-8FAA-3258774ED7D0}" dt="2023-12-11T12:33:38.180" v="386" actId="47"/>
          <pc:sldLayoutMkLst>
            <pc:docMk/>
            <pc:sldMasterMk cId="1921801857" sldId="2147483713"/>
            <pc:sldLayoutMk cId="3411468630" sldId="2147483718"/>
          </pc:sldLayoutMkLst>
        </pc:sldLayoutChg>
        <pc:sldLayoutChg chg="del">
          <pc:chgData name="Afzal, Tanzeel" userId="4c1bee66-eab8-4968-ab2a-d2fc86f622d3" providerId="ADAL" clId="{379C0618-42FE-451D-8FAA-3258774ED7D0}" dt="2023-12-11T12:33:38.180" v="386" actId="47"/>
          <pc:sldLayoutMkLst>
            <pc:docMk/>
            <pc:sldMasterMk cId="1921801857" sldId="2147483713"/>
            <pc:sldLayoutMk cId="3182256587" sldId="2147483719"/>
          </pc:sldLayoutMkLst>
        </pc:sldLayoutChg>
      </pc:sldMasterChg>
      <pc:sldMasterChg chg="addSp delSp modSp mod modSldLayout">
        <pc:chgData name="Afzal, Tanzeel" userId="4c1bee66-eab8-4968-ab2a-d2fc86f622d3" providerId="ADAL" clId="{379C0618-42FE-451D-8FAA-3258774ED7D0}" dt="2023-12-11T18:27:39.700" v="2745"/>
        <pc:sldMasterMkLst>
          <pc:docMk/>
          <pc:sldMasterMk cId="3564118489" sldId="2147483713"/>
        </pc:sldMasterMkLst>
        <pc:spChg chg="add mod">
          <ac:chgData name="Afzal, Tanzeel" userId="4c1bee66-eab8-4968-ab2a-d2fc86f622d3" providerId="ADAL" clId="{379C0618-42FE-451D-8FAA-3258774ED7D0}" dt="2023-12-11T12:12:44.899" v="359"/>
          <ac:spMkLst>
            <pc:docMk/>
            <pc:sldMasterMk cId="3564118489" sldId="2147483713"/>
            <ac:spMk id="2" creationId="{C1A09F68-E658-8891-8A38-5B8FEC047799}"/>
          </ac:spMkLst>
        </pc:spChg>
        <pc:spChg chg="del">
          <ac:chgData name="Afzal, Tanzeel" userId="4c1bee66-eab8-4968-ab2a-d2fc86f622d3" providerId="ADAL" clId="{379C0618-42FE-451D-8FAA-3258774ED7D0}" dt="2023-12-11T12:12:44.264" v="358" actId="478"/>
          <ac:spMkLst>
            <pc:docMk/>
            <pc:sldMasterMk cId="3564118489" sldId="2147483713"/>
            <ac:spMk id="3" creationId="{9B4897A4-6564-2F59-193D-71336015572B}"/>
          </ac:spMkLst>
        </pc:spChg>
        <pc:sldLayoutChg chg="addSp modSp">
          <pc:chgData name="Afzal, Tanzeel" userId="4c1bee66-eab8-4968-ab2a-d2fc86f622d3" providerId="ADAL" clId="{379C0618-42FE-451D-8FAA-3258774ED7D0}" dt="2023-12-11T18:42:01.724" v="2746"/>
          <pc:sldLayoutMkLst>
            <pc:docMk/>
            <pc:sldMasterMk cId="3564118489" sldId="2147483689"/>
            <pc:sldLayoutMk cId="3231307214" sldId="2147483696"/>
          </pc:sldLayoutMkLst>
          <pc:spChg chg="add mod">
            <ac:chgData name="Afzal, Tanzeel" userId="4c1bee66-eab8-4968-ab2a-d2fc86f622d3" providerId="ADAL" clId="{379C0618-42FE-451D-8FAA-3258774ED7D0}" dt="2023-12-11T18:42:01.724" v="2746"/>
            <ac:spMkLst>
              <pc:docMk/>
              <pc:sldMasterMk cId="3564118489" sldId="2147483689"/>
              <pc:sldLayoutMk cId="3231307214" sldId="2147483696"/>
              <ac:spMk id="2" creationId="{9B175C8D-A60F-49C1-D56F-EAE657FF3683}"/>
            </ac:spMkLst>
          </pc:spChg>
        </pc:sldLayoutChg>
        <pc:sldLayoutChg chg="modSp mod">
          <pc:chgData name="Afzal, Tanzeel" userId="4c1bee66-eab8-4968-ab2a-d2fc86f622d3" providerId="ADAL" clId="{379C0618-42FE-451D-8FAA-3258774ED7D0}" dt="2023-12-11T12:12:15.571" v="357" actId="6549"/>
          <pc:sldLayoutMkLst>
            <pc:docMk/>
            <pc:sldMasterMk cId="3564118489" sldId="2147483713"/>
            <pc:sldLayoutMk cId="1113107971" sldId="2147483713"/>
          </pc:sldLayoutMkLst>
          <pc:spChg chg="mod">
            <ac:chgData name="Afzal, Tanzeel" userId="4c1bee66-eab8-4968-ab2a-d2fc86f622d3" providerId="ADAL" clId="{379C0618-42FE-451D-8FAA-3258774ED7D0}" dt="2023-12-11T12:12:15.571" v="357" actId="6549"/>
            <ac:spMkLst>
              <pc:docMk/>
              <pc:sldMasterMk cId="3564118489" sldId="2147483713"/>
              <pc:sldLayoutMk cId="1113107971" sldId="2147483713"/>
              <ac:spMk id="3" creationId="{57D78D68-6E88-419B-9ADA-2A1EC754B6C6}"/>
            </ac:spMkLst>
          </pc:spChg>
        </pc:sldLayoutChg>
        <pc:sldLayoutChg chg="addSp delSp modSp mod">
          <pc:chgData name="Afzal, Tanzeel" userId="4c1bee66-eab8-4968-ab2a-d2fc86f622d3" providerId="ADAL" clId="{379C0618-42FE-451D-8FAA-3258774ED7D0}" dt="2023-12-11T18:27:39.700" v="2745"/>
          <pc:sldLayoutMkLst>
            <pc:docMk/>
            <pc:sldMasterMk cId="3564118489" sldId="2147483713"/>
            <pc:sldLayoutMk cId="2357810075" sldId="2147483713"/>
          </pc:sldLayoutMkLst>
          <pc:spChg chg="del">
            <ac:chgData name="Afzal, Tanzeel" userId="4c1bee66-eab8-4968-ab2a-d2fc86f622d3" providerId="ADAL" clId="{379C0618-42FE-451D-8FAA-3258774ED7D0}" dt="2023-12-11T18:27:39.054" v="2744" actId="478"/>
            <ac:spMkLst>
              <pc:docMk/>
              <pc:sldMasterMk cId="3564118489" sldId="2147483713"/>
              <pc:sldLayoutMk cId="2357810075" sldId="2147483713"/>
              <ac:spMk id="4" creationId="{0E1A8901-C859-1109-7FF8-77E9A6BEC73D}"/>
            </ac:spMkLst>
          </pc:spChg>
          <pc:spChg chg="add mod">
            <ac:chgData name="Afzal, Tanzeel" userId="4c1bee66-eab8-4968-ab2a-d2fc86f622d3" providerId="ADAL" clId="{379C0618-42FE-451D-8FAA-3258774ED7D0}" dt="2023-12-11T18:27:39.700" v="2745"/>
            <ac:spMkLst>
              <pc:docMk/>
              <pc:sldMasterMk cId="3564118489" sldId="2147483713"/>
              <pc:sldLayoutMk cId="2357810075" sldId="2147483713"/>
              <ac:spMk id="5" creationId="{CD7E6950-3EA0-66DF-EAD5-4E07E789D698}"/>
            </ac:spMkLst>
          </pc:spChg>
        </pc:sldLayoutChg>
      </pc:sldMasterChg>
    </pc:docChg>
  </pc:docChgLst>
  <pc:docChgLst>
    <pc:chgData name="Perretti, Ilaria" userId="aaf0d85c-e107-4cbf-8743-b9285e44fae2" providerId="ADAL" clId="{778578E3-1CF6-4A96-9EE7-AF13921511E1}"/>
    <pc:docChg chg="undo custSel addSld delSld modSld sldOrd modSection">
      <pc:chgData name="Perretti, Ilaria" userId="aaf0d85c-e107-4cbf-8743-b9285e44fae2" providerId="ADAL" clId="{778578E3-1CF6-4A96-9EE7-AF13921511E1}" dt="2023-12-12T06:32:06.155" v="6115"/>
      <pc:docMkLst>
        <pc:docMk/>
      </pc:docMkLst>
      <pc:sldChg chg="del">
        <pc:chgData name="Perretti, Ilaria" userId="aaf0d85c-e107-4cbf-8743-b9285e44fae2" providerId="ADAL" clId="{778578E3-1CF6-4A96-9EE7-AF13921511E1}" dt="2023-12-11T16:00:31.147" v="5366" actId="47"/>
        <pc:sldMkLst>
          <pc:docMk/>
          <pc:sldMk cId="1370184488" sldId="305"/>
        </pc:sldMkLst>
      </pc:sldChg>
      <pc:sldChg chg="add del">
        <pc:chgData name="Perretti, Ilaria" userId="aaf0d85c-e107-4cbf-8743-b9285e44fae2" providerId="ADAL" clId="{778578E3-1CF6-4A96-9EE7-AF13921511E1}" dt="2023-12-11T15:37:03.038" v="5296"/>
        <pc:sldMkLst>
          <pc:docMk/>
          <pc:sldMk cId="2365192800" sldId="669"/>
        </pc:sldMkLst>
      </pc:sldChg>
      <pc:sldChg chg="modSp mod">
        <pc:chgData name="Perretti, Ilaria" userId="aaf0d85c-e107-4cbf-8743-b9285e44fae2" providerId="ADAL" clId="{778578E3-1CF6-4A96-9EE7-AF13921511E1}" dt="2023-12-11T10:38:49.297" v="3136" actId="20577"/>
        <pc:sldMkLst>
          <pc:docMk/>
          <pc:sldMk cId="3812115710" sldId="2147469513"/>
        </pc:sldMkLst>
        <pc:spChg chg="mod">
          <ac:chgData name="Perretti, Ilaria" userId="aaf0d85c-e107-4cbf-8743-b9285e44fae2" providerId="ADAL" clId="{778578E3-1CF6-4A96-9EE7-AF13921511E1}" dt="2023-12-11T10:38:49.297" v="3136" actId="20577"/>
          <ac:spMkLst>
            <pc:docMk/>
            <pc:sldMk cId="3812115710" sldId="2147469513"/>
            <ac:spMk id="752" creationId="{00000000-0000-0000-0000-000000000000}"/>
          </ac:spMkLst>
        </pc:spChg>
      </pc:sldChg>
      <pc:sldChg chg="modSp mod">
        <pc:chgData name="Perretti, Ilaria" userId="aaf0d85c-e107-4cbf-8743-b9285e44fae2" providerId="ADAL" clId="{778578E3-1CF6-4A96-9EE7-AF13921511E1}" dt="2023-12-11T05:57:04.639" v="12" actId="20577"/>
        <pc:sldMkLst>
          <pc:docMk/>
          <pc:sldMk cId="3715117950" sldId="2147469514"/>
        </pc:sldMkLst>
        <pc:spChg chg="mod">
          <ac:chgData name="Perretti, Ilaria" userId="aaf0d85c-e107-4cbf-8743-b9285e44fae2" providerId="ADAL" clId="{778578E3-1CF6-4A96-9EE7-AF13921511E1}" dt="2023-12-11T05:57:04.639" v="12" actId="20577"/>
          <ac:spMkLst>
            <pc:docMk/>
            <pc:sldMk cId="3715117950" sldId="2147469514"/>
            <ac:spMk id="752" creationId="{00000000-0000-0000-0000-000000000000}"/>
          </ac:spMkLst>
        </pc:spChg>
      </pc:sldChg>
      <pc:sldChg chg="modSp mod">
        <pc:chgData name="Perretti, Ilaria" userId="aaf0d85c-e107-4cbf-8743-b9285e44fae2" providerId="ADAL" clId="{778578E3-1CF6-4A96-9EE7-AF13921511E1}" dt="2023-12-11T14:58:36.590" v="5106" actId="20577"/>
        <pc:sldMkLst>
          <pc:docMk/>
          <pc:sldMk cId="2120408574" sldId="2147469533"/>
        </pc:sldMkLst>
        <pc:spChg chg="mod">
          <ac:chgData name="Perretti, Ilaria" userId="aaf0d85c-e107-4cbf-8743-b9285e44fae2" providerId="ADAL" clId="{778578E3-1CF6-4A96-9EE7-AF13921511E1}" dt="2023-12-11T14:58:36.590" v="5106" actId="20577"/>
          <ac:spMkLst>
            <pc:docMk/>
            <pc:sldMk cId="2120408574" sldId="2147469533"/>
            <ac:spMk id="102" creationId="{55B879C1-E8E4-4904-AE1A-DAAF52A79DD4}"/>
          </ac:spMkLst>
        </pc:spChg>
      </pc:sldChg>
      <pc:sldChg chg="modSp mod">
        <pc:chgData name="Perretti, Ilaria" userId="aaf0d85c-e107-4cbf-8743-b9285e44fae2" providerId="ADAL" clId="{778578E3-1CF6-4A96-9EE7-AF13921511E1}" dt="2023-12-11T16:32:46.477" v="5904" actId="14100"/>
        <pc:sldMkLst>
          <pc:docMk/>
          <pc:sldMk cId="1060625888" sldId="2147469628"/>
        </pc:sldMkLst>
        <pc:spChg chg="mod">
          <ac:chgData name="Perretti, Ilaria" userId="aaf0d85c-e107-4cbf-8743-b9285e44fae2" providerId="ADAL" clId="{778578E3-1CF6-4A96-9EE7-AF13921511E1}" dt="2023-12-11T07:50:16.410" v="1539" actId="20577"/>
          <ac:spMkLst>
            <pc:docMk/>
            <pc:sldMk cId="1060625888" sldId="2147469628"/>
            <ac:spMk id="2" creationId="{22C9D925-D8D2-8026-EAA0-6166E1ACEC20}"/>
          </ac:spMkLst>
        </pc:spChg>
        <pc:spChg chg="mod">
          <ac:chgData name="Perretti, Ilaria" userId="aaf0d85c-e107-4cbf-8743-b9285e44fae2" providerId="ADAL" clId="{778578E3-1CF6-4A96-9EE7-AF13921511E1}" dt="2023-12-11T16:32:46.477" v="5904" actId="14100"/>
          <ac:spMkLst>
            <pc:docMk/>
            <pc:sldMk cId="1060625888" sldId="2147469628"/>
            <ac:spMk id="507" creationId="{42A25287-6DDF-D975-7AAE-33B629EF2BC8}"/>
          </ac:spMkLst>
        </pc:spChg>
      </pc:sldChg>
      <pc:sldChg chg="addSp delSp modSp mod modCm">
        <pc:chgData name="Perretti, Ilaria" userId="aaf0d85c-e107-4cbf-8743-b9285e44fae2" providerId="ADAL" clId="{778578E3-1CF6-4A96-9EE7-AF13921511E1}" dt="2023-12-12T06:29:41.046" v="6084" actId="313"/>
        <pc:sldMkLst>
          <pc:docMk/>
          <pc:sldMk cId="402931147" sldId="2147472039"/>
        </pc:sldMkLst>
        <pc:spChg chg="del">
          <ac:chgData name="Perretti, Ilaria" userId="aaf0d85c-e107-4cbf-8743-b9285e44fae2" providerId="ADAL" clId="{778578E3-1CF6-4A96-9EE7-AF13921511E1}" dt="2023-12-11T05:56:42.328" v="6" actId="478"/>
          <ac:spMkLst>
            <pc:docMk/>
            <pc:sldMk cId="402931147" sldId="2147472039"/>
            <ac:spMk id="2" creationId="{493194AE-3848-4A82-B58F-76AAFC4964F4}"/>
          </ac:spMkLst>
        </pc:spChg>
        <pc:spChg chg="del mod">
          <ac:chgData name="Perretti, Ilaria" userId="aaf0d85c-e107-4cbf-8743-b9285e44fae2" providerId="ADAL" clId="{778578E3-1CF6-4A96-9EE7-AF13921511E1}" dt="2023-12-11T07:55:27.206" v="1931" actId="478"/>
          <ac:spMkLst>
            <pc:docMk/>
            <pc:sldMk cId="402931147" sldId="2147472039"/>
            <ac:spMk id="3" creationId="{9AD1926E-679E-9A06-1C31-621E8D660397}"/>
          </ac:spMkLst>
        </pc:spChg>
        <pc:spChg chg="add mod">
          <ac:chgData name="Perretti, Ilaria" userId="aaf0d85c-e107-4cbf-8743-b9285e44fae2" providerId="ADAL" clId="{778578E3-1CF6-4A96-9EE7-AF13921511E1}" dt="2023-12-11T14:58:46.828" v="5109" actId="20577"/>
          <ac:spMkLst>
            <pc:docMk/>
            <pc:sldMk cId="402931147" sldId="2147472039"/>
            <ac:spMk id="4" creationId="{B8847112-E272-B01C-33D5-1C358CCED3BB}"/>
          </ac:spMkLst>
        </pc:spChg>
        <pc:spChg chg="add mod">
          <ac:chgData name="Perretti, Ilaria" userId="aaf0d85c-e107-4cbf-8743-b9285e44fae2" providerId="ADAL" clId="{778578E3-1CF6-4A96-9EE7-AF13921511E1}" dt="2023-12-11T14:58:50.275" v="5112" actId="20577"/>
          <ac:spMkLst>
            <pc:docMk/>
            <pc:sldMk cId="402931147" sldId="2147472039"/>
            <ac:spMk id="5" creationId="{7F5ECB98-61A1-AAE7-5C45-B8F0553A145A}"/>
          </ac:spMkLst>
        </pc:spChg>
        <pc:spChg chg="add mod">
          <ac:chgData name="Perretti, Ilaria" userId="aaf0d85c-e107-4cbf-8743-b9285e44fae2" providerId="ADAL" clId="{778578E3-1CF6-4A96-9EE7-AF13921511E1}" dt="2023-12-11T05:56:47.303" v="8" actId="1076"/>
          <ac:spMkLst>
            <pc:docMk/>
            <pc:sldMk cId="402931147" sldId="2147472039"/>
            <ac:spMk id="6" creationId="{1939E084-4144-C727-2A96-1F50442D92B2}"/>
          </ac:spMkLst>
        </pc:spChg>
        <pc:spChg chg="add mod">
          <ac:chgData name="Perretti, Ilaria" userId="aaf0d85c-e107-4cbf-8743-b9285e44fae2" providerId="ADAL" clId="{778578E3-1CF6-4A96-9EE7-AF13921511E1}" dt="2023-12-11T05:56:47.303" v="8" actId="1076"/>
          <ac:spMkLst>
            <pc:docMk/>
            <pc:sldMk cId="402931147" sldId="2147472039"/>
            <ac:spMk id="7" creationId="{E9BFF517-9EB3-48E9-7806-EC571338418A}"/>
          </ac:spMkLst>
        </pc:spChg>
        <pc:spChg chg="add mod">
          <ac:chgData name="Perretti, Ilaria" userId="aaf0d85c-e107-4cbf-8743-b9285e44fae2" providerId="ADAL" clId="{778578E3-1CF6-4A96-9EE7-AF13921511E1}" dt="2023-12-11T05:56:47.303" v="8" actId="1076"/>
          <ac:spMkLst>
            <pc:docMk/>
            <pc:sldMk cId="402931147" sldId="2147472039"/>
            <ac:spMk id="8" creationId="{411E1085-5972-2214-CF3A-3430D8D7B1BD}"/>
          </ac:spMkLst>
        </pc:spChg>
        <pc:spChg chg="del">
          <ac:chgData name="Perretti, Ilaria" userId="aaf0d85c-e107-4cbf-8743-b9285e44fae2" providerId="ADAL" clId="{778578E3-1CF6-4A96-9EE7-AF13921511E1}" dt="2023-12-11T05:56:42.328" v="6" actId="478"/>
          <ac:spMkLst>
            <pc:docMk/>
            <pc:sldMk cId="402931147" sldId="2147472039"/>
            <ac:spMk id="13" creationId="{19E51FED-4EBA-AD93-A1F9-B0ED38AA42D2}"/>
          </ac:spMkLst>
        </pc:spChg>
        <pc:spChg chg="del">
          <ac:chgData name="Perretti, Ilaria" userId="aaf0d85c-e107-4cbf-8743-b9285e44fae2" providerId="ADAL" clId="{778578E3-1CF6-4A96-9EE7-AF13921511E1}" dt="2023-12-11T05:56:42.328" v="6" actId="478"/>
          <ac:spMkLst>
            <pc:docMk/>
            <pc:sldMk cId="402931147" sldId="2147472039"/>
            <ac:spMk id="14" creationId="{6C487330-F552-D282-2015-BE3E2E346ED3}"/>
          </ac:spMkLst>
        </pc:spChg>
        <pc:spChg chg="del">
          <ac:chgData name="Perretti, Ilaria" userId="aaf0d85c-e107-4cbf-8743-b9285e44fae2" providerId="ADAL" clId="{778578E3-1CF6-4A96-9EE7-AF13921511E1}" dt="2023-12-11T05:56:42.328" v="6" actId="478"/>
          <ac:spMkLst>
            <pc:docMk/>
            <pc:sldMk cId="402931147" sldId="2147472039"/>
            <ac:spMk id="15" creationId="{40F0FA65-76E5-5E95-735B-F56664F926FC}"/>
          </ac:spMkLst>
        </pc:spChg>
        <pc:spChg chg="del">
          <ac:chgData name="Perretti, Ilaria" userId="aaf0d85c-e107-4cbf-8743-b9285e44fae2" providerId="ADAL" clId="{778578E3-1CF6-4A96-9EE7-AF13921511E1}" dt="2023-12-11T05:56:42.328" v="6" actId="478"/>
          <ac:spMkLst>
            <pc:docMk/>
            <pc:sldMk cId="402931147" sldId="2147472039"/>
            <ac:spMk id="16" creationId="{33C0C364-77F3-5C53-DAD4-97A999272FDD}"/>
          </ac:spMkLst>
        </pc:spChg>
        <pc:spChg chg="del">
          <ac:chgData name="Perretti, Ilaria" userId="aaf0d85c-e107-4cbf-8743-b9285e44fae2" providerId="ADAL" clId="{778578E3-1CF6-4A96-9EE7-AF13921511E1}" dt="2023-12-11T05:56:42.328" v="6" actId="478"/>
          <ac:spMkLst>
            <pc:docMk/>
            <pc:sldMk cId="402931147" sldId="2147472039"/>
            <ac:spMk id="17" creationId="{9B12BA3E-9019-842C-4D58-C64438DDD8BC}"/>
          </ac:spMkLst>
        </pc:spChg>
        <pc:spChg chg="del">
          <ac:chgData name="Perretti, Ilaria" userId="aaf0d85c-e107-4cbf-8743-b9285e44fae2" providerId="ADAL" clId="{778578E3-1CF6-4A96-9EE7-AF13921511E1}" dt="2023-12-11T05:56:42.328" v="6" actId="478"/>
          <ac:spMkLst>
            <pc:docMk/>
            <pc:sldMk cId="402931147" sldId="2147472039"/>
            <ac:spMk id="18" creationId="{508B3797-A2F5-FF97-2CB7-5E985376360E}"/>
          </ac:spMkLst>
        </pc:spChg>
        <pc:spChg chg="del">
          <ac:chgData name="Perretti, Ilaria" userId="aaf0d85c-e107-4cbf-8743-b9285e44fae2" providerId="ADAL" clId="{778578E3-1CF6-4A96-9EE7-AF13921511E1}" dt="2023-12-11T05:56:42.328" v="6" actId="478"/>
          <ac:spMkLst>
            <pc:docMk/>
            <pc:sldMk cId="402931147" sldId="2147472039"/>
            <ac:spMk id="19" creationId="{8005D643-E55F-CCE3-0A21-E976547A0998}"/>
          </ac:spMkLst>
        </pc:spChg>
        <pc:spChg chg="mod">
          <ac:chgData name="Perretti, Ilaria" userId="aaf0d85c-e107-4cbf-8743-b9285e44fae2" providerId="ADAL" clId="{778578E3-1CF6-4A96-9EE7-AF13921511E1}" dt="2023-12-11T16:34:31.405" v="5913" actId="1076"/>
          <ac:spMkLst>
            <pc:docMk/>
            <pc:sldMk cId="402931147" sldId="2147472039"/>
            <ac:spMk id="20" creationId="{00F4E0F2-F5AE-3F2E-5D71-88291A374125}"/>
          </ac:spMkLst>
        </pc:spChg>
        <pc:spChg chg="del">
          <ac:chgData name="Perretti, Ilaria" userId="aaf0d85c-e107-4cbf-8743-b9285e44fae2" providerId="ADAL" clId="{778578E3-1CF6-4A96-9EE7-AF13921511E1}" dt="2023-12-11T05:56:42.328" v="6" actId="478"/>
          <ac:spMkLst>
            <pc:docMk/>
            <pc:sldMk cId="402931147" sldId="2147472039"/>
            <ac:spMk id="21" creationId="{433B041C-015E-9DDC-3A0A-80D3DDB0E7FE}"/>
          </ac:spMkLst>
        </pc:spChg>
        <pc:spChg chg="del">
          <ac:chgData name="Perretti, Ilaria" userId="aaf0d85c-e107-4cbf-8743-b9285e44fae2" providerId="ADAL" clId="{778578E3-1CF6-4A96-9EE7-AF13921511E1}" dt="2023-12-11T05:56:42.328" v="6" actId="478"/>
          <ac:spMkLst>
            <pc:docMk/>
            <pc:sldMk cId="402931147" sldId="2147472039"/>
            <ac:spMk id="22" creationId="{FF72434F-C550-8063-F56C-62653041D5F9}"/>
          </ac:spMkLst>
        </pc:spChg>
        <pc:spChg chg="mod">
          <ac:chgData name="Perretti, Ilaria" userId="aaf0d85c-e107-4cbf-8743-b9285e44fae2" providerId="ADAL" clId="{778578E3-1CF6-4A96-9EE7-AF13921511E1}" dt="2023-12-11T05:56:42.853" v="7"/>
          <ac:spMkLst>
            <pc:docMk/>
            <pc:sldMk cId="402931147" sldId="2147472039"/>
            <ac:spMk id="23" creationId="{5EEDC67E-9F1E-1E8F-CA99-9CDFEFC8B338}"/>
          </ac:spMkLst>
        </pc:spChg>
        <pc:spChg chg="mod">
          <ac:chgData name="Perretti, Ilaria" userId="aaf0d85c-e107-4cbf-8743-b9285e44fae2" providerId="ADAL" clId="{778578E3-1CF6-4A96-9EE7-AF13921511E1}" dt="2023-12-11T05:56:42.853" v="7"/>
          <ac:spMkLst>
            <pc:docMk/>
            <pc:sldMk cId="402931147" sldId="2147472039"/>
            <ac:spMk id="24" creationId="{D30ED212-6370-6EF7-0618-84639B37248A}"/>
          </ac:spMkLst>
        </pc:spChg>
        <pc:spChg chg="mod">
          <ac:chgData name="Perretti, Ilaria" userId="aaf0d85c-e107-4cbf-8743-b9285e44fae2" providerId="ADAL" clId="{778578E3-1CF6-4A96-9EE7-AF13921511E1}" dt="2023-12-11T05:56:42.853" v="7"/>
          <ac:spMkLst>
            <pc:docMk/>
            <pc:sldMk cId="402931147" sldId="2147472039"/>
            <ac:spMk id="25" creationId="{7A8FC765-EBA9-AEB8-996E-5CB98988D5B1}"/>
          </ac:spMkLst>
        </pc:spChg>
        <pc:spChg chg="mod">
          <ac:chgData name="Perretti, Ilaria" userId="aaf0d85c-e107-4cbf-8743-b9285e44fae2" providerId="ADAL" clId="{778578E3-1CF6-4A96-9EE7-AF13921511E1}" dt="2023-12-11T05:56:42.853" v="7"/>
          <ac:spMkLst>
            <pc:docMk/>
            <pc:sldMk cId="402931147" sldId="2147472039"/>
            <ac:spMk id="26" creationId="{8BE43BA6-9D5E-64D1-44D9-DFF4633BCC48}"/>
          </ac:spMkLst>
        </pc:spChg>
        <pc:spChg chg="mod">
          <ac:chgData name="Perretti, Ilaria" userId="aaf0d85c-e107-4cbf-8743-b9285e44fae2" providerId="ADAL" clId="{778578E3-1CF6-4A96-9EE7-AF13921511E1}" dt="2023-12-11T05:56:42.853" v="7"/>
          <ac:spMkLst>
            <pc:docMk/>
            <pc:sldMk cId="402931147" sldId="2147472039"/>
            <ac:spMk id="27" creationId="{9F82AD72-3A5C-0F7C-23CF-1BF4B8159C53}"/>
          </ac:spMkLst>
        </pc:spChg>
        <pc:spChg chg="mod">
          <ac:chgData name="Perretti, Ilaria" userId="aaf0d85c-e107-4cbf-8743-b9285e44fae2" providerId="ADAL" clId="{778578E3-1CF6-4A96-9EE7-AF13921511E1}" dt="2023-12-11T05:56:42.853" v="7"/>
          <ac:spMkLst>
            <pc:docMk/>
            <pc:sldMk cId="402931147" sldId="2147472039"/>
            <ac:spMk id="28" creationId="{75A48B00-34D4-3895-8A89-9EA6A85F6467}"/>
          </ac:spMkLst>
        </pc:spChg>
        <pc:spChg chg="mod">
          <ac:chgData name="Perretti, Ilaria" userId="aaf0d85c-e107-4cbf-8743-b9285e44fae2" providerId="ADAL" clId="{778578E3-1CF6-4A96-9EE7-AF13921511E1}" dt="2023-12-11T05:56:42.853" v="7"/>
          <ac:spMkLst>
            <pc:docMk/>
            <pc:sldMk cId="402931147" sldId="2147472039"/>
            <ac:spMk id="29" creationId="{8D1BA2EF-1210-9877-2507-0BE17E58035A}"/>
          </ac:spMkLst>
        </pc:spChg>
        <pc:spChg chg="mod">
          <ac:chgData name="Perretti, Ilaria" userId="aaf0d85c-e107-4cbf-8743-b9285e44fae2" providerId="ADAL" clId="{778578E3-1CF6-4A96-9EE7-AF13921511E1}" dt="2023-12-11T05:56:42.853" v="7"/>
          <ac:spMkLst>
            <pc:docMk/>
            <pc:sldMk cId="402931147" sldId="2147472039"/>
            <ac:spMk id="30" creationId="{4C9EC9C2-5812-A67C-248E-B25E1473A1B3}"/>
          </ac:spMkLst>
        </pc:spChg>
        <pc:spChg chg="mod">
          <ac:chgData name="Perretti, Ilaria" userId="aaf0d85c-e107-4cbf-8743-b9285e44fae2" providerId="ADAL" clId="{778578E3-1CF6-4A96-9EE7-AF13921511E1}" dt="2023-12-11T05:56:42.853" v="7"/>
          <ac:spMkLst>
            <pc:docMk/>
            <pc:sldMk cId="402931147" sldId="2147472039"/>
            <ac:spMk id="31" creationId="{B7C9AB80-4845-7FE2-04B8-26ACFDC92FF2}"/>
          </ac:spMkLst>
        </pc:spChg>
        <pc:spChg chg="mod">
          <ac:chgData name="Perretti, Ilaria" userId="aaf0d85c-e107-4cbf-8743-b9285e44fae2" providerId="ADAL" clId="{778578E3-1CF6-4A96-9EE7-AF13921511E1}" dt="2023-12-11T05:56:42.853" v="7"/>
          <ac:spMkLst>
            <pc:docMk/>
            <pc:sldMk cId="402931147" sldId="2147472039"/>
            <ac:spMk id="36" creationId="{F6885A38-15A1-D2B7-3347-894D91B1DA54}"/>
          </ac:spMkLst>
        </pc:spChg>
        <pc:spChg chg="mod">
          <ac:chgData name="Perretti, Ilaria" userId="aaf0d85c-e107-4cbf-8743-b9285e44fae2" providerId="ADAL" clId="{778578E3-1CF6-4A96-9EE7-AF13921511E1}" dt="2023-12-11T05:56:42.853" v="7"/>
          <ac:spMkLst>
            <pc:docMk/>
            <pc:sldMk cId="402931147" sldId="2147472039"/>
            <ac:spMk id="37" creationId="{EE1C87F3-7E38-A69C-D84B-BAA4DC379ED9}"/>
          </ac:spMkLst>
        </pc:spChg>
        <pc:spChg chg="mod">
          <ac:chgData name="Perretti, Ilaria" userId="aaf0d85c-e107-4cbf-8743-b9285e44fae2" providerId="ADAL" clId="{778578E3-1CF6-4A96-9EE7-AF13921511E1}" dt="2023-12-11T05:56:42.853" v="7"/>
          <ac:spMkLst>
            <pc:docMk/>
            <pc:sldMk cId="402931147" sldId="2147472039"/>
            <ac:spMk id="38" creationId="{BFEE0E40-A0A8-FA3F-690A-6031573FABB2}"/>
          </ac:spMkLst>
        </pc:spChg>
        <pc:spChg chg="mod">
          <ac:chgData name="Perretti, Ilaria" userId="aaf0d85c-e107-4cbf-8743-b9285e44fae2" providerId="ADAL" clId="{778578E3-1CF6-4A96-9EE7-AF13921511E1}" dt="2023-12-11T05:56:42.853" v="7"/>
          <ac:spMkLst>
            <pc:docMk/>
            <pc:sldMk cId="402931147" sldId="2147472039"/>
            <ac:spMk id="39" creationId="{97228199-2CDA-BD3F-4347-BCA21A8F0113}"/>
          </ac:spMkLst>
        </pc:spChg>
        <pc:spChg chg="mod">
          <ac:chgData name="Perretti, Ilaria" userId="aaf0d85c-e107-4cbf-8743-b9285e44fae2" providerId="ADAL" clId="{778578E3-1CF6-4A96-9EE7-AF13921511E1}" dt="2023-12-11T05:56:42.853" v="7"/>
          <ac:spMkLst>
            <pc:docMk/>
            <pc:sldMk cId="402931147" sldId="2147472039"/>
            <ac:spMk id="40" creationId="{28E475EF-B806-1549-0DC3-194B43FF0E29}"/>
          </ac:spMkLst>
        </pc:spChg>
        <pc:spChg chg="mod">
          <ac:chgData name="Perretti, Ilaria" userId="aaf0d85c-e107-4cbf-8743-b9285e44fae2" providerId="ADAL" clId="{778578E3-1CF6-4A96-9EE7-AF13921511E1}" dt="2023-12-11T05:56:42.853" v="7"/>
          <ac:spMkLst>
            <pc:docMk/>
            <pc:sldMk cId="402931147" sldId="2147472039"/>
            <ac:spMk id="41" creationId="{953805AC-3C46-2787-C8EF-3F1580ED50CA}"/>
          </ac:spMkLst>
        </pc:spChg>
        <pc:spChg chg="mod">
          <ac:chgData name="Perretti, Ilaria" userId="aaf0d85c-e107-4cbf-8743-b9285e44fae2" providerId="ADAL" clId="{778578E3-1CF6-4A96-9EE7-AF13921511E1}" dt="2023-12-11T05:56:42.853" v="7"/>
          <ac:spMkLst>
            <pc:docMk/>
            <pc:sldMk cId="402931147" sldId="2147472039"/>
            <ac:spMk id="42" creationId="{2F4AD015-82C7-5DA6-5E6A-B710569F80C6}"/>
          </ac:spMkLst>
        </pc:spChg>
        <pc:spChg chg="mod">
          <ac:chgData name="Perretti, Ilaria" userId="aaf0d85c-e107-4cbf-8743-b9285e44fae2" providerId="ADAL" clId="{778578E3-1CF6-4A96-9EE7-AF13921511E1}" dt="2023-12-11T05:56:42.853" v="7"/>
          <ac:spMkLst>
            <pc:docMk/>
            <pc:sldMk cId="402931147" sldId="2147472039"/>
            <ac:spMk id="43" creationId="{FF00437D-7CFB-C482-90F3-3720F7A6D975}"/>
          </ac:spMkLst>
        </pc:spChg>
        <pc:spChg chg="mod">
          <ac:chgData name="Perretti, Ilaria" userId="aaf0d85c-e107-4cbf-8743-b9285e44fae2" providerId="ADAL" clId="{778578E3-1CF6-4A96-9EE7-AF13921511E1}" dt="2023-12-11T05:56:42.853" v="7"/>
          <ac:spMkLst>
            <pc:docMk/>
            <pc:sldMk cId="402931147" sldId="2147472039"/>
            <ac:spMk id="44" creationId="{0BFD65F3-8484-A822-D22F-C0F2BD8A2ADA}"/>
          </ac:spMkLst>
        </pc:spChg>
        <pc:spChg chg="mod">
          <ac:chgData name="Perretti, Ilaria" userId="aaf0d85c-e107-4cbf-8743-b9285e44fae2" providerId="ADAL" clId="{778578E3-1CF6-4A96-9EE7-AF13921511E1}" dt="2023-12-11T05:56:42.853" v="7"/>
          <ac:spMkLst>
            <pc:docMk/>
            <pc:sldMk cId="402931147" sldId="2147472039"/>
            <ac:spMk id="49" creationId="{4BB5F004-D830-3E7B-D7B1-A92FA2AFAAFF}"/>
          </ac:spMkLst>
        </pc:spChg>
        <pc:spChg chg="mod">
          <ac:chgData name="Perretti, Ilaria" userId="aaf0d85c-e107-4cbf-8743-b9285e44fae2" providerId="ADAL" clId="{778578E3-1CF6-4A96-9EE7-AF13921511E1}" dt="2023-12-11T05:56:42.853" v="7"/>
          <ac:spMkLst>
            <pc:docMk/>
            <pc:sldMk cId="402931147" sldId="2147472039"/>
            <ac:spMk id="50" creationId="{479FBF74-4AB3-A60E-69C2-3E888F1BADB6}"/>
          </ac:spMkLst>
        </pc:spChg>
        <pc:spChg chg="mod">
          <ac:chgData name="Perretti, Ilaria" userId="aaf0d85c-e107-4cbf-8743-b9285e44fae2" providerId="ADAL" clId="{778578E3-1CF6-4A96-9EE7-AF13921511E1}" dt="2023-12-11T05:56:42.853" v="7"/>
          <ac:spMkLst>
            <pc:docMk/>
            <pc:sldMk cId="402931147" sldId="2147472039"/>
            <ac:spMk id="51" creationId="{910A9321-EF8D-E9B7-5BD4-C84C935250A4}"/>
          </ac:spMkLst>
        </pc:spChg>
        <pc:spChg chg="mod">
          <ac:chgData name="Perretti, Ilaria" userId="aaf0d85c-e107-4cbf-8743-b9285e44fae2" providerId="ADAL" clId="{778578E3-1CF6-4A96-9EE7-AF13921511E1}" dt="2023-12-11T05:56:42.853" v="7"/>
          <ac:spMkLst>
            <pc:docMk/>
            <pc:sldMk cId="402931147" sldId="2147472039"/>
            <ac:spMk id="52" creationId="{7A22A0E6-9654-B512-2B01-C05AE6FB436A}"/>
          </ac:spMkLst>
        </pc:spChg>
        <pc:spChg chg="mod">
          <ac:chgData name="Perretti, Ilaria" userId="aaf0d85c-e107-4cbf-8743-b9285e44fae2" providerId="ADAL" clId="{778578E3-1CF6-4A96-9EE7-AF13921511E1}" dt="2023-12-11T05:56:42.853" v="7"/>
          <ac:spMkLst>
            <pc:docMk/>
            <pc:sldMk cId="402931147" sldId="2147472039"/>
            <ac:spMk id="53" creationId="{0A2171EC-31B6-8C74-E29F-F909993A9205}"/>
          </ac:spMkLst>
        </pc:spChg>
        <pc:spChg chg="mod">
          <ac:chgData name="Perretti, Ilaria" userId="aaf0d85c-e107-4cbf-8743-b9285e44fae2" providerId="ADAL" clId="{778578E3-1CF6-4A96-9EE7-AF13921511E1}" dt="2023-12-11T05:56:42.853" v="7"/>
          <ac:spMkLst>
            <pc:docMk/>
            <pc:sldMk cId="402931147" sldId="2147472039"/>
            <ac:spMk id="54" creationId="{DEF47B6F-8E84-A742-BF41-7D0AA98E303A}"/>
          </ac:spMkLst>
        </pc:spChg>
        <pc:spChg chg="mod">
          <ac:chgData name="Perretti, Ilaria" userId="aaf0d85c-e107-4cbf-8743-b9285e44fae2" providerId="ADAL" clId="{778578E3-1CF6-4A96-9EE7-AF13921511E1}" dt="2023-12-11T05:56:42.853" v="7"/>
          <ac:spMkLst>
            <pc:docMk/>
            <pc:sldMk cId="402931147" sldId="2147472039"/>
            <ac:spMk id="55" creationId="{ADE16AB0-19CD-C56A-0D0A-C1FAACB7FA0F}"/>
          </ac:spMkLst>
        </pc:spChg>
        <pc:spChg chg="mod">
          <ac:chgData name="Perretti, Ilaria" userId="aaf0d85c-e107-4cbf-8743-b9285e44fae2" providerId="ADAL" clId="{778578E3-1CF6-4A96-9EE7-AF13921511E1}" dt="2023-12-11T05:56:42.853" v="7"/>
          <ac:spMkLst>
            <pc:docMk/>
            <pc:sldMk cId="402931147" sldId="2147472039"/>
            <ac:spMk id="56" creationId="{61AF6464-BE54-5033-6226-C2CEEC5DDC55}"/>
          </ac:spMkLst>
        </pc:spChg>
        <pc:spChg chg="mod">
          <ac:chgData name="Perretti, Ilaria" userId="aaf0d85c-e107-4cbf-8743-b9285e44fae2" providerId="ADAL" clId="{778578E3-1CF6-4A96-9EE7-AF13921511E1}" dt="2023-12-11T05:56:42.853" v="7"/>
          <ac:spMkLst>
            <pc:docMk/>
            <pc:sldMk cId="402931147" sldId="2147472039"/>
            <ac:spMk id="57" creationId="{1B712D48-3545-CC6F-4389-A83D940D6C5E}"/>
          </ac:spMkLst>
        </pc:spChg>
        <pc:spChg chg="mod">
          <ac:chgData name="Perretti, Ilaria" userId="aaf0d85c-e107-4cbf-8743-b9285e44fae2" providerId="ADAL" clId="{778578E3-1CF6-4A96-9EE7-AF13921511E1}" dt="2023-12-11T05:56:42.853" v="7"/>
          <ac:spMkLst>
            <pc:docMk/>
            <pc:sldMk cId="402931147" sldId="2147472039"/>
            <ac:spMk id="62" creationId="{1384F1F9-1C2F-33E4-6374-CDCA1EB13456}"/>
          </ac:spMkLst>
        </pc:spChg>
        <pc:spChg chg="mod">
          <ac:chgData name="Perretti, Ilaria" userId="aaf0d85c-e107-4cbf-8743-b9285e44fae2" providerId="ADAL" clId="{778578E3-1CF6-4A96-9EE7-AF13921511E1}" dt="2023-12-11T05:56:42.853" v="7"/>
          <ac:spMkLst>
            <pc:docMk/>
            <pc:sldMk cId="402931147" sldId="2147472039"/>
            <ac:spMk id="63" creationId="{05FBDE57-9791-5106-AC29-4FF63D828EA3}"/>
          </ac:spMkLst>
        </pc:spChg>
        <pc:spChg chg="mod">
          <ac:chgData name="Perretti, Ilaria" userId="aaf0d85c-e107-4cbf-8743-b9285e44fae2" providerId="ADAL" clId="{778578E3-1CF6-4A96-9EE7-AF13921511E1}" dt="2023-12-11T05:56:42.853" v="7"/>
          <ac:spMkLst>
            <pc:docMk/>
            <pc:sldMk cId="402931147" sldId="2147472039"/>
            <ac:spMk id="64" creationId="{3DDDC62B-C65E-0616-F1FA-690A81D3CA6F}"/>
          </ac:spMkLst>
        </pc:spChg>
        <pc:spChg chg="mod">
          <ac:chgData name="Perretti, Ilaria" userId="aaf0d85c-e107-4cbf-8743-b9285e44fae2" providerId="ADAL" clId="{778578E3-1CF6-4A96-9EE7-AF13921511E1}" dt="2023-12-11T05:56:42.853" v="7"/>
          <ac:spMkLst>
            <pc:docMk/>
            <pc:sldMk cId="402931147" sldId="2147472039"/>
            <ac:spMk id="65" creationId="{EFDC8A92-A2BF-C009-FCC6-061D160758AC}"/>
          </ac:spMkLst>
        </pc:spChg>
        <pc:spChg chg="mod">
          <ac:chgData name="Perretti, Ilaria" userId="aaf0d85c-e107-4cbf-8743-b9285e44fae2" providerId="ADAL" clId="{778578E3-1CF6-4A96-9EE7-AF13921511E1}" dt="2023-12-11T05:56:42.853" v="7"/>
          <ac:spMkLst>
            <pc:docMk/>
            <pc:sldMk cId="402931147" sldId="2147472039"/>
            <ac:spMk id="66" creationId="{30E0294E-5AF7-7ECF-95D9-EFF70A03D0D6}"/>
          </ac:spMkLst>
        </pc:spChg>
        <pc:spChg chg="mod">
          <ac:chgData name="Perretti, Ilaria" userId="aaf0d85c-e107-4cbf-8743-b9285e44fae2" providerId="ADAL" clId="{778578E3-1CF6-4A96-9EE7-AF13921511E1}" dt="2023-12-11T05:56:42.853" v="7"/>
          <ac:spMkLst>
            <pc:docMk/>
            <pc:sldMk cId="402931147" sldId="2147472039"/>
            <ac:spMk id="67" creationId="{8C7C3CBC-BD56-30A2-7742-7DBCDAC8B956}"/>
          </ac:spMkLst>
        </pc:spChg>
        <pc:spChg chg="mod">
          <ac:chgData name="Perretti, Ilaria" userId="aaf0d85c-e107-4cbf-8743-b9285e44fae2" providerId="ADAL" clId="{778578E3-1CF6-4A96-9EE7-AF13921511E1}" dt="2023-12-11T05:56:42.853" v="7"/>
          <ac:spMkLst>
            <pc:docMk/>
            <pc:sldMk cId="402931147" sldId="2147472039"/>
            <ac:spMk id="68" creationId="{E207DF90-6EB2-C7A3-EB29-D5D87DF54D38}"/>
          </ac:spMkLst>
        </pc:spChg>
        <pc:spChg chg="mod">
          <ac:chgData name="Perretti, Ilaria" userId="aaf0d85c-e107-4cbf-8743-b9285e44fae2" providerId="ADAL" clId="{778578E3-1CF6-4A96-9EE7-AF13921511E1}" dt="2023-12-11T05:56:42.853" v="7"/>
          <ac:spMkLst>
            <pc:docMk/>
            <pc:sldMk cId="402931147" sldId="2147472039"/>
            <ac:spMk id="69" creationId="{F117EFA5-5EA2-AB54-E1F9-5521866204D8}"/>
          </ac:spMkLst>
        </pc:spChg>
        <pc:spChg chg="mod">
          <ac:chgData name="Perretti, Ilaria" userId="aaf0d85c-e107-4cbf-8743-b9285e44fae2" providerId="ADAL" clId="{778578E3-1CF6-4A96-9EE7-AF13921511E1}" dt="2023-12-11T05:56:42.853" v="7"/>
          <ac:spMkLst>
            <pc:docMk/>
            <pc:sldMk cId="402931147" sldId="2147472039"/>
            <ac:spMk id="70" creationId="{D6082F0F-E8BE-1B44-0A9F-56AC4A731B31}"/>
          </ac:spMkLst>
        </pc:spChg>
        <pc:spChg chg="add mod">
          <ac:chgData name="Perretti, Ilaria" userId="aaf0d85c-e107-4cbf-8743-b9285e44fae2" providerId="ADAL" clId="{778578E3-1CF6-4A96-9EE7-AF13921511E1}" dt="2023-12-11T07:56:42.392" v="2029" actId="122"/>
          <ac:spMkLst>
            <pc:docMk/>
            <pc:sldMk cId="402931147" sldId="2147472039"/>
            <ac:spMk id="71" creationId="{71235CA4-C717-8AA5-50C6-1A738661FD9B}"/>
          </ac:spMkLst>
        </pc:spChg>
        <pc:spChg chg="add del mod">
          <ac:chgData name="Perretti, Ilaria" userId="aaf0d85c-e107-4cbf-8743-b9285e44fae2" providerId="ADAL" clId="{778578E3-1CF6-4A96-9EE7-AF13921511E1}" dt="2023-12-11T06:41:58.690" v="822" actId="478"/>
          <ac:spMkLst>
            <pc:docMk/>
            <pc:sldMk cId="402931147" sldId="2147472039"/>
            <ac:spMk id="72" creationId="{64C38D0D-3E7E-30E2-BB59-D3C7AAE35020}"/>
          </ac:spMkLst>
        </pc:spChg>
        <pc:spChg chg="add mod">
          <ac:chgData name="Perretti, Ilaria" userId="aaf0d85c-e107-4cbf-8743-b9285e44fae2" providerId="ADAL" clId="{778578E3-1CF6-4A96-9EE7-AF13921511E1}" dt="2023-12-11T14:58:58.330" v="5126" actId="20577"/>
          <ac:spMkLst>
            <pc:docMk/>
            <pc:sldMk cId="402931147" sldId="2147472039"/>
            <ac:spMk id="73" creationId="{666E9D38-D49C-AE9C-98C8-EB36781AFC3B}"/>
          </ac:spMkLst>
        </pc:spChg>
        <pc:spChg chg="add mod">
          <ac:chgData name="Perretti, Ilaria" userId="aaf0d85c-e107-4cbf-8743-b9285e44fae2" providerId="ADAL" clId="{778578E3-1CF6-4A96-9EE7-AF13921511E1}" dt="2023-12-11T07:54:06.711" v="1801" actId="1076"/>
          <ac:spMkLst>
            <pc:docMk/>
            <pc:sldMk cId="402931147" sldId="2147472039"/>
            <ac:spMk id="79" creationId="{B4DBB27D-4DD9-40BC-B3B8-BE093048D1FC}"/>
          </ac:spMkLst>
        </pc:spChg>
        <pc:spChg chg="add del mod">
          <ac:chgData name="Perretti, Ilaria" userId="aaf0d85c-e107-4cbf-8743-b9285e44fae2" providerId="ADAL" clId="{778578E3-1CF6-4A96-9EE7-AF13921511E1}" dt="2023-12-11T07:54:09.532" v="1802" actId="478"/>
          <ac:spMkLst>
            <pc:docMk/>
            <pc:sldMk cId="402931147" sldId="2147472039"/>
            <ac:spMk id="80" creationId="{53A57176-1257-3DE6-933F-E52308AAF2BB}"/>
          </ac:spMkLst>
        </pc:spChg>
        <pc:spChg chg="add del mod">
          <ac:chgData name="Perretti, Ilaria" userId="aaf0d85c-e107-4cbf-8743-b9285e44fae2" providerId="ADAL" clId="{778578E3-1CF6-4A96-9EE7-AF13921511E1}" dt="2023-12-11T06:44:30.956" v="911" actId="478"/>
          <ac:spMkLst>
            <pc:docMk/>
            <pc:sldMk cId="402931147" sldId="2147472039"/>
            <ac:spMk id="81" creationId="{77E7A8B0-6B21-C3E6-9938-992E09529E5D}"/>
          </ac:spMkLst>
        </pc:spChg>
        <pc:spChg chg="add mod">
          <ac:chgData name="Perretti, Ilaria" userId="aaf0d85c-e107-4cbf-8743-b9285e44fae2" providerId="ADAL" clId="{778578E3-1CF6-4A96-9EE7-AF13921511E1}" dt="2023-12-11T14:58:54.213" v="5119" actId="20577"/>
          <ac:spMkLst>
            <pc:docMk/>
            <pc:sldMk cId="402931147" sldId="2147472039"/>
            <ac:spMk id="82" creationId="{53E90770-A92C-B8D8-63CB-ABA580F003B6}"/>
          </ac:spMkLst>
        </pc:spChg>
        <pc:spChg chg="add mod">
          <ac:chgData name="Perretti, Ilaria" userId="aaf0d85c-e107-4cbf-8743-b9285e44fae2" providerId="ADAL" clId="{778578E3-1CF6-4A96-9EE7-AF13921511E1}" dt="2023-12-12T06:29:41.046" v="6084" actId="313"/>
          <ac:spMkLst>
            <pc:docMk/>
            <pc:sldMk cId="402931147" sldId="2147472039"/>
            <ac:spMk id="83" creationId="{959BDE06-EB81-AF33-C504-1508D05B34C0}"/>
          </ac:spMkLst>
        </pc:spChg>
        <pc:spChg chg="add mod">
          <ac:chgData name="Perretti, Ilaria" userId="aaf0d85c-e107-4cbf-8743-b9285e44fae2" providerId="ADAL" clId="{778578E3-1CF6-4A96-9EE7-AF13921511E1}" dt="2023-12-11T07:53:51.561" v="1795" actId="108"/>
          <ac:spMkLst>
            <pc:docMk/>
            <pc:sldMk cId="402931147" sldId="2147472039"/>
            <ac:spMk id="84" creationId="{F019605D-C0F6-0D8C-6D9A-844874CB7CF9}"/>
          </ac:spMkLst>
        </pc:spChg>
        <pc:spChg chg="add mod">
          <ac:chgData name="Perretti, Ilaria" userId="aaf0d85c-e107-4cbf-8743-b9285e44fae2" providerId="ADAL" clId="{778578E3-1CF6-4A96-9EE7-AF13921511E1}" dt="2023-12-11T07:54:21.999" v="1804" actId="1076"/>
          <ac:spMkLst>
            <pc:docMk/>
            <pc:sldMk cId="402931147" sldId="2147472039"/>
            <ac:spMk id="85" creationId="{0E2D23AD-AA5D-006B-0672-0371C47BE8C7}"/>
          </ac:spMkLst>
        </pc:spChg>
        <pc:spChg chg="add del mod">
          <ac:chgData name="Perretti, Ilaria" userId="aaf0d85c-e107-4cbf-8743-b9285e44fae2" providerId="ADAL" clId="{778578E3-1CF6-4A96-9EE7-AF13921511E1}" dt="2023-12-11T07:57:29.980" v="2126" actId="478"/>
          <ac:spMkLst>
            <pc:docMk/>
            <pc:sldMk cId="402931147" sldId="2147472039"/>
            <ac:spMk id="86" creationId="{05591EA0-DE10-E381-C0D6-AD4C2040137B}"/>
          </ac:spMkLst>
        </pc:spChg>
        <pc:grpChg chg="add mod">
          <ac:chgData name="Perretti, Ilaria" userId="aaf0d85c-e107-4cbf-8743-b9285e44fae2" providerId="ADAL" clId="{778578E3-1CF6-4A96-9EE7-AF13921511E1}" dt="2023-12-11T05:56:47.303" v="8" actId="1076"/>
          <ac:grpSpMkLst>
            <pc:docMk/>
            <pc:sldMk cId="402931147" sldId="2147472039"/>
            <ac:grpSpMk id="9" creationId="{9C9BE501-28B0-BFED-2579-1BC84B5AD704}"/>
          </ac:grpSpMkLst>
        </pc:grpChg>
        <pc:grpChg chg="mod">
          <ac:chgData name="Perretti, Ilaria" userId="aaf0d85c-e107-4cbf-8743-b9285e44fae2" providerId="ADAL" clId="{778578E3-1CF6-4A96-9EE7-AF13921511E1}" dt="2023-12-11T05:56:42.853" v="7"/>
          <ac:grpSpMkLst>
            <pc:docMk/>
            <pc:sldMk cId="402931147" sldId="2147472039"/>
            <ac:grpSpMk id="10" creationId="{3532815E-D96D-150D-F41D-B9A02C1A1684}"/>
          </ac:grpSpMkLst>
        </pc:grpChg>
        <pc:grpChg chg="mod">
          <ac:chgData name="Perretti, Ilaria" userId="aaf0d85c-e107-4cbf-8743-b9285e44fae2" providerId="ADAL" clId="{778578E3-1CF6-4A96-9EE7-AF13921511E1}" dt="2023-12-11T05:56:42.853" v="7"/>
          <ac:grpSpMkLst>
            <pc:docMk/>
            <pc:sldMk cId="402931147" sldId="2147472039"/>
            <ac:grpSpMk id="11" creationId="{866600A6-41A7-BA21-C52C-64755E2BCBF3}"/>
          </ac:grpSpMkLst>
        </pc:grpChg>
        <pc:grpChg chg="mod">
          <ac:chgData name="Perretti, Ilaria" userId="aaf0d85c-e107-4cbf-8743-b9285e44fae2" providerId="ADAL" clId="{778578E3-1CF6-4A96-9EE7-AF13921511E1}" dt="2023-12-11T05:56:42.853" v="7"/>
          <ac:grpSpMkLst>
            <pc:docMk/>
            <pc:sldMk cId="402931147" sldId="2147472039"/>
            <ac:grpSpMk id="12" creationId="{A4E0506A-A30B-2711-28B3-FEBD8A701301}"/>
          </ac:grpSpMkLst>
        </pc:grpChg>
        <pc:grpChg chg="add mod">
          <ac:chgData name="Perretti, Ilaria" userId="aaf0d85c-e107-4cbf-8743-b9285e44fae2" providerId="ADAL" clId="{778578E3-1CF6-4A96-9EE7-AF13921511E1}" dt="2023-12-11T05:56:47.303" v="8" actId="1076"/>
          <ac:grpSpMkLst>
            <pc:docMk/>
            <pc:sldMk cId="402931147" sldId="2147472039"/>
            <ac:grpSpMk id="32" creationId="{B897A58D-3875-73BE-E020-D03DFDE7C5A0}"/>
          </ac:grpSpMkLst>
        </pc:grpChg>
        <pc:grpChg chg="mod">
          <ac:chgData name="Perretti, Ilaria" userId="aaf0d85c-e107-4cbf-8743-b9285e44fae2" providerId="ADAL" clId="{778578E3-1CF6-4A96-9EE7-AF13921511E1}" dt="2023-12-11T05:56:42.853" v="7"/>
          <ac:grpSpMkLst>
            <pc:docMk/>
            <pc:sldMk cId="402931147" sldId="2147472039"/>
            <ac:grpSpMk id="33" creationId="{25CE7195-FDA3-40ED-959B-F106DE90C1EF}"/>
          </ac:grpSpMkLst>
        </pc:grpChg>
        <pc:grpChg chg="mod">
          <ac:chgData name="Perretti, Ilaria" userId="aaf0d85c-e107-4cbf-8743-b9285e44fae2" providerId="ADAL" clId="{778578E3-1CF6-4A96-9EE7-AF13921511E1}" dt="2023-12-11T05:56:42.853" v="7"/>
          <ac:grpSpMkLst>
            <pc:docMk/>
            <pc:sldMk cId="402931147" sldId="2147472039"/>
            <ac:grpSpMk id="34" creationId="{75A1F2D8-8F00-73BE-A17D-B5898B4328E0}"/>
          </ac:grpSpMkLst>
        </pc:grpChg>
        <pc:grpChg chg="mod">
          <ac:chgData name="Perretti, Ilaria" userId="aaf0d85c-e107-4cbf-8743-b9285e44fae2" providerId="ADAL" clId="{778578E3-1CF6-4A96-9EE7-AF13921511E1}" dt="2023-12-11T05:56:42.853" v="7"/>
          <ac:grpSpMkLst>
            <pc:docMk/>
            <pc:sldMk cId="402931147" sldId="2147472039"/>
            <ac:grpSpMk id="35" creationId="{465BB3A8-D6C4-69A2-279B-660CB056475F}"/>
          </ac:grpSpMkLst>
        </pc:grpChg>
        <pc:grpChg chg="add mod">
          <ac:chgData name="Perretti, Ilaria" userId="aaf0d85c-e107-4cbf-8743-b9285e44fae2" providerId="ADAL" clId="{778578E3-1CF6-4A96-9EE7-AF13921511E1}" dt="2023-12-11T05:56:47.303" v="8" actId="1076"/>
          <ac:grpSpMkLst>
            <pc:docMk/>
            <pc:sldMk cId="402931147" sldId="2147472039"/>
            <ac:grpSpMk id="45" creationId="{70BB9F10-0AC8-8786-095E-88DE19680E5C}"/>
          </ac:grpSpMkLst>
        </pc:grpChg>
        <pc:grpChg chg="mod">
          <ac:chgData name="Perretti, Ilaria" userId="aaf0d85c-e107-4cbf-8743-b9285e44fae2" providerId="ADAL" clId="{778578E3-1CF6-4A96-9EE7-AF13921511E1}" dt="2023-12-11T05:56:42.853" v="7"/>
          <ac:grpSpMkLst>
            <pc:docMk/>
            <pc:sldMk cId="402931147" sldId="2147472039"/>
            <ac:grpSpMk id="46" creationId="{625E5492-A267-6D1F-CA30-BDD23F3D4C5D}"/>
          </ac:grpSpMkLst>
        </pc:grpChg>
        <pc:grpChg chg="mod">
          <ac:chgData name="Perretti, Ilaria" userId="aaf0d85c-e107-4cbf-8743-b9285e44fae2" providerId="ADAL" clId="{778578E3-1CF6-4A96-9EE7-AF13921511E1}" dt="2023-12-11T05:56:42.853" v="7"/>
          <ac:grpSpMkLst>
            <pc:docMk/>
            <pc:sldMk cId="402931147" sldId="2147472039"/>
            <ac:grpSpMk id="47" creationId="{CD96F3E9-AC99-C207-87EB-9ADB0FE2852B}"/>
          </ac:grpSpMkLst>
        </pc:grpChg>
        <pc:grpChg chg="mod">
          <ac:chgData name="Perretti, Ilaria" userId="aaf0d85c-e107-4cbf-8743-b9285e44fae2" providerId="ADAL" clId="{778578E3-1CF6-4A96-9EE7-AF13921511E1}" dt="2023-12-11T05:56:42.853" v="7"/>
          <ac:grpSpMkLst>
            <pc:docMk/>
            <pc:sldMk cId="402931147" sldId="2147472039"/>
            <ac:grpSpMk id="48" creationId="{3C43CB03-3B4F-B073-2923-044D48A15615}"/>
          </ac:grpSpMkLst>
        </pc:grpChg>
        <pc:grpChg chg="add mod">
          <ac:chgData name="Perretti, Ilaria" userId="aaf0d85c-e107-4cbf-8743-b9285e44fae2" providerId="ADAL" clId="{778578E3-1CF6-4A96-9EE7-AF13921511E1}" dt="2023-12-11T05:56:47.303" v="8" actId="1076"/>
          <ac:grpSpMkLst>
            <pc:docMk/>
            <pc:sldMk cId="402931147" sldId="2147472039"/>
            <ac:grpSpMk id="58" creationId="{4B493BEC-D7FE-4017-6812-D89E1DAB9A58}"/>
          </ac:grpSpMkLst>
        </pc:grpChg>
        <pc:grpChg chg="mod">
          <ac:chgData name="Perretti, Ilaria" userId="aaf0d85c-e107-4cbf-8743-b9285e44fae2" providerId="ADAL" clId="{778578E3-1CF6-4A96-9EE7-AF13921511E1}" dt="2023-12-11T05:56:42.853" v="7"/>
          <ac:grpSpMkLst>
            <pc:docMk/>
            <pc:sldMk cId="402931147" sldId="2147472039"/>
            <ac:grpSpMk id="59" creationId="{64107153-8947-5EE5-B2A2-A09A042DB276}"/>
          </ac:grpSpMkLst>
        </pc:grpChg>
        <pc:grpChg chg="mod">
          <ac:chgData name="Perretti, Ilaria" userId="aaf0d85c-e107-4cbf-8743-b9285e44fae2" providerId="ADAL" clId="{778578E3-1CF6-4A96-9EE7-AF13921511E1}" dt="2023-12-11T05:56:42.853" v="7"/>
          <ac:grpSpMkLst>
            <pc:docMk/>
            <pc:sldMk cId="402931147" sldId="2147472039"/>
            <ac:grpSpMk id="60" creationId="{F607E4F5-692C-73EE-D033-BDD238FF95AB}"/>
          </ac:grpSpMkLst>
        </pc:grpChg>
        <pc:grpChg chg="mod">
          <ac:chgData name="Perretti, Ilaria" userId="aaf0d85c-e107-4cbf-8743-b9285e44fae2" providerId="ADAL" clId="{778578E3-1CF6-4A96-9EE7-AF13921511E1}" dt="2023-12-11T05:56:42.853" v="7"/>
          <ac:grpSpMkLst>
            <pc:docMk/>
            <pc:sldMk cId="402931147" sldId="2147472039"/>
            <ac:grpSpMk id="61" creationId="{2FD18663-3DA0-414A-DD20-EFEE1AA10EBA}"/>
          </ac:grpSpMkLst>
        </pc:grpChg>
        <pc:cxnChg chg="add mod">
          <ac:chgData name="Perretti, Ilaria" userId="aaf0d85c-e107-4cbf-8743-b9285e44fae2" providerId="ADAL" clId="{778578E3-1CF6-4A96-9EE7-AF13921511E1}" dt="2023-12-11T06:51:18.297" v="1503" actId="1035"/>
          <ac:cxnSpMkLst>
            <pc:docMk/>
            <pc:sldMk cId="402931147" sldId="2147472039"/>
            <ac:cxnSpMk id="77" creationId="{198E6293-6BE7-831A-2A05-3DA47F20A771}"/>
          </ac:cxnSpMkLst>
        </pc:cxnChg>
        <pc:cxnChg chg="add mod">
          <ac:chgData name="Perretti, Ilaria" userId="aaf0d85c-e107-4cbf-8743-b9285e44fae2" providerId="ADAL" clId="{778578E3-1CF6-4A96-9EE7-AF13921511E1}" dt="2023-12-11T06:51:18.297" v="1503" actId="1035"/>
          <ac:cxnSpMkLst>
            <pc:docMk/>
            <pc:sldMk cId="402931147" sldId="2147472039"/>
            <ac:cxnSpMk id="78" creationId="{7CDAE2B7-FE70-3A67-AA1A-44D74BEE36FF}"/>
          </ac:cxnSpMkLst>
        </pc:cxnChg>
      </pc:sldChg>
      <pc:sldChg chg="addSp modSp del mod">
        <pc:chgData name="Perretti, Ilaria" userId="aaf0d85c-e107-4cbf-8743-b9285e44fae2" providerId="ADAL" clId="{778578E3-1CF6-4A96-9EE7-AF13921511E1}" dt="2023-12-11T13:52:06.567" v="4185" actId="47"/>
        <pc:sldMkLst>
          <pc:docMk/>
          <pc:sldMk cId="3628798650" sldId="2147472116"/>
        </pc:sldMkLst>
        <pc:spChg chg="add mod">
          <ac:chgData name="Perretti, Ilaria" userId="aaf0d85c-e107-4cbf-8743-b9285e44fae2" providerId="ADAL" clId="{778578E3-1CF6-4A96-9EE7-AF13921511E1}" dt="2023-12-11T10:38:24.473" v="3113" actId="20577"/>
          <ac:spMkLst>
            <pc:docMk/>
            <pc:sldMk cId="3628798650" sldId="2147472116"/>
            <ac:spMk id="7" creationId="{717A39A3-B156-42F3-2746-A969D37ABAD9}"/>
          </ac:spMkLst>
        </pc:spChg>
      </pc:sldChg>
      <pc:sldChg chg="modSp mod">
        <pc:chgData name="Perretti, Ilaria" userId="aaf0d85c-e107-4cbf-8743-b9285e44fae2" providerId="ADAL" clId="{778578E3-1CF6-4A96-9EE7-AF13921511E1}" dt="2023-12-11T08:00:07.393" v="2330" actId="1076"/>
        <pc:sldMkLst>
          <pc:docMk/>
          <pc:sldMk cId="3817932163" sldId="2147472136"/>
        </pc:sldMkLst>
        <pc:spChg chg="mod">
          <ac:chgData name="Perretti, Ilaria" userId="aaf0d85c-e107-4cbf-8743-b9285e44fae2" providerId="ADAL" clId="{778578E3-1CF6-4A96-9EE7-AF13921511E1}" dt="2023-12-11T08:00:07.393" v="2330" actId="1076"/>
          <ac:spMkLst>
            <pc:docMk/>
            <pc:sldMk cId="3817932163" sldId="2147472136"/>
            <ac:spMk id="17" creationId="{CD63809A-7551-2B68-F27E-68DB4F0CBC1A}"/>
          </ac:spMkLst>
        </pc:spChg>
      </pc:sldChg>
      <pc:sldChg chg="modSp mod delCm">
        <pc:chgData name="Perretti, Ilaria" userId="aaf0d85c-e107-4cbf-8743-b9285e44fae2" providerId="ADAL" clId="{778578E3-1CF6-4A96-9EE7-AF13921511E1}" dt="2023-12-11T16:35:44.466" v="5918" actId="255"/>
        <pc:sldMkLst>
          <pc:docMk/>
          <pc:sldMk cId="4195177294" sldId="2147472168"/>
        </pc:sldMkLst>
        <pc:spChg chg="mod">
          <ac:chgData name="Perretti, Ilaria" userId="aaf0d85c-e107-4cbf-8743-b9285e44fae2" providerId="ADAL" clId="{778578E3-1CF6-4A96-9EE7-AF13921511E1}" dt="2023-12-11T14:59:11.290" v="5138" actId="20577"/>
          <ac:spMkLst>
            <pc:docMk/>
            <pc:sldMk cId="4195177294" sldId="2147472168"/>
            <ac:spMk id="8" creationId="{21582DA6-E7A5-ECAA-971C-B029B9F65B7A}"/>
          </ac:spMkLst>
        </pc:spChg>
        <pc:graphicFrameChg chg="mod modGraphic">
          <ac:chgData name="Perretti, Ilaria" userId="aaf0d85c-e107-4cbf-8743-b9285e44fae2" providerId="ADAL" clId="{778578E3-1CF6-4A96-9EE7-AF13921511E1}" dt="2023-12-11T16:35:44.466" v="5918" actId="255"/>
          <ac:graphicFrameMkLst>
            <pc:docMk/>
            <pc:sldMk cId="4195177294" sldId="2147472168"/>
            <ac:graphicFrameMk id="4" creationId="{8F73AE33-156D-48F2-7633-0C4AB5141029}"/>
          </ac:graphicFrameMkLst>
        </pc:graphicFrameChg>
      </pc:sldChg>
      <pc:sldChg chg="addSp delSp modSp mod delCm">
        <pc:chgData name="Perretti, Ilaria" userId="aaf0d85c-e107-4cbf-8743-b9285e44fae2" providerId="ADAL" clId="{778578E3-1CF6-4A96-9EE7-AF13921511E1}" dt="2023-12-11T14:59:39.643" v="5157" actId="20577"/>
        <pc:sldMkLst>
          <pc:docMk/>
          <pc:sldMk cId="3043470878" sldId="2147472171"/>
        </pc:sldMkLst>
        <pc:spChg chg="add mod">
          <ac:chgData name="Perretti, Ilaria" userId="aaf0d85c-e107-4cbf-8743-b9285e44fae2" providerId="ADAL" clId="{778578E3-1CF6-4A96-9EE7-AF13921511E1}" dt="2023-12-11T06:29:51.500" v="415"/>
          <ac:spMkLst>
            <pc:docMk/>
            <pc:sldMk cId="3043470878" sldId="2147472171"/>
            <ac:spMk id="2" creationId="{3BBBA3F9-107E-4D77-A0D3-745E831715EF}"/>
          </ac:spMkLst>
        </pc:spChg>
        <pc:spChg chg="add mod">
          <ac:chgData name="Perretti, Ilaria" userId="aaf0d85c-e107-4cbf-8743-b9285e44fae2" providerId="ADAL" clId="{778578E3-1CF6-4A96-9EE7-AF13921511E1}" dt="2023-12-11T06:29:51.500" v="415"/>
          <ac:spMkLst>
            <pc:docMk/>
            <pc:sldMk cId="3043470878" sldId="2147472171"/>
            <ac:spMk id="3" creationId="{6182B964-A5BA-9B39-6022-3BA9E148A94E}"/>
          </ac:spMkLst>
        </pc:spChg>
        <pc:spChg chg="add mod">
          <ac:chgData name="Perretti, Ilaria" userId="aaf0d85c-e107-4cbf-8743-b9285e44fae2" providerId="ADAL" clId="{778578E3-1CF6-4A96-9EE7-AF13921511E1}" dt="2023-12-11T06:29:51.500" v="415"/>
          <ac:spMkLst>
            <pc:docMk/>
            <pc:sldMk cId="3043470878" sldId="2147472171"/>
            <ac:spMk id="5" creationId="{3A2D222A-3C97-12C0-ED18-9BF0DF7BB7E8}"/>
          </ac:spMkLst>
        </pc:spChg>
        <pc:spChg chg="add mod">
          <ac:chgData name="Perretti, Ilaria" userId="aaf0d85c-e107-4cbf-8743-b9285e44fae2" providerId="ADAL" clId="{778578E3-1CF6-4A96-9EE7-AF13921511E1}" dt="2023-12-11T06:29:51.500" v="415"/>
          <ac:spMkLst>
            <pc:docMk/>
            <pc:sldMk cId="3043470878" sldId="2147472171"/>
            <ac:spMk id="6" creationId="{14DF282D-7FD8-5772-53A3-8E242EAB6C90}"/>
          </ac:spMkLst>
        </pc:spChg>
        <pc:spChg chg="del">
          <ac:chgData name="Perretti, Ilaria" userId="aaf0d85c-e107-4cbf-8743-b9285e44fae2" providerId="ADAL" clId="{778578E3-1CF6-4A96-9EE7-AF13921511E1}" dt="2023-12-11T06:29:49.534" v="413" actId="478"/>
          <ac:spMkLst>
            <pc:docMk/>
            <pc:sldMk cId="3043470878" sldId="2147472171"/>
            <ac:spMk id="17" creationId="{47C382A2-22FA-CCFC-A70D-D64AF7C6D3F1}"/>
          </ac:spMkLst>
        </pc:spChg>
        <pc:spChg chg="del">
          <ac:chgData name="Perretti, Ilaria" userId="aaf0d85c-e107-4cbf-8743-b9285e44fae2" providerId="ADAL" clId="{778578E3-1CF6-4A96-9EE7-AF13921511E1}" dt="2023-12-11T06:29:47.250" v="412" actId="478"/>
          <ac:spMkLst>
            <pc:docMk/>
            <pc:sldMk cId="3043470878" sldId="2147472171"/>
            <ac:spMk id="19" creationId="{8C798E22-4BD0-2E34-A606-0587DDA48394}"/>
          </ac:spMkLst>
        </pc:spChg>
        <pc:spChg chg="del">
          <ac:chgData name="Perretti, Ilaria" userId="aaf0d85c-e107-4cbf-8743-b9285e44fae2" providerId="ADAL" clId="{778578E3-1CF6-4A96-9EE7-AF13921511E1}" dt="2023-12-11T06:29:51.001" v="414" actId="478"/>
          <ac:spMkLst>
            <pc:docMk/>
            <pc:sldMk cId="3043470878" sldId="2147472171"/>
            <ac:spMk id="20" creationId="{0F659923-B5A2-773B-12F3-35FA175E3E21}"/>
          </ac:spMkLst>
        </pc:spChg>
        <pc:graphicFrameChg chg="mod modGraphic">
          <ac:chgData name="Perretti, Ilaria" userId="aaf0d85c-e107-4cbf-8743-b9285e44fae2" providerId="ADAL" clId="{778578E3-1CF6-4A96-9EE7-AF13921511E1}" dt="2023-12-11T14:59:39.643" v="5157" actId="20577"/>
          <ac:graphicFrameMkLst>
            <pc:docMk/>
            <pc:sldMk cId="3043470878" sldId="2147472171"/>
            <ac:graphicFrameMk id="4" creationId="{8F73AE33-156D-48F2-7633-0C4AB5141029}"/>
          </ac:graphicFrameMkLst>
        </pc:graphicFrameChg>
      </pc:sldChg>
      <pc:sldChg chg="addSp delSp modSp mod addCm modCm">
        <pc:chgData name="Perretti, Ilaria" userId="aaf0d85c-e107-4cbf-8743-b9285e44fae2" providerId="ADAL" clId="{778578E3-1CF6-4A96-9EE7-AF13921511E1}" dt="2023-12-11T13:39:46.908" v="3570"/>
        <pc:sldMkLst>
          <pc:docMk/>
          <pc:sldMk cId="1827888238" sldId="2147472187"/>
        </pc:sldMkLst>
        <pc:spChg chg="add mod">
          <ac:chgData name="Perretti, Ilaria" userId="aaf0d85c-e107-4cbf-8743-b9285e44fae2" providerId="ADAL" clId="{778578E3-1CF6-4A96-9EE7-AF13921511E1}" dt="2023-12-11T10:44:54.203" v="3158" actId="20577"/>
          <ac:spMkLst>
            <pc:docMk/>
            <pc:sldMk cId="1827888238" sldId="2147472187"/>
            <ac:spMk id="4" creationId="{C4ED0885-CD66-777A-B69A-7B47DBCD398F}"/>
          </ac:spMkLst>
        </pc:spChg>
        <pc:spChg chg="del mod">
          <ac:chgData name="Perretti, Ilaria" userId="aaf0d85c-e107-4cbf-8743-b9285e44fae2" providerId="ADAL" clId="{778578E3-1CF6-4A96-9EE7-AF13921511E1}" dt="2023-12-11T10:28:28.759" v="2960" actId="478"/>
          <ac:spMkLst>
            <pc:docMk/>
            <pc:sldMk cId="1827888238" sldId="2147472187"/>
            <ac:spMk id="6" creationId="{18ECD264-F9C5-BFA2-F357-E2C3E41C9F9B}"/>
          </ac:spMkLst>
        </pc:spChg>
        <pc:spChg chg="add mod">
          <ac:chgData name="Perretti, Ilaria" userId="aaf0d85c-e107-4cbf-8743-b9285e44fae2" providerId="ADAL" clId="{778578E3-1CF6-4A96-9EE7-AF13921511E1}" dt="2023-12-11T10:46:31.363" v="3161" actId="20577"/>
          <ac:spMkLst>
            <pc:docMk/>
            <pc:sldMk cId="1827888238" sldId="2147472187"/>
            <ac:spMk id="8" creationId="{1820D49A-44A7-3E39-AF6E-ACB5A10BDEF9}"/>
          </ac:spMkLst>
        </pc:spChg>
        <pc:spChg chg="mod">
          <ac:chgData name="Perretti, Ilaria" userId="aaf0d85c-e107-4cbf-8743-b9285e44fae2" providerId="ADAL" clId="{778578E3-1CF6-4A96-9EE7-AF13921511E1}" dt="2023-12-11T08:08:48.948" v="2396" actId="122"/>
          <ac:spMkLst>
            <pc:docMk/>
            <pc:sldMk cId="1827888238" sldId="2147472187"/>
            <ac:spMk id="10" creationId="{751AC597-BB38-BC25-9EF9-F8F4807FCE7D}"/>
          </ac:spMkLst>
        </pc:spChg>
        <pc:spChg chg="mod">
          <ac:chgData name="Perretti, Ilaria" userId="aaf0d85c-e107-4cbf-8743-b9285e44fae2" providerId="ADAL" clId="{778578E3-1CF6-4A96-9EE7-AF13921511E1}" dt="2023-12-11T08:08:54.406" v="2397" actId="122"/>
          <ac:spMkLst>
            <pc:docMk/>
            <pc:sldMk cId="1827888238" sldId="2147472187"/>
            <ac:spMk id="11" creationId="{6A4C7360-545B-6F1A-5DB0-1975FA14A3A3}"/>
          </ac:spMkLst>
        </pc:spChg>
        <pc:spChg chg="del mod">
          <ac:chgData name="Perretti, Ilaria" userId="aaf0d85c-e107-4cbf-8743-b9285e44fae2" providerId="ADAL" clId="{778578E3-1CF6-4A96-9EE7-AF13921511E1}" dt="2023-12-11T06:10:56.259" v="49" actId="478"/>
          <ac:spMkLst>
            <pc:docMk/>
            <pc:sldMk cId="1827888238" sldId="2147472187"/>
            <ac:spMk id="13" creationId="{A901B901-1A70-E79A-F179-B002E4CECFF0}"/>
          </ac:spMkLst>
        </pc:spChg>
        <pc:spChg chg="del">
          <ac:chgData name="Perretti, Ilaria" userId="aaf0d85c-e107-4cbf-8743-b9285e44fae2" providerId="ADAL" clId="{778578E3-1CF6-4A96-9EE7-AF13921511E1}" dt="2023-12-11T10:43:24.969" v="3137" actId="478"/>
          <ac:spMkLst>
            <pc:docMk/>
            <pc:sldMk cId="1827888238" sldId="2147472187"/>
            <ac:spMk id="15" creationId="{30DE0EDB-20FD-ADF0-7411-A3A242B2E5C2}"/>
          </ac:spMkLst>
        </pc:spChg>
        <pc:picChg chg="add del mod">
          <ac:chgData name="Perretti, Ilaria" userId="aaf0d85c-e107-4cbf-8743-b9285e44fae2" providerId="ADAL" clId="{778578E3-1CF6-4A96-9EE7-AF13921511E1}" dt="2023-12-11T10:48:34.645" v="3168" actId="478"/>
          <ac:picMkLst>
            <pc:docMk/>
            <pc:sldMk cId="1827888238" sldId="2147472187"/>
            <ac:picMk id="16" creationId="{D791B742-9CF2-B7F2-595F-457840AB08CC}"/>
          </ac:picMkLst>
        </pc:picChg>
        <pc:picChg chg="add del mod">
          <ac:chgData name="Perretti, Ilaria" userId="aaf0d85c-e107-4cbf-8743-b9285e44fae2" providerId="ADAL" clId="{778578E3-1CF6-4A96-9EE7-AF13921511E1}" dt="2023-12-11T10:48:35.661" v="3169" actId="478"/>
          <ac:picMkLst>
            <pc:docMk/>
            <pc:sldMk cId="1827888238" sldId="2147472187"/>
            <ac:picMk id="18" creationId="{1352230F-6714-5BF6-690C-84AF7E98A363}"/>
          </ac:picMkLst>
        </pc:picChg>
      </pc:sldChg>
      <pc:sldChg chg="addSp delSp modSp mod addCm">
        <pc:chgData name="Perretti, Ilaria" userId="aaf0d85c-e107-4cbf-8743-b9285e44fae2" providerId="ADAL" clId="{778578E3-1CF6-4A96-9EE7-AF13921511E1}" dt="2023-12-12T06:31:57.373" v="6111"/>
        <pc:sldMkLst>
          <pc:docMk/>
          <pc:sldMk cId="429018731" sldId="2147472188"/>
        </pc:sldMkLst>
        <pc:spChg chg="add del mod">
          <ac:chgData name="Perretti, Ilaria" userId="aaf0d85c-e107-4cbf-8743-b9285e44fae2" providerId="ADAL" clId="{778578E3-1CF6-4A96-9EE7-AF13921511E1}" dt="2023-12-12T06:31:57" v="6110" actId="478"/>
          <ac:spMkLst>
            <pc:docMk/>
            <pc:sldMk cId="429018731" sldId="2147472188"/>
            <ac:spMk id="5" creationId="{E325CA36-9253-0FB4-B801-024A889CC864}"/>
          </ac:spMkLst>
        </pc:spChg>
        <pc:spChg chg="add mod">
          <ac:chgData name="Perretti, Ilaria" userId="aaf0d85c-e107-4cbf-8743-b9285e44fae2" providerId="ADAL" clId="{778578E3-1CF6-4A96-9EE7-AF13921511E1}" dt="2023-12-12T06:31:57.373" v="6111"/>
          <ac:spMkLst>
            <pc:docMk/>
            <pc:sldMk cId="429018731" sldId="2147472188"/>
            <ac:spMk id="6" creationId="{666704B9-75CD-4EBF-9099-30C6840C7E7E}"/>
          </ac:spMkLst>
        </pc:spChg>
        <pc:spChg chg="del">
          <ac:chgData name="Perretti, Ilaria" userId="aaf0d85c-e107-4cbf-8743-b9285e44fae2" providerId="ADAL" clId="{778578E3-1CF6-4A96-9EE7-AF13921511E1}" dt="2023-12-11T11:03:24.330" v="3237" actId="478"/>
          <ac:spMkLst>
            <pc:docMk/>
            <pc:sldMk cId="429018731" sldId="2147472188"/>
            <ac:spMk id="15" creationId="{30DE0EDB-20FD-ADF0-7411-A3A242B2E5C2}"/>
          </ac:spMkLst>
        </pc:spChg>
        <pc:spChg chg="mod">
          <ac:chgData name="Perretti, Ilaria" userId="aaf0d85c-e107-4cbf-8743-b9285e44fae2" providerId="ADAL" clId="{778578E3-1CF6-4A96-9EE7-AF13921511E1}" dt="2023-12-11T10:28:02.981" v="2954" actId="108"/>
          <ac:spMkLst>
            <pc:docMk/>
            <pc:sldMk cId="429018731" sldId="2147472188"/>
            <ac:spMk id="16" creationId="{6A7DFD27-8E4F-E5EF-242F-04C919030649}"/>
          </ac:spMkLst>
        </pc:spChg>
        <pc:spChg chg="mod">
          <ac:chgData name="Perretti, Ilaria" userId="aaf0d85c-e107-4cbf-8743-b9285e44fae2" providerId="ADAL" clId="{778578E3-1CF6-4A96-9EE7-AF13921511E1}" dt="2023-12-11T16:38:29.580" v="5961" actId="108"/>
          <ac:spMkLst>
            <pc:docMk/>
            <pc:sldMk cId="429018731" sldId="2147472188"/>
            <ac:spMk id="18" creationId="{4D73B83F-0107-A3D6-AF54-CE204E364A00}"/>
          </ac:spMkLst>
        </pc:spChg>
        <pc:spChg chg="mod">
          <ac:chgData name="Perretti, Ilaria" userId="aaf0d85c-e107-4cbf-8743-b9285e44fae2" providerId="ADAL" clId="{778578E3-1CF6-4A96-9EE7-AF13921511E1}" dt="2023-12-11T16:38:24.692" v="5960" actId="108"/>
          <ac:spMkLst>
            <pc:docMk/>
            <pc:sldMk cId="429018731" sldId="2147472188"/>
            <ac:spMk id="20" creationId="{071650C5-E541-3BDA-444A-D2E1A781D34D}"/>
          </ac:spMkLst>
        </pc:spChg>
        <pc:spChg chg="mod">
          <ac:chgData name="Perretti, Ilaria" userId="aaf0d85c-e107-4cbf-8743-b9285e44fae2" providerId="ADAL" clId="{778578E3-1CF6-4A96-9EE7-AF13921511E1}" dt="2023-12-11T08:09:02.049" v="2398" actId="122"/>
          <ac:spMkLst>
            <pc:docMk/>
            <pc:sldMk cId="429018731" sldId="2147472188"/>
            <ac:spMk id="21" creationId="{A62553F1-3F4A-F225-A242-0B59B74166A1}"/>
          </ac:spMkLst>
        </pc:spChg>
        <pc:spChg chg="mod">
          <ac:chgData name="Perretti, Ilaria" userId="aaf0d85c-e107-4cbf-8743-b9285e44fae2" providerId="ADAL" clId="{778578E3-1CF6-4A96-9EE7-AF13921511E1}" dt="2023-12-11T08:09:02.049" v="2398" actId="122"/>
          <ac:spMkLst>
            <pc:docMk/>
            <pc:sldMk cId="429018731" sldId="2147472188"/>
            <ac:spMk id="22" creationId="{7C9275BC-64B9-9C68-89AB-333961EE9FE5}"/>
          </ac:spMkLst>
        </pc:spChg>
        <pc:picChg chg="add mod">
          <ac:chgData name="Perretti, Ilaria" userId="aaf0d85c-e107-4cbf-8743-b9285e44fae2" providerId="ADAL" clId="{778578E3-1CF6-4A96-9EE7-AF13921511E1}" dt="2023-12-11T11:02:54.591" v="3229"/>
          <ac:picMkLst>
            <pc:docMk/>
            <pc:sldMk cId="429018731" sldId="2147472188"/>
            <ac:picMk id="2" creationId="{47A7D616-B357-79EF-061E-BC8687CD160B}"/>
          </ac:picMkLst>
        </pc:picChg>
        <pc:picChg chg="add mod">
          <ac:chgData name="Perretti, Ilaria" userId="aaf0d85c-e107-4cbf-8743-b9285e44fae2" providerId="ADAL" clId="{778578E3-1CF6-4A96-9EE7-AF13921511E1}" dt="2023-12-11T11:02:54.591" v="3229"/>
          <ac:picMkLst>
            <pc:docMk/>
            <pc:sldMk cId="429018731" sldId="2147472188"/>
            <ac:picMk id="3" creationId="{6FBA6161-B388-60EE-DA76-F4EC3DDDC80B}"/>
          </ac:picMkLst>
        </pc:picChg>
      </pc:sldChg>
      <pc:sldChg chg="addSp delSp modSp mod">
        <pc:chgData name="Perretti, Ilaria" userId="aaf0d85c-e107-4cbf-8743-b9285e44fae2" providerId="ADAL" clId="{778578E3-1CF6-4A96-9EE7-AF13921511E1}" dt="2023-12-12T06:31:52.516" v="6109"/>
        <pc:sldMkLst>
          <pc:docMk/>
          <pc:sldMk cId="2457903236" sldId="2147472189"/>
        </pc:sldMkLst>
        <pc:spChg chg="mod">
          <ac:chgData name="Perretti, Ilaria" userId="aaf0d85c-e107-4cbf-8743-b9285e44fae2" providerId="ADAL" clId="{778578E3-1CF6-4A96-9EE7-AF13921511E1}" dt="2023-12-11T10:28:34.645" v="2961" actId="20577"/>
          <ac:spMkLst>
            <pc:docMk/>
            <pc:sldMk cId="2457903236" sldId="2147472189"/>
            <ac:spMk id="6" creationId="{78AA14C8-C2E2-7EA7-474B-E4D8B5F6DC35}"/>
          </ac:spMkLst>
        </pc:spChg>
        <pc:spChg chg="add del mod">
          <ac:chgData name="Perretti, Ilaria" userId="aaf0d85c-e107-4cbf-8743-b9285e44fae2" providerId="ADAL" clId="{778578E3-1CF6-4A96-9EE7-AF13921511E1}" dt="2023-12-12T06:31:52.054" v="6108" actId="478"/>
          <ac:spMkLst>
            <pc:docMk/>
            <pc:sldMk cId="2457903236" sldId="2147472189"/>
            <ac:spMk id="9" creationId="{00A83860-AD90-25FB-6F83-02AAB4233B07}"/>
          </ac:spMkLst>
        </pc:spChg>
        <pc:spChg chg="mod">
          <ac:chgData name="Perretti, Ilaria" userId="aaf0d85c-e107-4cbf-8743-b9285e44fae2" providerId="ADAL" clId="{778578E3-1CF6-4A96-9EE7-AF13921511E1}" dt="2023-12-11T16:38:46.485" v="5963" actId="108"/>
          <ac:spMkLst>
            <pc:docMk/>
            <pc:sldMk cId="2457903236" sldId="2147472189"/>
            <ac:spMk id="10" creationId="{DB954C8E-C1B7-4154-AD04-8F98C7352546}"/>
          </ac:spMkLst>
        </pc:spChg>
        <pc:spChg chg="mod">
          <ac:chgData name="Perretti, Ilaria" userId="aaf0d85c-e107-4cbf-8743-b9285e44fae2" providerId="ADAL" clId="{778578E3-1CF6-4A96-9EE7-AF13921511E1}" dt="2023-12-11T08:09:07.575" v="2399" actId="122"/>
          <ac:spMkLst>
            <pc:docMk/>
            <pc:sldMk cId="2457903236" sldId="2147472189"/>
            <ac:spMk id="12" creationId="{224EC528-827F-B175-56C7-9160CC17FD82}"/>
          </ac:spMkLst>
        </pc:spChg>
        <pc:spChg chg="mod">
          <ac:chgData name="Perretti, Ilaria" userId="aaf0d85c-e107-4cbf-8743-b9285e44fae2" providerId="ADAL" clId="{778578E3-1CF6-4A96-9EE7-AF13921511E1}" dt="2023-12-11T08:09:07.575" v="2399" actId="122"/>
          <ac:spMkLst>
            <pc:docMk/>
            <pc:sldMk cId="2457903236" sldId="2147472189"/>
            <ac:spMk id="13" creationId="{5DE7ECE1-8915-6B11-7F67-D4948106E1E1}"/>
          </ac:spMkLst>
        </pc:spChg>
        <pc:spChg chg="mod">
          <ac:chgData name="Perretti, Ilaria" userId="aaf0d85c-e107-4cbf-8743-b9285e44fae2" providerId="ADAL" clId="{778578E3-1CF6-4A96-9EE7-AF13921511E1}" dt="2023-12-11T16:38:42.981" v="5962" actId="108"/>
          <ac:spMkLst>
            <pc:docMk/>
            <pc:sldMk cId="2457903236" sldId="2147472189"/>
            <ac:spMk id="14" creationId="{F10227DE-8C1F-199B-621C-AC0EA778471D}"/>
          </ac:spMkLst>
        </pc:spChg>
        <pc:spChg chg="del">
          <ac:chgData name="Perretti, Ilaria" userId="aaf0d85c-e107-4cbf-8743-b9285e44fae2" providerId="ADAL" clId="{778578E3-1CF6-4A96-9EE7-AF13921511E1}" dt="2023-12-11T11:03:35.595" v="3238" actId="478"/>
          <ac:spMkLst>
            <pc:docMk/>
            <pc:sldMk cId="2457903236" sldId="2147472189"/>
            <ac:spMk id="15" creationId="{30DE0EDB-20FD-ADF0-7411-A3A242B2E5C2}"/>
          </ac:spMkLst>
        </pc:spChg>
        <pc:spChg chg="add mod">
          <ac:chgData name="Perretti, Ilaria" userId="aaf0d85c-e107-4cbf-8743-b9285e44fae2" providerId="ADAL" clId="{778578E3-1CF6-4A96-9EE7-AF13921511E1}" dt="2023-12-12T06:31:52.516" v="6109"/>
          <ac:spMkLst>
            <pc:docMk/>
            <pc:sldMk cId="2457903236" sldId="2147472189"/>
            <ac:spMk id="16" creationId="{A9681D9C-9F22-9E2E-5FB3-E6770F57CFFB}"/>
          </ac:spMkLst>
        </pc:spChg>
        <pc:picChg chg="add mod">
          <ac:chgData name="Perretti, Ilaria" userId="aaf0d85c-e107-4cbf-8743-b9285e44fae2" providerId="ADAL" clId="{778578E3-1CF6-4A96-9EE7-AF13921511E1}" dt="2023-12-11T11:02:57.390" v="3230"/>
          <ac:picMkLst>
            <pc:docMk/>
            <pc:sldMk cId="2457903236" sldId="2147472189"/>
            <ac:picMk id="4" creationId="{47488805-6C37-DDBE-8AF1-E4D3437CE385}"/>
          </ac:picMkLst>
        </pc:picChg>
        <pc:picChg chg="add mod">
          <ac:chgData name="Perretti, Ilaria" userId="aaf0d85c-e107-4cbf-8743-b9285e44fae2" providerId="ADAL" clId="{778578E3-1CF6-4A96-9EE7-AF13921511E1}" dt="2023-12-11T11:02:57.390" v="3230"/>
          <ac:picMkLst>
            <pc:docMk/>
            <pc:sldMk cId="2457903236" sldId="2147472189"/>
            <ac:picMk id="8" creationId="{5B05422D-436E-CB1F-BF78-2F7C3AD3EAF9}"/>
          </ac:picMkLst>
        </pc:picChg>
      </pc:sldChg>
      <pc:sldChg chg="addSp delSp modSp mod">
        <pc:chgData name="Perretti, Ilaria" userId="aaf0d85c-e107-4cbf-8743-b9285e44fae2" providerId="ADAL" clId="{778578E3-1CF6-4A96-9EE7-AF13921511E1}" dt="2023-12-12T06:31:48.620" v="6107"/>
        <pc:sldMkLst>
          <pc:docMk/>
          <pc:sldMk cId="4014948116" sldId="2147472190"/>
        </pc:sldMkLst>
        <pc:spChg chg="add del mod">
          <ac:chgData name="Perretti, Ilaria" userId="aaf0d85c-e107-4cbf-8743-b9285e44fae2" providerId="ADAL" clId="{778578E3-1CF6-4A96-9EE7-AF13921511E1}" dt="2023-12-12T06:31:47.793" v="6106" actId="478"/>
          <ac:spMkLst>
            <pc:docMk/>
            <pc:sldMk cId="4014948116" sldId="2147472190"/>
            <ac:spMk id="5" creationId="{9AE5C09D-8B8D-7CCC-8B45-E0840C514935}"/>
          </ac:spMkLst>
        </pc:spChg>
        <pc:spChg chg="add mod">
          <ac:chgData name="Perretti, Ilaria" userId="aaf0d85c-e107-4cbf-8743-b9285e44fae2" providerId="ADAL" clId="{778578E3-1CF6-4A96-9EE7-AF13921511E1}" dt="2023-12-12T06:31:48.620" v="6107"/>
          <ac:spMkLst>
            <pc:docMk/>
            <pc:sldMk cId="4014948116" sldId="2147472190"/>
            <ac:spMk id="6" creationId="{D9D278D7-ADAE-82D0-A1FB-A746FA41E3C5}"/>
          </ac:spMkLst>
        </pc:spChg>
        <pc:spChg chg="del">
          <ac:chgData name="Perretti, Ilaria" userId="aaf0d85c-e107-4cbf-8743-b9285e44fae2" providerId="ADAL" clId="{778578E3-1CF6-4A96-9EE7-AF13921511E1}" dt="2023-12-11T11:03:20.263" v="3236" actId="478"/>
          <ac:spMkLst>
            <pc:docMk/>
            <pc:sldMk cId="4014948116" sldId="2147472190"/>
            <ac:spMk id="15" creationId="{30DE0EDB-20FD-ADF0-7411-A3A242B2E5C2}"/>
          </ac:spMkLst>
        </pc:spChg>
        <pc:spChg chg="mod">
          <ac:chgData name="Perretti, Ilaria" userId="aaf0d85c-e107-4cbf-8743-b9285e44fae2" providerId="ADAL" clId="{778578E3-1CF6-4A96-9EE7-AF13921511E1}" dt="2023-12-11T16:39:21.468" v="5975" actId="108"/>
          <ac:spMkLst>
            <pc:docMk/>
            <pc:sldMk cId="4014948116" sldId="2147472190"/>
            <ac:spMk id="18" creationId="{14C86E9B-D1A5-AFA2-682D-D010A63C7A75}"/>
          </ac:spMkLst>
        </pc:spChg>
        <pc:spChg chg="mod">
          <ac:chgData name="Perretti, Ilaria" userId="aaf0d85c-e107-4cbf-8743-b9285e44fae2" providerId="ADAL" clId="{778578E3-1CF6-4A96-9EE7-AF13921511E1}" dt="2023-12-11T08:09:14.403" v="2400" actId="122"/>
          <ac:spMkLst>
            <pc:docMk/>
            <pc:sldMk cId="4014948116" sldId="2147472190"/>
            <ac:spMk id="19" creationId="{5413C702-C86E-1C6A-0FC5-22704A50C07C}"/>
          </ac:spMkLst>
        </pc:spChg>
        <pc:spChg chg="mod">
          <ac:chgData name="Perretti, Ilaria" userId="aaf0d85c-e107-4cbf-8743-b9285e44fae2" providerId="ADAL" clId="{778578E3-1CF6-4A96-9EE7-AF13921511E1}" dt="2023-12-11T08:09:14.403" v="2400" actId="122"/>
          <ac:spMkLst>
            <pc:docMk/>
            <pc:sldMk cId="4014948116" sldId="2147472190"/>
            <ac:spMk id="20" creationId="{2C480418-DB43-B957-D08D-00B683F366E1}"/>
          </ac:spMkLst>
        </pc:spChg>
        <pc:spChg chg="mod">
          <ac:chgData name="Perretti, Ilaria" userId="aaf0d85c-e107-4cbf-8743-b9285e44fae2" providerId="ADAL" clId="{778578E3-1CF6-4A96-9EE7-AF13921511E1}" dt="2023-12-11T16:39:09.603" v="5972" actId="12"/>
          <ac:spMkLst>
            <pc:docMk/>
            <pc:sldMk cId="4014948116" sldId="2147472190"/>
            <ac:spMk id="22" creationId="{E81AAF8B-CA6D-BA71-680D-9E0E2F0B4484}"/>
          </ac:spMkLst>
        </pc:spChg>
        <pc:picChg chg="add mod">
          <ac:chgData name="Perretti, Ilaria" userId="aaf0d85c-e107-4cbf-8743-b9285e44fae2" providerId="ADAL" clId="{778578E3-1CF6-4A96-9EE7-AF13921511E1}" dt="2023-12-11T11:02:59.293" v="3231"/>
          <ac:picMkLst>
            <pc:docMk/>
            <pc:sldMk cId="4014948116" sldId="2147472190"/>
            <ac:picMk id="2" creationId="{E3573C0C-6981-5CC5-7BB7-8BDDA7B1B87D}"/>
          </ac:picMkLst>
        </pc:picChg>
        <pc:picChg chg="add mod">
          <ac:chgData name="Perretti, Ilaria" userId="aaf0d85c-e107-4cbf-8743-b9285e44fae2" providerId="ADAL" clId="{778578E3-1CF6-4A96-9EE7-AF13921511E1}" dt="2023-12-11T11:02:59.293" v="3231"/>
          <ac:picMkLst>
            <pc:docMk/>
            <pc:sldMk cId="4014948116" sldId="2147472190"/>
            <ac:picMk id="3" creationId="{816D95A9-3A0F-C0DF-8A71-C13F7D008B8D}"/>
          </ac:picMkLst>
        </pc:picChg>
      </pc:sldChg>
      <pc:sldChg chg="addSp delSp modSp mod addCm">
        <pc:chgData name="Perretti, Ilaria" userId="aaf0d85c-e107-4cbf-8743-b9285e44fae2" providerId="ADAL" clId="{778578E3-1CF6-4A96-9EE7-AF13921511E1}" dt="2023-12-12T06:31:44.223" v="6105"/>
        <pc:sldMkLst>
          <pc:docMk/>
          <pc:sldMk cId="3016214707" sldId="2147472191"/>
        </pc:sldMkLst>
        <pc:spChg chg="mod">
          <ac:chgData name="Perretti, Ilaria" userId="aaf0d85c-e107-4cbf-8743-b9285e44fae2" providerId="ADAL" clId="{778578E3-1CF6-4A96-9EE7-AF13921511E1}" dt="2023-12-11T16:39:35.110" v="5978" actId="108"/>
          <ac:spMkLst>
            <pc:docMk/>
            <pc:sldMk cId="3016214707" sldId="2147472191"/>
            <ac:spMk id="7" creationId="{F383020E-08FE-9546-C661-738047BA7264}"/>
          </ac:spMkLst>
        </pc:spChg>
        <pc:spChg chg="add del mod ord">
          <ac:chgData name="Perretti, Ilaria" userId="aaf0d85c-e107-4cbf-8743-b9285e44fae2" providerId="ADAL" clId="{778578E3-1CF6-4A96-9EE7-AF13921511E1}" dt="2023-12-12T06:31:43.768" v="6104" actId="478"/>
          <ac:spMkLst>
            <pc:docMk/>
            <pc:sldMk cId="3016214707" sldId="2147472191"/>
            <ac:spMk id="9" creationId="{7BDCC5BC-5B2F-2E30-54A5-C420BED977A6}"/>
          </ac:spMkLst>
        </pc:spChg>
        <pc:spChg chg="mod">
          <ac:chgData name="Perretti, Ilaria" userId="aaf0d85c-e107-4cbf-8743-b9285e44fae2" providerId="ADAL" clId="{778578E3-1CF6-4A96-9EE7-AF13921511E1}" dt="2023-12-11T16:39:46.869" v="5981" actId="12"/>
          <ac:spMkLst>
            <pc:docMk/>
            <pc:sldMk cId="3016214707" sldId="2147472191"/>
            <ac:spMk id="11" creationId="{56E6D760-73B9-81BF-A4E0-D0A449742D78}"/>
          </ac:spMkLst>
        </pc:spChg>
        <pc:spChg chg="mod">
          <ac:chgData name="Perretti, Ilaria" userId="aaf0d85c-e107-4cbf-8743-b9285e44fae2" providerId="ADAL" clId="{778578E3-1CF6-4A96-9EE7-AF13921511E1}" dt="2023-12-11T08:09:21.601" v="2402" actId="122"/>
          <ac:spMkLst>
            <pc:docMk/>
            <pc:sldMk cId="3016214707" sldId="2147472191"/>
            <ac:spMk id="12" creationId="{F7B70B8B-12FD-7C12-16B1-A4887F453B18}"/>
          </ac:spMkLst>
        </pc:spChg>
        <pc:spChg chg="mod">
          <ac:chgData name="Perretti, Ilaria" userId="aaf0d85c-e107-4cbf-8743-b9285e44fae2" providerId="ADAL" clId="{778578E3-1CF6-4A96-9EE7-AF13921511E1}" dt="2023-12-11T08:09:21.601" v="2402" actId="122"/>
          <ac:spMkLst>
            <pc:docMk/>
            <pc:sldMk cId="3016214707" sldId="2147472191"/>
            <ac:spMk id="13" creationId="{B6B78211-6266-3292-1F64-03E14F1C94E9}"/>
          </ac:spMkLst>
        </pc:spChg>
        <pc:spChg chg="del mod">
          <ac:chgData name="Perretti, Ilaria" userId="aaf0d85c-e107-4cbf-8743-b9285e44fae2" providerId="ADAL" clId="{778578E3-1CF6-4A96-9EE7-AF13921511E1}" dt="2023-12-11T11:03:42.294" v="3240" actId="478"/>
          <ac:spMkLst>
            <pc:docMk/>
            <pc:sldMk cId="3016214707" sldId="2147472191"/>
            <ac:spMk id="15" creationId="{30DE0EDB-20FD-ADF0-7411-A3A242B2E5C2}"/>
          </ac:spMkLst>
        </pc:spChg>
        <pc:spChg chg="add del mod">
          <ac:chgData name="Perretti, Ilaria" userId="aaf0d85c-e107-4cbf-8743-b9285e44fae2" providerId="ADAL" clId="{778578E3-1CF6-4A96-9EE7-AF13921511E1}" dt="2023-12-11T12:16:58.760" v="3538" actId="478"/>
          <ac:spMkLst>
            <pc:docMk/>
            <pc:sldMk cId="3016214707" sldId="2147472191"/>
            <ac:spMk id="16" creationId="{02F6749E-6E57-DDF2-ADC6-1506C3D8EE47}"/>
          </ac:spMkLst>
        </pc:spChg>
        <pc:spChg chg="add mod">
          <ac:chgData name="Perretti, Ilaria" userId="aaf0d85c-e107-4cbf-8743-b9285e44fae2" providerId="ADAL" clId="{778578E3-1CF6-4A96-9EE7-AF13921511E1}" dt="2023-12-11T12:12:50.833" v="3514" actId="164"/>
          <ac:spMkLst>
            <pc:docMk/>
            <pc:sldMk cId="3016214707" sldId="2147472191"/>
            <ac:spMk id="17" creationId="{AE5DF617-02F8-02CB-A1C5-3D61EF98E59B}"/>
          </ac:spMkLst>
        </pc:spChg>
        <pc:spChg chg="add del mod">
          <ac:chgData name="Perretti, Ilaria" userId="aaf0d85c-e107-4cbf-8743-b9285e44fae2" providerId="ADAL" clId="{778578E3-1CF6-4A96-9EE7-AF13921511E1}" dt="2023-12-11T12:12:19.778" v="3505" actId="478"/>
          <ac:spMkLst>
            <pc:docMk/>
            <pc:sldMk cId="3016214707" sldId="2147472191"/>
            <ac:spMk id="20" creationId="{3CA1534A-6F6E-1B60-E2F7-CB33B1437686}"/>
          </ac:spMkLst>
        </pc:spChg>
        <pc:spChg chg="add mod">
          <ac:chgData name="Perretti, Ilaria" userId="aaf0d85c-e107-4cbf-8743-b9285e44fae2" providerId="ADAL" clId="{778578E3-1CF6-4A96-9EE7-AF13921511E1}" dt="2023-12-11T15:20:00.051" v="5255" actId="20577"/>
          <ac:spMkLst>
            <pc:docMk/>
            <pc:sldMk cId="3016214707" sldId="2147472191"/>
            <ac:spMk id="23" creationId="{46F38595-AC50-0930-2C21-E9BBACD72AAE}"/>
          </ac:spMkLst>
        </pc:spChg>
        <pc:spChg chg="add mod">
          <ac:chgData name="Perretti, Ilaria" userId="aaf0d85c-e107-4cbf-8743-b9285e44fae2" providerId="ADAL" clId="{778578E3-1CF6-4A96-9EE7-AF13921511E1}" dt="2023-12-12T06:31:44.223" v="6105"/>
          <ac:spMkLst>
            <pc:docMk/>
            <pc:sldMk cId="3016214707" sldId="2147472191"/>
            <ac:spMk id="24" creationId="{13892E3E-42DD-FF3E-EE0F-AB848104A974}"/>
          </ac:spMkLst>
        </pc:spChg>
        <pc:grpChg chg="add del mod">
          <ac:chgData name="Perretti, Ilaria" userId="aaf0d85c-e107-4cbf-8743-b9285e44fae2" providerId="ADAL" clId="{778578E3-1CF6-4A96-9EE7-AF13921511E1}" dt="2023-12-11T12:16:59.762" v="3539" actId="478"/>
          <ac:grpSpMkLst>
            <pc:docMk/>
            <pc:sldMk cId="3016214707" sldId="2147472191"/>
            <ac:grpSpMk id="21" creationId="{CF3385F1-98C7-C029-C639-B13FB74074B3}"/>
          </ac:grpSpMkLst>
        </pc:grpChg>
        <pc:picChg chg="add del mod">
          <ac:chgData name="Perretti, Ilaria" userId="aaf0d85c-e107-4cbf-8743-b9285e44fae2" providerId="ADAL" clId="{778578E3-1CF6-4A96-9EE7-AF13921511E1}" dt="2023-12-11T12:09:57.999" v="3488" actId="478"/>
          <ac:picMkLst>
            <pc:docMk/>
            <pc:sldMk cId="3016214707" sldId="2147472191"/>
            <ac:picMk id="4" creationId="{AE9ED4D7-7767-79EC-708A-CB483ABFC2A0}"/>
          </ac:picMkLst>
        </pc:picChg>
        <pc:picChg chg="add del mod">
          <ac:chgData name="Perretti, Ilaria" userId="aaf0d85c-e107-4cbf-8743-b9285e44fae2" providerId="ADAL" clId="{778578E3-1CF6-4A96-9EE7-AF13921511E1}" dt="2023-12-11T12:09:59.140" v="3489" actId="478"/>
          <ac:picMkLst>
            <pc:docMk/>
            <pc:sldMk cId="3016214707" sldId="2147472191"/>
            <ac:picMk id="8" creationId="{9B1F2AC4-AA35-B191-A16E-E0FCE0417179}"/>
          </ac:picMkLst>
        </pc:picChg>
        <pc:picChg chg="add del mod">
          <ac:chgData name="Perretti, Ilaria" userId="aaf0d85c-e107-4cbf-8743-b9285e44fae2" providerId="ADAL" clId="{778578E3-1CF6-4A96-9EE7-AF13921511E1}" dt="2023-12-11T12:16:56.509" v="3537" actId="478"/>
          <ac:picMkLst>
            <pc:docMk/>
            <pc:sldMk cId="3016214707" sldId="2147472191"/>
            <ac:picMk id="18" creationId="{DD7C3B75-1305-6C1A-B02B-4057E2531100}"/>
          </ac:picMkLst>
        </pc:picChg>
        <pc:picChg chg="add mod">
          <ac:chgData name="Perretti, Ilaria" userId="aaf0d85c-e107-4cbf-8743-b9285e44fae2" providerId="ADAL" clId="{778578E3-1CF6-4A96-9EE7-AF13921511E1}" dt="2023-12-11T12:12:50.833" v="3514" actId="164"/>
          <ac:picMkLst>
            <pc:docMk/>
            <pc:sldMk cId="3016214707" sldId="2147472191"/>
            <ac:picMk id="19" creationId="{110AE2E7-CC47-34E6-07EA-D297F5998148}"/>
          </ac:picMkLst>
        </pc:picChg>
        <pc:picChg chg="add mod">
          <ac:chgData name="Perretti, Ilaria" userId="aaf0d85c-e107-4cbf-8743-b9285e44fae2" providerId="ADAL" clId="{778578E3-1CF6-4A96-9EE7-AF13921511E1}" dt="2023-12-11T15:16:35.621" v="5193" actId="14100"/>
          <ac:picMkLst>
            <pc:docMk/>
            <pc:sldMk cId="3016214707" sldId="2147472191"/>
            <ac:picMk id="22" creationId="{7693BE90-8F6F-DE02-8DA1-5B1676D09FFE}"/>
          </ac:picMkLst>
        </pc:picChg>
      </pc:sldChg>
      <pc:sldChg chg="addSp delSp modSp mod addCm">
        <pc:chgData name="Perretti, Ilaria" userId="aaf0d85c-e107-4cbf-8743-b9285e44fae2" providerId="ADAL" clId="{778578E3-1CF6-4A96-9EE7-AF13921511E1}" dt="2023-12-12T06:31:39.414" v="6103"/>
        <pc:sldMkLst>
          <pc:docMk/>
          <pc:sldMk cId="1730741612" sldId="2147472192"/>
        </pc:sldMkLst>
        <pc:spChg chg="add del mod">
          <ac:chgData name="Perretti, Ilaria" userId="aaf0d85c-e107-4cbf-8743-b9285e44fae2" providerId="ADAL" clId="{778578E3-1CF6-4A96-9EE7-AF13921511E1}" dt="2023-12-12T06:31:39.052" v="6102" actId="478"/>
          <ac:spMkLst>
            <pc:docMk/>
            <pc:sldMk cId="1730741612" sldId="2147472192"/>
            <ac:spMk id="5" creationId="{73EFE1BB-E51D-48D8-C182-C72755EDCBD6}"/>
          </ac:spMkLst>
        </pc:spChg>
        <pc:spChg chg="add mod">
          <ac:chgData name="Perretti, Ilaria" userId="aaf0d85c-e107-4cbf-8743-b9285e44fae2" providerId="ADAL" clId="{778578E3-1CF6-4A96-9EE7-AF13921511E1}" dt="2023-12-12T06:31:39.414" v="6103"/>
          <ac:spMkLst>
            <pc:docMk/>
            <pc:sldMk cId="1730741612" sldId="2147472192"/>
            <ac:spMk id="6" creationId="{F8F7524F-1A5A-4C58-3EEA-1CBD196D15D0}"/>
          </ac:spMkLst>
        </pc:spChg>
        <pc:spChg chg="del">
          <ac:chgData name="Perretti, Ilaria" userId="aaf0d85c-e107-4cbf-8743-b9285e44fae2" providerId="ADAL" clId="{778578E3-1CF6-4A96-9EE7-AF13921511E1}" dt="2023-12-11T11:03:45.266" v="3241" actId="478"/>
          <ac:spMkLst>
            <pc:docMk/>
            <pc:sldMk cId="1730741612" sldId="2147472192"/>
            <ac:spMk id="15" creationId="{30DE0EDB-20FD-ADF0-7411-A3A242B2E5C2}"/>
          </ac:spMkLst>
        </pc:spChg>
        <pc:spChg chg="mod">
          <ac:chgData name="Perretti, Ilaria" userId="aaf0d85c-e107-4cbf-8743-b9285e44fae2" providerId="ADAL" clId="{778578E3-1CF6-4A96-9EE7-AF13921511E1}" dt="2023-12-11T06:38:21.148" v="640" actId="20577"/>
          <ac:spMkLst>
            <pc:docMk/>
            <pc:sldMk cId="1730741612" sldId="2147472192"/>
            <ac:spMk id="17" creationId="{06C0066E-45D8-F23A-6F3A-FD4356816B2F}"/>
          </ac:spMkLst>
        </pc:spChg>
        <pc:spChg chg="mod">
          <ac:chgData name="Perretti, Ilaria" userId="aaf0d85c-e107-4cbf-8743-b9285e44fae2" providerId="ADAL" clId="{778578E3-1CF6-4A96-9EE7-AF13921511E1}" dt="2023-12-11T16:40:52.585" v="6062" actId="20577"/>
          <ac:spMkLst>
            <pc:docMk/>
            <pc:sldMk cId="1730741612" sldId="2147472192"/>
            <ac:spMk id="19" creationId="{9D08F294-05A0-2789-EF7B-BFE75FB1B9FC}"/>
          </ac:spMkLst>
        </pc:spChg>
        <pc:spChg chg="mod">
          <ac:chgData name="Perretti, Ilaria" userId="aaf0d85c-e107-4cbf-8743-b9285e44fae2" providerId="ADAL" clId="{778578E3-1CF6-4A96-9EE7-AF13921511E1}" dt="2023-12-11T08:09:27.912" v="2403" actId="122"/>
          <ac:spMkLst>
            <pc:docMk/>
            <pc:sldMk cId="1730741612" sldId="2147472192"/>
            <ac:spMk id="20" creationId="{3D699476-F3B9-9EAB-27AF-23AF510223D9}"/>
          </ac:spMkLst>
        </pc:spChg>
        <pc:spChg chg="mod">
          <ac:chgData name="Perretti, Ilaria" userId="aaf0d85c-e107-4cbf-8743-b9285e44fae2" providerId="ADAL" clId="{778578E3-1CF6-4A96-9EE7-AF13921511E1}" dt="2023-12-11T08:09:27.912" v="2403" actId="122"/>
          <ac:spMkLst>
            <pc:docMk/>
            <pc:sldMk cId="1730741612" sldId="2147472192"/>
            <ac:spMk id="21" creationId="{8A6C9A43-BF0D-B1AB-8361-EA1F13D7CE31}"/>
          </ac:spMkLst>
        </pc:spChg>
        <pc:picChg chg="add mod">
          <ac:chgData name="Perretti, Ilaria" userId="aaf0d85c-e107-4cbf-8743-b9285e44fae2" providerId="ADAL" clId="{778578E3-1CF6-4A96-9EE7-AF13921511E1}" dt="2023-12-11T15:43:48.504" v="5305" actId="1076"/>
          <ac:picMkLst>
            <pc:docMk/>
            <pc:sldMk cId="1730741612" sldId="2147472192"/>
            <ac:picMk id="3" creationId="{CB61E4B8-20DF-5BA4-B6D8-5217E754EA64}"/>
          </ac:picMkLst>
        </pc:picChg>
      </pc:sldChg>
      <pc:sldChg chg="addSp delSp modSp mod">
        <pc:chgData name="Perretti, Ilaria" userId="aaf0d85c-e107-4cbf-8743-b9285e44fae2" providerId="ADAL" clId="{778578E3-1CF6-4A96-9EE7-AF13921511E1}" dt="2023-12-12T06:31:34.250" v="6101"/>
        <pc:sldMkLst>
          <pc:docMk/>
          <pc:sldMk cId="470543264" sldId="2147472193"/>
        </pc:sldMkLst>
        <pc:spChg chg="add mod">
          <ac:chgData name="Perretti, Ilaria" userId="aaf0d85c-e107-4cbf-8743-b9285e44fae2" providerId="ADAL" clId="{778578E3-1CF6-4A96-9EE7-AF13921511E1}" dt="2023-12-11T11:26:24.421" v="3450"/>
          <ac:spMkLst>
            <pc:docMk/>
            <pc:sldMk cId="470543264" sldId="2147472193"/>
            <ac:spMk id="4" creationId="{CB039CD5-D03A-8274-2527-D2A1D85FF17E}"/>
          </ac:spMkLst>
        </pc:spChg>
        <pc:spChg chg="mod">
          <ac:chgData name="Perretti, Ilaria" userId="aaf0d85c-e107-4cbf-8743-b9285e44fae2" providerId="ADAL" clId="{778578E3-1CF6-4A96-9EE7-AF13921511E1}" dt="2023-12-11T08:09:43.703" v="2407" actId="20577"/>
          <ac:spMkLst>
            <pc:docMk/>
            <pc:sldMk cId="470543264" sldId="2147472193"/>
            <ac:spMk id="6" creationId="{6C6E46D1-9928-6F5D-9E42-D7E1F30C0432}"/>
          </ac:spMkLst>
        </pc:spChg>
        <pc:spChg chg="add mod">
          <ac:chgData name="Perretti, Ilaria" userId="aaf0d85c-e107-4cbf-8743-b9285e44fae2" providerId="ADAL" clId="{778578E3-1CF6-4A96-9EE7-AF13921511E1}" dt="2023-12-11T11:26:24.421" v="3450"/>
          <ac:spMkLst>
            <pc:docMk/>
            <pc:sldMk cId="470543264" sldId="2147472193"/>
            <ac:spMk id="9" creationId="{8361C6A6-4C21-568A-B911-567519A6BDB2}"/>
          </ac:spMkLst>
        </pc:spChg>
        <pc:spChg chg="mod">
          <ac:chgData name="Perretti, Ilaria" userId="aaf0d85c-e107-4cbf-8743-b9285e44fae2" providerId="ADAL" clId="{778578E3-1CF6-4A96-9EE7-AF13921511E1}" dt="2023-12-11T08:09:33.782" v="2404" actId="122"/>
          <ac:spMkLst>
            <pc:docMk/>
            <pc:sldMk cId="470543264" sldId="2147472193"/>
            <ac:spMk id="10" creationId="{F042EFDD-EDA4-5362-D87C-C595F26609E3}"/>
          </ac:spMkLst>
        </pc:spChg>
        <pc:spChg chg="mod">
          <ac:chgData name="Perretti, Ilaria" userId="aaf0d85c-e107-4cbf-8743-b9285e44fae2" providerId="ADAL" clId="{778578E3-1CF6-4A96-9EE7-AF13921511E1}" dt="2023-12-11T08:09:33.782" v="2404" actId="122"/>
          <ac:spMkLst>
            <pc:docMk/>
            <pc:sldMk cId="470543264" sldId="2147472193"/>
            <ac:spMk id="11" creationId="{F82FD344-7B33-8AE4-8EEF-50719F503FC9}"/>
          </ac:spMkLst>
        </pc:spChg>
        <pc:spChg chg="mod">
          <ac:chgData name="Perretti, Ilaria" userId="aaf0d85c-e107-4cbf-8743-b9285e44fae2" providerId="ADAL" clId="{778578E3-1CF6-4A96-9EE7-AF13921511E1}" dt="2023-12-11T16:41:06.582" v="6064" actId="108"/>
          <ac:spMkLst>
            <pc:docMk/>
            <pc:sldMk cId="470543264" sldId="2147472193"/>
            <ac:spMk id="13" creationId="{33DDE945-E8CA-2113-0778-A7C5E1D6F168}"/>
          </ac:spMkLst>
        </pc:spChg>
        <pc:spChg chg="mod">
          <ac:chgData name="Perretti, Ilaria" userId="aaf0d85c-e107-4cbf-8743-b9285e44fae2" providerId="ADAL" clId="{778578E3-1CF6-4A96-9EE7-AF13921511E1}" dt="2023-12-11T16:41:02.360" v="6063" actId="108"/>
          <ac:spMkLst>
            <pc:docMk/>
            <pc:sldMk cId="470543264" sldId="2147472193"/>
            <ac:spMk id="14" creationId="{74E8D412-29B6-7CB8-793B-7E0D9E36ADE2}"/>
          </ac:spMkLst>
        </pc:spChg>
        <pc:spChg chg="del">
          <ac:chgData name="Perretti, Ilaria" userId="aaf0d85c-e107-4cbf-8743-b9285e44fae2" providerId="ADAL" clId="{778578E3-1CF6-4A96-9EE7-AF13921511E1}" dt="2023-12-11T11:03:50.404" v="3242" actId="478"/>
          <ac:spMkLst>
            <pc:docMk/>
            <pc:sldMk cId="470543264" sldId="2147472193"/>
            <ac:spMk id="15" creationId="{30DE0EDB-20FD-ADF0-7411-A3A242B2E5C2}"/>
          </ac:spMkLst>
        </pc:spChg>
        <pc:spChg chg="add del mod">
          <ac:chgData name="Perretti, Ilaria" userId="aaf0d85c-e107-4cbf-8743-b9285e44fae2" providerId="ADAL" clId="{778578E3-1CF6-4A96-9EE7-AF13921511E1}" dt="2023-12-12T06:31:33.885" v="6100" actId="478"/>
          <ac:spMkLst>
            <pc:docMk/>
            <pc:sldMk cId="470543264" sldId="2147472193"/>
            <ac:spMk id="17" creationId="{AFEE4298-9972-79C1-4099-1A8B32D88D18}"/>
          </ac:spMkLst>
        </pc:spChg>
        <pc:spChg chg="add mod">
          <ac:chgData name="Perretti, Ilaria" userId="aaf0d85c-e107-4cbf-8743-b9285e44fae2" providerId="ADAL" clId="{778578E3-1CF6-4A96-9EE7-AF13921511E1}" dt="2023-12-12T06:31:34.250" v="6101"/>
          <ac:spMkLst>
            <pc:docMk/>
            <pc:sldMk cId="470543264" sldId="2147472193"/>
            <ac:spMk id="18" creationId="{58B2E7CF-BAC7-A5AE-DD6A-68589EB1F0F8}"/>
          </ac:spMkLst>
        </pc:spChg>
        <pc:picChg chg="add mod">
          <ac:chgData name="Perretti, Ilaria" userId="aaf0d85c-e107-4cbf-8743-b9285e44fae2" providerId="ADAL" clId="{778578E3-1CF6-4A96-9EE7-AF13921511E1}" dt="2023-12-11T11:26:24.421" v="3450"/>
          <ac:picMkLst>
            <pc:docMk/>
            <pc:sldMk cId="470543264" sldId="2147472193"/>
            <ac:picMk id="8" creationId="{C9887FC6-D2FA-D993-7FCA-934033B9E90E}"/>
          </ac:picMkLst>
        </pc:picChg>
        <pc:picChg chg="add mod">
          <ac:chgData name="Perretti, Ilaria" userId="aaf0d85c-e107-4cbf-8743-b9285e44fae2" providerId="ADAL" clId="{778578E3-1CF6-4A96-9EE7-AF13921511E1}" dt="2023-12-11T11:26:24.421" v="3450"/>
          <ac:picMkLst>
            <pc:docMk/>
            <pc:sldMk cId="470543264" sldId="2147472193"/>
            <ac:picMk id="16" creationId="{C1A71CEE-3D17-7BCC-1EA9-304BB9B6ACFC}"/>
          </ac:picMkLst>
        </pc:picChg>
      </pc:sldChg>
      <pc:sldChg chg="addSp delSp modSp mod">
        <pc:chgData name="Perretti, Ilaria" userId="aaf0d85c-e107-4cbf-8743-b9285e44fae2" providerId="ADAL" clId="{778578E3-1CF6-4A96-9EE7-AF13921511E1}" dt="2023-12-12T06:31:30.515" v="6099"/>
        <pc:sldMkLst>
          <pc:docMk/>
          <pc:sldMk cId="3653975131" sldId="2147472194"/>
        </pc:sldMkLst>
        <pc:spChg chg="mod">
          <ac:chgData name="Perretti, Ilaria" userId="aaf0d85c-e107-4cbf-8743-b9285e44fae2" providerId="ADAL" clId="{778578E3-1CF6-4A96-9EE7-AF13921511E1}" dt="2023-12-11T10:28:57.335" v="2962" actId="108"/>
          <ac:spMkLst>
            <pc:docMk/>
            <pc:sldMk cId="3653975131" sldId="2147472194"/>
            <ac:spMk id="5" creationId="{87C29C87-8B62-0509-86A0-83ED190BEF8B}"/>
          </ac:spMkLst>
        </pc:spChg>
        <pc:spChg chg="mod">
          <ac:chgData name="Perretti, Ilaria" userId="aaf0d85c-e107-4cbf-8743-b9285e44fae2" providerId="ADAL" clId="{778578E3-1CF6-4A96-9EE7-AF13921511E1}" dt="2023-12-11T08:09:52.082" v="2408" actId="122"/>
          <ac:spMkLst>
            <pc:docMk/>
            <pc:sldMk cId="3653975131" sldId="2147472194"/>
            <ac:spMk id="7" creationId="{850F3A98-0B99-AA2C-F2C5-5878FBAAD838}"/>
          </ac:spMkLst>
        </pc:spChg>
        <pc:spChg chg="mod">
          <ac:chgData name="Perretti, Ilaria" userId="aaf0d85c-e107-4cbf-8743-b9285e44fae2" providerId="ADAL" clId="{778578E3-1CF6-4A96-9EE7-AF13921511E1}" dt="2023-12-11T08:09:52.082" v="2408" actId="122"/>
          <ac:spMkLst>
            <pc:docMk/>
            <pc:sldMk cId="3653975131" sldId="2147472194"/>
            <ac:spMk id="8" creationId="{5DA9C283-328E-8662-EC07-1107E328E8A8}"/>
          </ac:spMkLst>
        </pc:spChg>
        <pc:spChg chg="mod">
          <ac:chgData name="Perretti, Ilaria" userId="aaf0d85c-e107-4cbf-8743-b9285e44fae2" providerId="ADAL" clId="{778578E3-1CF6-4A96-9EE7-AF13921511E1}" dt="2023-12-11T16:41:11.323" v="6065" actId="108"/>
          <ac:spMkLst>
            <pc:docMk/>
            <pc:sldMk cId="3653975131" sldId="2147472194"/>
            <ac:spMk id="10" creationId="{4A4E9868-08F0-40A0-4083-29A435C2F06E}"/>
          </ac:spMkLst>
        </pc:spChg>
        <pc:spChg chg="mod">
          <ac:chgData name="Perretti, Ilaria" userId="aaf0d85c-e107-4cbf-8743-b9285e44fae2" providerId="ADAL" clId="{778578E3-1CF6-4A96-9EE7-AF13921511E1}" dt="2023-12-11T16:41:21.636" v="6066" actId="108"/>
          <ac:spMkLst>
            <pc:docMk/>
            <pc:sldMk cId="3653975131" sldId="2147472194"/>
            <ac:spMk id="11" creationId="{F9E1113D-3AF1-A00F-BCB9-DE3E35BD6CE0}"/>
          </ac:spMkLst>
        </pc:spChg>
        <pc:spChg chg="add del mod">
          <ac:chgData name="Perretti, Ilaria" userId="aaf0d85c-e107-4cbf-8743-b9285e44fae2" providerId="ADAL" clId="{778578E3-1CF6-4A96-9EE7-AF13921511E1}" dt="2023-12-11T11:26:17.584" v="3449" actId="478"/>
          <ac:spMkLst>
            <pc:docMk/>
            <pc:sldMk cId="3653975131" sldId="2147472194"/>
            <ac:spMk id="12" creationId="{6340F879-77A5-4628-7E85-F08588FA896D}"/>
          </ac:spMkLst>
        </pc:spChg>
        <pc:spChg chg="add mod">
          <ac:chgData name="Perretti, Ilaria" userId="aaf0d85c-e107-4cbf-8743-b9285e44fae2" providerId="ADAL" clId="{778578E3-1CF6-4A96-9EE7-AF13921511E1}" dt="2023-12-11T11:26:39.474" v="3487" actId="1038"/>
          <ac:spMkLst>
            <pc:docMk/>
            <pc:sldMk cId="3653975131" sldId="2147472194"/>
            <ac:spMk id="14" creationId="{4F33F31D-E288-F6D6-19E2-FDE334657510}"/>
          </ac:spMkLst>
        </pc:spChg>
        <pc:spChg chg="del">
          <ac:chgData name="Perretti, Ilaria" userId="aaf0d85c-e107-4cbf-8743-b9285e44fae2" providerId="ADAL" clId="{778578E3-1CF6-4A96-9EE7-AF13921511E1}" dt="2023-12-11T12:33:56.866" v="3540" actId="478"/>
          <ac:spMkLst>
            <pc:docMk/>
            <pc:sldMk cId="3653975131" sldId="2147472194"/>
            <ac:spMk id="15" creationId="{30DE0EDB-20FD-ADF0-7411-A3A242B2E5C2}"/>
          </ac:spMkLst>
        </pc:spChg>
        <pc:spChg chg="add del mod">
          <ac:chgData name="Perretti, Ilaria" userId="aaf0d85c-e107-4cbf-8743-b9285e44fae2" providerId="ADAL" clId="{778578E3-1CF6-4A96-9EE7-AF13921511E1}" dt="2023-12-12T06:31:29.270" v="6098" actId="478"/>
          <ac:spMkLst>
            <pc:docMk/>
            <pc:sldMk cId="3653975131" sldId="2147472194"/>
            <ac:spMk id="17" creationId="{6DC96851-4EFA-3AE1-D8BF-457F84306EFA}"/>
          </ac:spMkLst>
        </pc:spChg>
        <pc:spChg chg="add mod">
          <ac:chgData name="Perretti, Ilaria" userId="aaf0d85c-e107-4cbf-8743-b9285e44fae2" providerId="ADAL" clId="{778578E3-1CF6-4A96-9EE7-AF13921511E1}" dt="2023-12-12T06:31:30.515" v="6099"/>
          <ac:spMkLst>
            <pc:docMk/>
            <pc:sldMk cId="3653975131" sldId="2147472194"/>
            <ac:spMk id="18" creationId="{218F2539-C0CD-A859-C04E-3B2111641B15}"/>
          </ac:spMkLst>
        </pc:spChg>
        <pc:picChg chg="add mod">
          <ac:chgData name="Perretti, Ilaria" userId="aaf0d85c-e107-4cbf-8743-b9285e44fae2" providerId="ADAL" clId="{778578E3-1CF6-4A96-9EE7-AF13921511E1}" dt="2023-12-11T11:26:39.474" v="3487" actId="1038"/>
          <ac:picMkLst>
            <pc:docMk/>
            <pc:sldMk cId="3653975131" sldId="2147472194"/>
            <ac:picMk id="13" creationId="{61814720-4A24-8B36-D2AE-4CE41B51C821}"/>
          </ac:picMkLst>
        </pc:picChg>
        <pc:picChg chg="add del mod">
          <ac:chgData name="Perretti, Ilaria" userId="aaf0d85c-e107-4cbf-8743-b9285e44fae2" providerId="ADAL" clId="{778578E3-1CF6-4A96-9EE7-AF13921511E1}" dt="2023-12-11T11:26:15.109" v="3448" actId="478"/>
          <ac:picMkLst>
            <pc:docMk/>
            <pc:sldMk cId="3653975131" sldId="2147472194"/>
            <ac:picMk id="16" creationId="{566295D3-45AD-305F-062D-F1007916AFD3}"/>
          </ac:picMkLst>
        </pc:picChg>
      </pc:sldChg>
      <pc:sldChg chg="addSp delSp modSp mod">
        <pc:chgData name="Perretti, Ilaria" userId="aaf0d85c-e107-4cbf-8743-b9285e44fae2" providerId="ADAL" clId="{778578E3-1CF6-4A96-9EE7-AF13921511E1}" dt="2023-12-12T06:31:25.431" v="6097"/>
        <pc:sldMkLst>
          <pc:docMk/>
          <pc:sldMk cId="500158311" sldId="2147472195"/>
        </pc:sldMkLst>
        <pc:spChg chg="mod">
          <ac:chgData name="Perretti, Ilaria" userId="aaf0d85c-e107-4cbf-8743-b9285e44fae2" providerId="ADAL" clId="{778578E3-1CF6-4A96-9EE7-AF13921511E1}" dt="2023-12-11T10:29:01.313" v="2963" actId="108"/>
          <ac:spMkLst>
            <pc:docMk/>
            <pc:sldMk cId="500158311" sldId="2147472195"/>
            <ac:spMk id="5" creationId="{81220DEA-EE80-1DF6-6EAB-C4ABD8215DCF}"/>
          </ac:spMkLst>
        </pc:spChg>
        <pc:spChg chg="mod">
          <ac:chgData name="Perretti, Ilaria" userId="aaf0d85c-e107-4cbf-8743-b9285e44fae2" providerId="ADAL" clId="{778578E3-1CF6-4A96-9EE7-AF13921511E1}" dt="2023-12-11T08:09:59.378" v="2409" actId="122"/>
          <ac:spMkLst>
            <pc:docMk/>
            <pc:sldMk cId="500158311" sldId="2147472195"/>
            <ac:spMk id="7" creationId="{2F76F188-A1FC-8D5D-5069-FE93ECCD6905}"/>
          </ac:spMkLst>
        </pc:spChg>
        <pc:spChg chg="mod">
          <ac:chgData name="Perretti, Ilaria" userId="aaf0d85c-e107-4cbf-8743-b9285e44fae2" providerId="ADAL" clId="{778578E3-1CF6-4A96-9EE7-AF13921511E1}" dt="2023-12-11T08:09:59.378" v="2409" actId="122"/>
          <ac:spMkLst>
            <pc:docMk/>
            <pc:sldMk cId="500158311" sldId="2147472195"/>
            <ac:spMk id="8" creationId="{D4F36FF9-0255-00DD-63F3-CA74AD63A4D2}"/>
          </ac:spMkLst>
        </pc:spChg>
        <pc:spChg chg="mod">
          <ac:chgData name="Perretti, Ilaria" userId="aaf0d85c-e107-4cbf-8743-b9285e44fae2" providerId="ADAL" clId="{778578E3-1CF6-4A96-9EE7-AF13921511E1}" dt="2023-12-11T16:41:37.928" v="6068" actId="108"/>
          <ac:spMkLst>
            <pc:docMk/>
            <pc:sldMk cId="500158311" sldId="2147472195"/>
            <ac:spMk id="10" creationId="{45F0C069-74DB-DE90-CBDF-FEF716745ECA}"/>
          </ac:spMkLst>
        </pc:spChg>
        <pc:spChg chg="mod">
          <ac:chgData name="Perretti, Ilaria" userId="aaf0d85c-e107-4cbf-8743-b9285e44fae2" providerId="ADAL" clId="{778578E3-1CF6-4A96-9EE7-AF13921511E1}" dt="2023-12-11T16:41:44.200" v="6070" actId="14100"/>
          <ac:spMkLst>
            <pc:docMk/>
            <pc:sldMk cId="500158311" sldId="2147472195"/>
            <ac:spMk id="11" creationId="{1C3CCC62-2981-BB74-4A98-A7E48A081623}"/>
          </ac:spMkLst>
        </pc:spChg>
        <pc:spChg chg="add mod">
          <ac:chgData name="Perretti, Ilaria" userId="aaf0d85c-e107-4cbf-8743-b9285e44fae2" providerId="ADAL" clId="{778578E3-1CF6-4A96-9EE7-AF13921511E1}" dt="2023-12-11T12:42:53.472" v="3567" actId="1036"/>
          <ac:spMkLst>
            <pc:docMk/>
            <pc:sldMk cId="500158311" sldId="2147472195"/>
            <ac:spMk id="12" creationId="{0DE192FD-4284-84D0-F8AA-B35734C8980E}"/>
          </ac:spMkLst>
        </pc:spChg>
        <pc:spChg chg="add del mod">
          <ac:chgData name="Perretti, Ilaria" userId="aaf0d85c-e107-4cbf-8743-b9285e44fae2" providerId="ADAL" clId="{778578E3-1CF6-4A96-9EE7-AF13921511E1}" dt="2023-12-12T06:31:25.089" v="6096" actId="478"/>
          <ac:spMkLst>
            <pc:docMk/>
            <pc:sldMk cId="500158311" sldId="2147472195"/>
            <ac:spMk id="14" creationId="{E6467951-1C84-28EF-F34F-83F1A06E0FA1}"/>
          </ac:spMkLst>
        </pc:spChg>
        <pc:spChg chg="del">
          <ac:chgData name="Perretti, Ilaria" userId="aaf0d85c-e107-4cbf-8743-b9285e44fae2" providerId="ADAL" clId="{778578E3-1CF6-4A96-9EE7-AF13921511E1}" dt="2023-12-11T12:43:03.210" v="3568" actId="478"/>
          <ac:spMkLst>
            <pc:docMk/>
            <pc:sldMk cId="500158311" sldId="2147472195"/>
            <ac:spMk id="15" creationId="{30DE0EDB-20FD-ADF0-7411-A3A242B2E5C2}"/>
          </ac:spMkLst>
        </pc:spChg>
        <pc:spChg chg="add mod">
          <ac:chgData name="Perretti, Ilaria" userId="aaf0d85c-e107-4cbf-8743-b9285e44fae2" providerId="ADAL" clId="{778578E3-1CF6-4A96-9EE7-AF13921511E1}" dt="2023-12-12T06:31:25.431" v="6097"/>
          <ac:spMkLst>
            <pc:docMk/>
            <pc:sldMk cId="500158311" sldId="2147472195"/>
            <ac:spMk id="16" creationId="{0A911A46-0F4B-6948-5FF9-BCF0C5136E3E}"/>
          </ac:spMkLst>
        </pc:spChg>
        <pc:picChg chg="add mod">
          <ac:chgData name="Perretti, Ilaria" userId="aaf0d85c-e107-4cbf-8743-b9285e44fae2" providerId="ADAL" clId="{778578E3-1CF6-4A96-9EE7-AF13921511E1}" dt="2023-12-11T12:42:53.472" v="3567" actId="1036"/>
          <ac:picMkLst>
            <pc:docMk/>
            <pc:sldMk cId="500158311" sldId="2147472195"/>
            <ac:picMk id="13" creationId="{EE70FE00-9735-D532-45E7-326D14C58BDB}"/>
          </ac:picMkLst>
        </pc:picChg>
      </pc:sldChg>
      <pc:sldChg chg="addSp delSp modSp mod">
        <pc:chgData name="Perretti, Ilaria" userId="aaf0d85c-e107-4cbf-8743-b9285e44fae2" providerId="ADAL" clId="{778578E3-1CF6-4A96-9EE7-AF13921511E1}" dt="2023-12-12T06:31:20.561" v="6095"/>
        <pc:sldMkLst>
          <pc:docMk/>
          <pc:sldMk cId="1828999297" sldId="2147472197"/>
        </pc:sldMkLst>
        <pc:spChg chg="del">
          <ac:chgData name="Perretti, Ilaria" userId="aaf0d85c-e107-4cbf-8743-b9285e44fae2" providerId="ADAL" clId="{778578E3-1CF6-4A96-9EE7-AF13921511E1}" dt="2023-12-11T10:29:26.988" v="2964" actId="478"/>
          <ac:spMkLst>
            <pc:docMk/>
            <pc:sldMk cId="1828999297" sldId="2147472197"/>
            <ac:spMk id="5" creationId="{C6A947B8-9F8D-365B-CC2F-864F8846E5B4}"/>
          </ac:spMkLst>
        </pc:spChg>
        <pc:spChg chg="mod">
          <ac:chgData name="Perretti, Ilaria" userId="aaf0d85c-e107-4cbf-8743-b9285e44fae2" providerId="ADAL" clId="{778578E3-1CF6-4A96-9EE7-AF13921511E1}" dt="2023-12-11T06:25:31.523" v="402" actId="20577"/>
          <ac:spMkLst>
            <pc:docMk/>
            <pc:sldMk cId="1828999297" sldId="2147472197"/>
            <ac:spMk id="10" creationId="{1F7DB244-02B0-10C9-FA3B-98DF03FB98E6}"/>
          </ac:spMkLst>
        </pc:spChg>
        <pc:spChg chg="mod">
          <ac:chgData name="Perretti, Ilaria" userId="aaf0d85c-e107-4cbf-8743-b9285e44fae2" providerId="ADAL" clId="{778578E3-1CF6-4A96-9EE7-AF13921511E1}" dt="2023-12-11T10:25:23.447" v="2839" actId="12"/>
          <ac:spMkLst>
            <pc:docMk/>
            <pc:sldMk cId="1828999297" sldId="2147472197"/>
            <ac:spMk id="11" creationId="{58FB33F6-3268-2CDB-B922-209AE5D174A5}"/>
          </ac:spMkLst>
        </pc:spChg>
        <pc:spChg chg="add mod">
          <ac:chgData name="Perretti, Ilaria" userId="aaf0d85c-e107-4cbf-8743-b9285e44fae2" providerId="ADAL" clId="{778578E3-1CF6-4A96-9EE7-AF13921511E1}" dt="2023-12-11T10:31:40.448" v="3103" actId="313"/>
          <ac:spMkLst>
            <pc:docMk/>
            <pc:sldMk cId="1828999297" sldId="2147472197"/>
            <ac:spMk id="12" creationId="{42A96840-F8AA-87A4-B9EB-2ABA7D1655F9}"/>
          </ac:spMkLst>
        </pc:spChg>
        <pc:spChg chg="del">
          <ac:chgData name="Perretti, Ilaria" userId="aaf0d85c-e107-4cbf-8743-b9285e44fae2" providerId="ADAL" clId="{778578E3-1CF6-4A96-9EE7-AF13921511E1}" dt="2023-12-11T13:40:55.985" v="3573" actId="478"/>
          <ac:spMkLst>
            <pc:docMk/>
            <pc:sldMk cId="1828999297" sldId="2147472197"/>
            <ac:spMk id="15" creationId="{30DE0EDB-20FD-ADF0-7411-A3A242B2E5C2}"/>
          </ac:spMkLst>
        </pc:spChg>
        <pc:spChg chg="mod topLvl">
          <ac:chgData name="Perretti, Ilaria" userId="aaf0d85c-e107-4cbf-8743-b9285e44fae2" providerId="ADAL" clId="{778578E3-1CF6-4A96-9EE7-AF13921511E1}" dt="2023-12-11T10:56:15.257" v="3220" actId="164"/>
          <ac:spMkLst>
            <pc:docMk/>
            <pc:sldMk cId="1828999297" sldId="2147472197"/>
            <ac:spMk id="18" creationId="{2EA74B5C-5DB1-391D-97E6-07C329BB7D02}"/>
          </ac:spMkLst>
        </pc:spChg>
        <pc:spChg chg="mod topLvl">
          <ac:chgData name="Perretti, Ilaria" userId="aaf0d85c-e107-4cbf-8743-b9285e44fae2" providerId="ADAL" clId="{778578E3-1CF6-4A96-9EE7-AF13921511E1}" dt="2023-12-11T10:56:15.257" v="3220" actId="164"/>
          <ac:spMkLst>
            <pc:docMk/>
            <pc:sldMk cId="1828999297" sldId="2147472197"/>
            <ac:spMk id="19" creationId="{FEA74C62-C2D1-C09D-0B4F-026C4C1D5870}"/>
          </ac:spMkLst>
        </pc:spChg>
        <pc:spChg chg="mod topLvl">
          <ac:chgData name="Perretti, Ilaria" userId="aaf0d85c-e107-4cbf-8743-b9285e44fae2" providerId="ADAL" clId="{778578E3-1CF6-4A96-9EE7-AF13921511E1}" dt="2023-12-11T10:56:15.257" v="3220" actId="164"/>
          <ac:spMkLst>
            <pc:docMk/>
            <pc:sldMk cId="1828999297" sldId="2147472197"/>
            <ac:spMk id="20" creationId="{19547CAC-AD11-2B1D-6FB5-7FF5BE973590}"/>
          </ac:spMkLst>
        </pc:spChg>
        <pc:spChg chg="del mod topLvl">
          <ac:chgData name="Perretti, Ilaria" userId="aaf0d85c-e107-4cbf-8743-b9285e44fae2" providerId="ADAL" clId="{778578E3-1CF6-4A96-9EE7-AF13921511E1}" dt="2023-12-12T06:31:20.175" v="6094" actId="478"/>
          <ac:spMkLst>
            <pc:docMk/>
            <pc:sldMk cId="1828999297" sldId="2147472197"/>
            <ac:spMk id="22" creationId="{8C91A389-6626-6E57-1F85-0C0282403DD9}"/>
          </ac:spMkLst>
        </pc:spChg>
        <pc:spChg chg="add del mod">
          <ac:chgData name="Perretti, Ilaria" userId="aaf0d85c-e107-4cbf-8743-b9285e44fae2" providerId="ADAL" clId="{778578E3-1CF6-4A96-9EE7-AF13921511E1}" dt="2023-12-11T11:20:50.186" v="3336" actId="478"/>
          <ac:spMkLst>
            <pc:docMk/>
            <pc:sldMk cId="1828999297" sldId="2147472197"/>
            <ac:spMk id="24" creationId="{FBB8C29B-8D32-8FED-7D11-148D09CCB473}"/>
          </ac:spMkLst>
        </pc:spChg>
        <pc:spChg chg="add mod">
          <ac:chgData name="Perretti, Ilaria" userId="aaf0d85c-e107-4cbf-8743-b9285e44fae2" providerId="ADAL" clId="{778578E3-1CF6-4A96-9EE7-AF13921511E1}" dt="2023-12-12T06:31:20.561" v="6095"/>
          <ac:spMkLst>
            <pc:docMk/>
            <pc:sldMk cId="1828999297" sldId="2147472197"/>
            <ac:spMk id="25" creationId="{88AD6527-183A-9841-0505-084EFD72B459}"/>
          </ac:spMkLst>
        </pc:spChg>
        <pc:grpChg chg="add del mod">
          <ac:chgData name="Perretti, Ilaria" userId="aaf0d85c-e107-4cbf-8743-b9285e44fae2" providerId="ADAL" clId="{778578E3-1CF6-4A96-9EE7-AF13921511E1}" dt="2023-12-11T10:54:10.446" v="3201" actId="165"/>
          <ac:grpSpMkLst>
            <pc:docMk/>
            <pc:sldMk cId="1828999297" sldId="2147472197"/>
            <ac:grpSpMk id="13" creationId="{30BA61AB-17BF-3E91-FAD6-3ED0D0886431}"/>
          </ac:grpSpMkLst>
        </pc:grpChg>
        <pc:grpChg chg="add mod">
          <ac:chgData name="Perretti, Ilaria" userId="aaf0d85c-e107-4cbf-8743-b9285e44fae2" providerId="ADAL" clId="{778578E3-1CF6-4A96-9EE7-AF13921511E1}" dt="2023-12-11T10:56:19.149" v="3221" actId="1076"/>
          <ac:grpSpMkLst>
            <pc:docMk/>
            <pc:sldMk cId="1828999297" sldId="2147472197"/>
            <ac:grpSpMk id="23" creationId="{7E2275CB-D4EA-C4F3-99E8-BDACD9806850}"/>
          </ac:grpSpMkLst>
        </pc:grpChg>
        <pc:picChg chg="mod topLvl">
          <ac:chgData name="Perretti, Ilaria" userId="aaf0d85c-e107-4cbf-8743-b9285e44fae2" providerId="ADAL" clId="{778578E3-1CF6-4A96-9EE7-AF13921511E1}" dt="2023-12-11T10:56:15.257" v="3220" actId="164"/>
          <ac:picMkLst>
            <pc:docMk/>
            <pc:sldMk cId="1828999297" sldId="2147472197"/>
            <ac:picMk id="14" creationId="{82219107-F78A-6F0C-D45E-071B6512CCEE}"/>
          </ac:picMkLst>
        </pc:picChg>
        <pc:picChg chg="mod topLvl">
          <ac:chgData name="Perretti, Ilaria" userId="aaf0d85c-e107-4cbf-8743-b9285e44fae2" providerId="ADAL" clId="{778578E3-1CF6-4A96-9EE7-AF13921511E1}" dt="2023-12-11T10:56:15.257" v="3220" actId="164"/>
          <ac:picMkLst>
            <pc:docMk/>
            <pc:sldMk cId="1828999297" sldId="2147472197"/>
            <ac:picMk id="16" creationId="{9D30FCA7-B3A6-FD86-A5E0-887016DF4F81}"/>
          </ac:picMkLst>
        </pc:picChg>
        <pc:picChg chg="mod topLvl">
          <ac:chgData name="Perretti, Ilaria" userId="aaf0d85c-e107-4cbf-8743-b9285e44fae2" providerId="ADAL" clId="{778578E3-1CF6-4A96-9EE7-AF13921511E1}" dt="2023-12-11T10:56:15.257" v="3220" actId="164"/>
          <ac:picMkLst>
            <pc:docMk/>
            <pc:sldMk cId="1828999297" sldId="2147472197"/>
            <ac:picMk id="17" creationId="{A629D493-FF86-8E72-784C-720ABC73C81B}"/>
          </ac:picMkLst>
        </pc:picChg>
        <pc:picChg chg="mod topLvl">
          <ac:chgData name="Perretti, Ilaria" userId="aaf0d85c-e107-4cbf-8743-b9285e44fae2" providerId="ADAL" clId="{778578E3-1CF6-4A96-9EE7-AF13921511E1}" dt="2023-12-11T10:56:15.257" v="3220" actId="164"/>
          <ac:picMkLst>
            <pc:docMk/>
            <pc:sldMk cId="1828999297" sldId="2147472197"/>
            <ac:picMk id="21" creationId="{78C68DA7-0169-AABF-AD69-CC96B7E195B0}"/>
          </ac:picMkLst>
        </pc:picChg>
      </pc:sldChg>
      <pc:sldChg chg="addSp delSp modSp mod addCm">
        <pc:chgData name="Perretti, Ilaria" userId="aaf0d85c-e107-4cbf-8743-b9285e44fae2" providerId="ADAL" clId="{778578E3-1CF6-4A96-9EE7-AF13921511E1}" dt="2023-12-12T06:31:05.748" v="6089"/>
        <pc:sldMkLst>
          <pc:docMk/>
          <pc:sldMk cId="2197289722" sldId="2147472198"/>
        </pc:sldMkLst>
        <pc:spChg chg="mod">
          <ac:chgData name="Perretti, Ilaria" userId="aaf0d85c-e107-4cbf-8743-b9285e44fae2" providerId="ADAL" clId="{778578E3-1CF6-4A96-9EE7-AF13921511E1}" dt="2023-12-11T13:49:24.842" v="4182" actId="20577"/>
          <ac:spMkLst>
            <pc:docMk/>
            <pc:sldMk cId="2197289722" sldId="2147472198"/>
            <ac:spMk id="5" creationId="{49271B30-6166-98B0-3CB1-F1FA99A6E958}"/>
          </ac:spMkLst>
        </pc:spChg>
        <pc:spChg chg="mod">
          <ac:chgData name="Perretti, Ilaria" userId="aaf0d85c-e107-4cbf-8743-b9285e44fae2" providerId="ADAL" clId="{778578E3-1CF6-4A96-9EE7-AF13921511E1}" dt="2023-12-11T10:27:45.960" v="2953" actId="108"/>
          <ac:spMkLst>
            <pc:docMk/>
            <pc:sldMk cId="2197289722" sldId="2147472198"/>
            <ac:spMk id="10" creationId="{2FE600E1-4DB7-B3F2-41A9-8C14B1EE826F}"/>
          </ac:spMkLst>
        </pc:spChg>
        <pc:spChg chg="mod">
          <ac:chgData name="Perretti, Ilaria" userId="aaf0d85c-e107-4cbf-8743-b9285e44fae2" providerId="ADAL" clId="{778578E3-1CF6-4A96-9EE7-AF13921511E1}" dt="2023-12-11T10:27:33.656" v="2952" actId="108"/>
          <ac:spMkLst>
            <pc:docMk/>
            <pc:sldMk cId="2197289722" sldId="2147472198"/>
            <ac:spMk id="11" creationId="{196927F8-D599-0D53-F130-21C837637033}"/>
          </ac:spMkLst>
        </pc:spChg>
        <pc:spChg chg="add del mod">
          <ac:chgData name="Perretti, Ilaria" userId="aaf0d85c-e107-4cbf-8743-b9285e44fae2" providerId="ADAL" clId="{778578E3-1CF6-4A96-9EE7-AF13921511E1}" dt="2023-12-12T06:31:05.303" v="6088" actId="478"/>
          <ac:spMkLst>
            <pc:docMk/>
            <pc:sldMk cId="2197289722" sldId="2147472198"/>
            <ac:spMk id="13" creationId="{8C9A3093-1380-58D9-B272-511B3B8BEC9B}"/>
          </ac:spMkLst>
        </pc:spChg>
        <pc:spChg chg="add mod">
          <ac:chgData name="Perretti, Ilaria" userId="aaf0d85c-e107-4cbf-8743-b9285e44fae2" providerId="ADAL" clId="{778578E3-1CF6-4A96-9EE7-AF13921511E1}" dt="2023-12-12T06:31:05.748" v="6089"/>
          <ac:spMkLst>
            <pc:docMk/>
            <pc:sldMk cId="2197289722" sldId="2147472198"/>
            <ac:spMk id="14" creationId="{60C7A617-7B87-ADAD-9ECC-C3B3317CB4F2}"/>
          </ac:spMkLst>
        </pc:spChg>
        <pc:spChg chg="del">
          <ac:chgData name="Perretti, Ilaria" userId="aaf0d85c-e107-4cbf-8743-b9285e44fae2" providerId="ADAL" clId="{778578E3-1CF6-4A96-9EE7-AF13921511E1}" dt="2023-12-11T13:48:28.283" v="4151" actId="478"/>
          <ac:spMkLst>
            <pc:docMk/>
            <pc:sldMk cId="2197289722" sldId="2147472198"/>
            <ac:spMk id="15" creationId="{30DE0EDB-20FD-ADF0-7411-A3A242B2E5C2}"/>
          </ac:spMkLst>
        </pc:spChg>
        <pc:picChg chg="add mod">
          <ac:chgData name="Perretti, Ilaria" userId="aaf0d85c-e107-4cbf-8743-b9285e44fae2" providerId="ADAL" clId="{778578E3-1CF6-4A96-9EE7-AF13921511E1}" dt="2023-12-11T15:44:11.392" v="5307"/>
          <ac:picMkLst>
            <pc:docMk/>
            <pc:sldMk cId="2197289722" sldId="2147472198"/>
            <ac:picMk id="12" creationId="{B4FD4897-7895-D868-20F5-3D98316B5721}"/>
          </ac:picMkLst>
        </pc:picChg>
      </pc:sldChg>
      <pc:sldChg chg="addSp delSp modSp mod">
        <pc:chgData name="Perretti, Ilaria" userId="aaf0d85c-e107-4cbf-8743-b9285e44fae2" providerId="ADAL" clId="{778578E3-1CF6-4A96-9EE7-AF13921511E1}" dt="2023-12-12T06:31:15.788" v="6093"/>
        <pc:sldMkLst>
          <pc:docMk/>
          <pc:sldMk cId="3234539576" sldId="2147472199"/>
        </pc:sldMkLst>
        <pc:spChg chg="mod">
          <ac:chgData name="Perretti, Ilaria" userId="aaf0d85c-e107-4cbf-8743-b9285e44fae2" providerId="ADAL" clId="{778578E3-1CF6-4A96-9EE7-AF13921511E1}" dt="2023-12-11T13:44:31.210" v="3742" actId="20577"/>
          <ac:spMkLst>
            <pc:docMk/>
            <pc:sldMk cId="3234539576" sldId="2147472199"/>
            <ac:spMk id="5" creationId="{C3312F2F-4FB6-B12D-8FAA-40326E0088D8}"/>
          </ac:spMkLst>
        </pc:spChg>
        <pc:spChg chg="mod">
          <ac:chgData name="Perretti, Ilaria" userId="aaf0d85c-e107-4cbf-8743-b9285e44fae2" providerId="ADAL" clId="{778578E3-1CF6-4A96-9EE7-AF13921511E1}" dt="2023-12-11T11:14:26.952" v="3243" actId="14100"/>
          <ac:spMkLst>
            <pc:docMk/>
            <pc:sldMk cId="3234539576" sldId="2147472199"/>
            <ac:spMk id="10" creationId="{AE4746F4-B724-2713-9FD3-C4C413941735}"/>
          </ac:spMkLst>
        </pc:spChg>
        <pc:spChg chg="mod">
          <ac:chgData name="Perretti, Ilaria" userId="aaf0d85c-e107-4cbf-8743-b9285e44fae2" providerId="ADAL" clId="{778578E3-1CF6-4A96-9EE7-AF13921511E1}" dt="2023-12-11T10:25:28.920" v="2840" actId="12"/>
          <ac:spMkLst>
            <pc:docMk/>
            <pc:sldMk cId="3234539576" sldId="2147472199"/>
            <ac:spMk id="11" creationId="{393457C2-C9BC-A043-40AA-5C5E933D158C}"/>
          </ac:spMkLst>
        </pc:spChg>
        <pc:spChg chg="add del mod">
          <ac:chgData name="Perretti, Ilaria" userId="aaf0d85c-e107-4cbf-8743-b9285e44fae2" providerId="ADAL" clId="{778578E3-1CF6-4A96-9EE7-AF13921511E1}" dt="2023-12-11T11:14:32.031" v="3245"/>
          <ac:spMkLst>
            <pc:docMk/>
            <pc:sldMk cId="3234539576" sldId="2147472199"/>
            <ac:spMk id="14" creationId="{7E42A5D8-23A9-25CB-4BD2-E11DE99940AC}"/>
          </ac:spMkLst>
        </pc:spChg>
        <pc:spChg chg="del mod">
          <ac:chgData name="Perretti, Ilaria" userId="aaf0d85c-e107-4cbf-8743-b9285e44fae2" providerId="ADAL" clId="{778578E3-1CF6-4A96-9EE7-AF13921511E1}" dt="2023-12-11T13:41:17.478" v="3575" actId="478"/>
          <ac:spMkLst>
            <pc:docMk/>
            <pc:sldMk cId="3234539576" sldId="2147472199"/>
            <ac:spMk id="15" creationId="{30DE0EDB-20FD-ADF0-7411-A3A242B2E5C2}"/>
          </ac:spMkLst>
        </pc:spChg>
        <pc:spChg chg="add del mod">
          <ac:chgData name="Perretti, Ilaria" userId="aaf0d85c-e107-4cbf-8743-b9285e44fae2" providerId="ADAL" clId="{778578E3-1CF6-4A96-9EE7-AF13921511E1}" dt="2023-12-11T11:14:32.031" v="3245"/>
          <ac:spMkLst>
            <pc:docMk/>
            <pc:sldMk cId="3234539576" sldId="2147472199"/>
            <ac:spMk id="16" creationId="{BF5DB455-6F8C-F802-4FD8-A79A3BFA3B03}"/>
          </ac:spMkLst>
        </pc:spChg>
        <pc:spChg chg="add mod">
          <ac:chgData name="Perretti, Ilaria" userId="aaf0d85c-e107-4cbf-8743-b9285e44fae2" providerId="ADAL" clId="{778578E3-1CF6-4A96-9EE7-AF13921511E1}" dt="2023-12-11T11:22:02.087" v="3408" actId="14100"/>
          <ac:spMkLst>
            <pc:docMk/>
            <pc:sldMk cId="3234539576" sldId="2147472199"/>
            <ac:spMk id="19" creationId="{39657589-1F87-6CA1-9229-740FAE9AE2A4}"/>
          </ac:spMkLst>
        </pc:spChg>
        <pc:spChg chg="add mod">
          <ac:chgData name="Perretti, Ilaria" userId="aaf0d85c-e107-4cbf-8743-b9285e44fae2" providerId="ADAL" clId="{778578E3-1CF6-4A96-9EE7-AF13921511E1}" dt="2023-12-11T11:22:16.521" v="3414" actId="1037"/>
          <ac:spMkLst>
            <pc:docMk/>
            <pc:sldMk cId="3234539576" sldId="2147472199"/>
            <ac:spMk id="20" creationId="{94A71895-6E7F-A616-B7B1-440FD4C56F0C}"/>
          </ac:spMkLst>
        </pc:spChg>
        <pc:spChg chg="add del mod">
          <ac:chgData name="Perretti, Ilaria" userId="aaf0d85c-e107-4cbf-8743-b9285e44fae2" providerId="ADAL" clId="{778578E3-1CF6-4A96-9EE7-AF13921511E1}" dt="2023-12-12T06:31:15.172" v="6092" actId="478"/>
          <ac:spMkLst>
            <pc:docMk/>
            <pc:sldMk cId="3234539576" sldId="2147472199"/>
            <ac:spMk id="23" creationId="{DBB12300-1DD1-67E9-8BB9-62E3B3D3186C}"/>
          </ac:spMkLst>
        </pc:spChg>
        <pc:spChg chg="add del mod">
          <ac:chgData name="Perretti, Ilaria" userId="aaf0d85c-e107-4cbf-8743-b9285e44fae2" providerId="ADAL" clId="{778578E3-1CF6-4A96-9EE7-AF13921511E1}" dt="2023-12-11T11:21:30.855" v="3362" actId="478"/>
          <ac:spMkLst>
            <pc:docMk/>
            <pc:sldMk cId="3234539576" sldId="2147472199"/>
            <ac:spMk id="24" creationId="{2471FF42-9FDF-3249-AEBA-A3A80CA52F39}"/>
          </ac:spMkLst>
        </pc:spChg>
        <pc:spChg chg="add mod">
          <ac:chgData name="Perretti, Ilaria" userId="aaf0d85c-e107-4cbf-8743-b9285e44fae2" providerId="ADAL" clId="{778578E3-1CF6-4A96-9EE7-AF13921511E1}" dt="2023-12-12T06:31:15.788" v="6093"/>
          <ac:spMkLst>
            <pc:docMk/>
            <pc:sldMk cId="3234539576" sldId="2147472199"/>
            <ac:spMk id="25" creationId="{423BDCBE-5F90-3B1C-FCED-F279DF9D4826}"/>
          </ac:spMkLst>
        </pc:spChg>
        <pc:grpChg chg="add mod">
          <ac:chgData name="Perretti, Ilaria" userId="aaf0d85c-e107-4cbf-8743-b9285e44fae2" providerId="ADAL" clId="{778578E3-1CF6-4A96-9EE7-AF13921511E1}" dt="2023-12-11T11:15:10.994" v="3257" actId="164"/>
          <ac:grpSpMkLst>
            <pc:docMk/>
            <pc:sldMk cId="3234539576" sldId="2147472199"/>
            <ac:grpSpMk id="21" creationId="{77DCF1BE-89C8-09EA-49BA-6D17B3F10B3C}"/>
          </ac:grpSpMkLst>
        </pc:grpChg>
        <pc:grpChg chg="add mod">
          <ac:chgData name="Perretti, Ilaria" userId="aaf0d85c-e107-4cbf-8743-b9285e44fae2" providerId="ADAL" clId="{778578E3-1CF6-4A96-9EE7-AF13921511E1}" dt="2023-12-11T11:15:07.631" v="3256" actId="164"/>
          <ac:grpSpMkLst>
            <pc:docMk/>
            <pc:sldMk cId="3234539576" sldId="2147472199"/>
            <ac:grpSpMk id="22" creationId="{8F5914E1-C3ED-2CE8-C02E-DED502EEC689}"/>
          </ac:grpSpMkLst>
        </pc:grpChg>
        <pc:picChg chg="add del mod">
          <ac:chgData name="Perretti, Ilaria" userId="aaf0d85c-e107-4cbf-8743-b9285e44fae2" providerId="ADAL" clId="{778578E3-1CF6-4A96-9EE7-AF13921511E1}" dt="2023-12-11T11:14:32.031" v="3245"/>
          <ac:picMkLst>
            <pc:docMk/>
            <pc:sldMk cId="3234539576" sldId="2147472199"/>
            <ac:picMk id="12" creationId="{900F58FA-0F46-93EA-18AB-BD4E97BFAEC1}"/>
          </ac:picMkLst>
        </pc:picChg>
        <pc:picChg chg="add del mod">
          <ac:chgData name="Perretti, Ilaria" userId="aaf0d85c-e107-4cbf-8743-b9285e44fae2" providerId="ADAL" clId="{778578E3-1CF6-4A96-9EE7-AF13921511E1}" dt="2023-12-11T11:14:32.031" v="3245"/>
          <ac:picMkLst>
            <pc:docMk/>
            <pc:sldMk cId="3234539576" sldId="2147472199"/>
            <ac:picMk id="13" creationId="{6F8A4C08-4228-B4ED-D63F-34D6E3FA833C}"/>
          </ac:picMkLst>
        </pc:picChg>
        <pc:picChg chg="add del mod">
          <ac:chgData name="Perretti, Ilaria" userId="aaf0d85c-e107-4cbf-8743-b9285e44fae2" providerId="ADAL" clId="{778578E3-1CF6-4A96-9EE7-AF13921511E1}" dt="2023-12-11T11:21:21.472" v="3360" actId="478"/>
          <ac:picMkLst>
            <pc:docMk/>
            <pc:sldMk cId="3234539576" sldId="2147472199"/>
            <ac:picMk id="17" creationId="{BC0003CE-7173-94A8-0C87-43FB0CB68481}"/>
          </ac:picMkLst>
        </pc:picChg>
        <pc:picChg chg="add mod">
          <ac:chgData name="Perretti, Ilaria" userId="aaf0d85c-e107-4cbf-8743-b9285e44fae2" providerId="ADAL" clId="{778578E3-1CF6-4A96-9EE7-AF13921511E1}" dt="2023-12-11T11:21:40.089" v="3365" actId="1076"/>
          <ac:picMkLst>
            <pc:docMk/>
            <pc:sldMk cId="3234539576" sldId="2147472199"/>
            <ac:picMk id="18" creationId="{4F0E4E4C-8BC8-2D2A-8FD2-00C6D4CDF29C}"/>
          </ac:picMkLst>
        </pc:picChg>
      </pc:sldChg>
      <pc:sldChg chg="addSp delSp modSp mod">
        <pc:chgData name="Perretti, Ilaria" userId="aaf0d85c-e107-4cbf-8743-b9285e44fae2" providerId="ADAL" clId="{778578E3-1CF6-4A96-9EE7-AF13921511E1}" dt="2023-12-12T06:31:10.032" v="6091"/>
        <pc:sldMkLst>
          <pc:docMk/>
          <pc:sldMk cId="3627460361" sldId="2147472200"/>
        </pc:sldMkLst>
        <pc:spChg chg="del">
          <ac:chgData name="Perretti, Ilaria" userId="aaf0d85c-e107-4cbf-8743-b9285e44fae2" providerId="ADAL" clId="{778578E3-1CF6-4A96-9EE7-AF13921511E1}" dt="2023-12-11T13:44:46.283" v="3745" actId="478"/>
          <ac:spMkLst>
            <pc:docMk/>
            <pc:sldMk cId="3627460361" sldId="2147472200"/>
            <ac:spMk id="5" creationId="{FF0B3DA3-DF67-B385-E5AE-395F25135A3A}"/>
          </ac:spMkLst>
        </pc:spChg>
        <pc:spChg chg="mod">
          <ac:chgData name="Perretti, Ilaria" userId="aaf0d85c-e107-4cbf-8743-b9285e44fae2" providerId="ADAL" clId="{778578E3-1CF6-4A96-9EE7-AF13921511E1}" dt="2023-12-11T06:20:42.378" v="205"/>
          <ac:spMkLst>
            <pc:docMk/>
            <pc:sldMk cId="3627460361" sldId="2147472200"/>
            <ac:spMk id="10" creationId="{F1526A7C-6BAB-60AC-A2A3-B86B06D5AAD6}"/>
          </ac:spMkLst>
        </pc:spChg>
        <pc:spChg chg="mod">
          <ac:chgData name="Perretti, Ilaria" userId="aaf0d85c-e107-4cbf-8743-b9285e44fae2" providerId="ADAL" clId="{778578E3-1CF6-4A96-9EE7-AF13921511E1}" dt="2023-12-11T10:27:21.364" v="2950" actId="5793"/>
          <ac:spMkLst>
            <pc:docMk/>
            <pc:sldMk cId="3627460361" sldId="2147472200"/>
            <ac:spMk id="11" creationId="{85F8F49E-8474-8A18-57F5-135FAD0E6B14}"/>
          </ac:spMkLst>
        </pc:spChg>
        <pc:spChg chg="add del mod">
          <ac:chgData name="Perretti, Ilaria" userId="aaf0d85c-e107-4cbf-8743-b9285e44fae2" providerId="ADAL" clId="{778578E3-1CF6-4A96-9EE7-AF13921511E1}" dt="2023-12-11T10:52:13.192" v="3181" actId="478"/>
          <ac:spMkLst>
            <pc:docMk/>
            <pc:sldMk cId="3627460361" sldId="2147472200"/>
            <ac:spMk id="12" creationId="{ECC28527-28C1-9A39-A1D4-54621F4EDA1E}"/>
          </ac:spMkLst>
        </pc:spChg>
        <pc:spChg chg="add del mod">
          <ac:chgData name="Perretti, Ilaria" userId="aaf0d85c-e107-4cbf-8743-b9285e44fae2" providerId="ADAL" clId="{778578E3-1CF6-4A96-9EE7-AF13921511E1}" dt="2023-12-11T10:51:44.258" v="3175" actId="478"/>
          <ac:spMkLst>
            <pc:docMk/>
            <pc:sldMk cId="3627460361" sldId="2147472200"/>
            <ac:spMk id="13" creationId="{BBA9AE7A-CE7D-42D8-FA63-8CCEC6559281}"/>
          </ac:spMkLst>
        </pc:spChg>
        <pc:spChg chg="del">
          <ac:chgData name="Perretti, Ilaria" userId="aaf0d85c-e107-4cbf-8743-b9285e44fae2" providerId="ADAL" clId="{778578E3-1CF6-4A96-9EE7-AF13921511E1}" dt="2023-12-11T13:44:49.567" v="3747" actId="478"/>
          <ac:spMkLst>
            <pc:docMk/>
            <pc:sldMk cId="3627460361" sldId="2147472200"/>
            <ac:spMk id="15" creationId="{30DE0EDB-20FD-ADF0-7411-A3A242B2E5C2}"/>
          </ac:spMkLst>
        </pc:spChg>
        <pc:spChg chg="add del mod">
          <ac:chgData name="Perretti, Ilaria" userId="aaf0d85c-e107-4cbf-8743-b9285e44fae2" providerId="ADAL" clId="{778578E3-1CF6-4A96-9EE7-AF13921511E1}" dt="2023-12-11T13:44:48.154" v="3746" actId="478"/>
          <ac:spMkLst>
            <pc:docMk/>
            <pc:sldMk cId="3627460361" sldId="2147472200"/>
            <ac:spMk id="17" creationId="{ACD476EF-83C2-2FD4-40DF-79FDD4AECDD8}"/>
          </ac:spMkLst>
        </pc:spChg>
        <pc:spChg chg="add del mod">
          <ac:chgData name="Perretti, Ilaria" userId="aaf0d85c-e107-4cbf-8743-b9285e44fae2" providerId="ADAL" clId="{778578E3-1CF6-4A96-9EE7-AF13921511E1}" dt="2023-12-12T06:31:09.614" v="6090" actId="478"/>
          <ac:spMkLst>
            <pc:docMk/>
            <pc:sldMk cId="3627460361" sldId="2147472200"/>
            <ac:spMk id="18" creationId="{5833F6AC-5D6B-5C05-E5F2-BF9A3B329A48}"/>
          </ac:spMkLst>
        </pc:spChg>
        <pc:spChg chg="add del mod">
          <ac:chgData name="Perretti, Ilaria" userId="aaf0d85c-e107-4cbf-8743-b9285e44fae2" providerId="ADAL" clId="{778578E3-1CF6-4A96-9EE7-AF13921511E1}" dt="2023-12-11T13:47:04.053" v="4120" actId="478"/>
          <ac:spMkLst>
            <pc:docMk/>
            <pc:sldMk cId="3627460361" sldId="2147472200"/>
            <ac:spMk id="20" creationId="{C57FDAB4-6142-90C6-A12C-14407313309F}"/>
          </ac:spMkLst>
        </pc:spChg>
        <pc:spChg chg="add mod">
          <ac:chgData name="Perretti, Ilaria" userId="aaf0d85c-e107-4cbf-8743-b9285e44fae2" providerId="ADAL" clId="{778578E3-1CF6-4A96-9EE7-AF13921511E1}" dt="2023-12-11T13:47:08.773" v="4130" actId="20577"/>
          <ac:spMkLst>
            <pc:docMk/>
            <pc:sldMk cId="3627460361" sldId="2147472200"/>
            <ac:spMk id="21" creationId="{F55C1565-307D-C071-4A5C-48C9F8D0C388}"/>
          </ac:spMkLst>
        </pc:spChg>
        <pc:spChg chg="add mod">
          <ac:chgData name="Perretti, Ilaria" userId="aaf0d85c-e107-4cbf-8743-b9285e44fae2" providerId="ADAL" clId="{778578E3-1CF6-4A96-9EE7-AF13921511E1}" dt="2023-12-12T06:31:10.032" v="6091"/>
          <ac:spMkLst>
            <pc:docMk/>
            <pc:sldMk cId="3627460361" sldId="2147472200"/>
            <ac:spMk id="22" creationId="{3CABFD74-02C5-39BF-E459-BDB49426DD09}"/>
          </ac:spMkLst>
        </pc:spChg>
        <pc:picChg chg="add mod">
          <ac:chgData name="Perretti, Ilaria" userId="aaf0d85c-e107-4cbf-8743-b9285e44fae2" providerId="ADAL" clId="{778578E3-1CF6-4A96-9EE7-AF13921511E1}" dt="2023-12-11T10:57:04.394" v="3225" actId="208"/>
          <ac:picMkLst>
            <pc:docMk/>
            <pc:sldMk cId="3627460361" sldId="2147472200"/>
            <ac:picMk id="14" creationId="{14B5CDEA-E9E5-60D6-703A-DD7C738D3147}"/>
          </ac:picMkLst>
        </pc:picChg>
        <pc:picChg chg="add mod">
          <ac:chgData name="Perretti, Ilaria" userId="aaf0d85c-e107-4cbf-8743-b9285e44fae2" providerId="ADAL" clId="{778578E3-1CF6-4A96-9EE7-AF13921511E1}" dt="2023-12-11T10:57:08.573" v="3226" actId="208"/>
          <ac:picMkLst>
            <pc:docMk/>
            <pc:sldMk cId="3627460361" sldId="2147472200"/>
            <ac:picMk id="16" creationId="{F8DA1E84-624F-1224-B0CA-192AEBFDD773}"/>
          </ac:picMkLst>
        </pc:picChg>
      </pc:sldChg>
      <pc:sldChg chg="addSp delSp modSp mod">
        <pc:chgData name="Perretti, Ilaria" userId="aaf0d85c-e107-4cbf-8743-b9285e44fae2" providerId="ADAL" clId="{778578E3-1CF6-4A96-9EE7-AF13921511E1}" dt="2023-12-12T06:30:57.204" v="6086" actId="14100"/>
        <pc:sldMkLst>
          <pc:docMk/>
          <pc:sldMk cId="3489560597" sldId="2147472201"/>
        </pc:sldMkLst>
        <pc:spChg chg="del mod">
          <ac:chgData name="Perretti, Ilaria" userId="aaf0d85c-e107-4cbf-8743-b9285e44fae2" providerId="ADAL" clId="{778578E3-1CF6-4A96-9EE7-AF13921511E1}" dt="2023-12-11T13:47:51.784" v="4132" actId="478"/>
          <ac:spMkLst>
            <pc:docMk/>
            <pc:sldMk cId="3489560597" sldId="2147472201"/>
            <ac:spMk id="5" creationId="{4E593F25-7DD4-3131-A210-9E84367F06EB}"/>
          </ac:spMkLst>
        </pc:spChg>
        <pc:spChg chg="mod">
          <ac:chgData name="Perretti, Ilaria" userId="aaf0d85c-e107-4cbf-8743-b9285e44fae2" providerId="ADAL" clId="{778578E3-1CF6-4A96-9EE7-AF13921511E1}" dt="2023-12-11T06:21:26.832" v="269" actId="13926"/>
          <ac:spMkLst>
            <pc:docMk/>
            <pc:sldMk cId="3489560597" sldId="2147472201"/>
            <ac:spMk id="10" creationId="{1C49C03B-2AED-2CE1-923A-EB37BC8916C5}"/>
          </ac:spMkLst>
        </pc:spChg>
        <pc:spChg chg="mod">
          <ac:chgData name="Perretti, Ilaria" userId="aaf0d85c-e107-4cbf-8743-b9285e44fae2" providerId="ADAL" clId="{778578E3-1CF6-4A96-9EE7-AF13921511E1}" dt="2023-12-11T10:27:27.634" v="2951" actId="108"/>
          <ac:spMkLst>
            <pc:docMk/>
            <pc:sldMk cId="3489560597" sldId="2147472201"/>
            <ac:spMk id="11" creationId="{18316A99-F272-294B-2DDC-F696B1DD9C07}"/>
          </ac:spMkLst>
        </pc:spChg>
        <pc:spChg chg="add mod">
          <ac:chgData name="Perretti, Ilaria" userId="aaf0d85c-e107-4cbf-8743-b9285e44fae2" providerId="ADAL" clId="{778578E3-1CF6-4A96-9EE7-AF13921511E1}" dt="2023-12-11T11:25:41.887" v="3446" actId="1035"/>
          <ac:spMkLst>
            <pc:docMk/>
            <pc:sldMk cId="3489560597" sldId="2147472201"/>
            <ac:spMk id="12" creationId="{9A2800DC-C262-414E-3648-DBD066F2CA99}"/>
          </ac:spMkLst>
        </pc:spChg>
        <pc:spChg chg="del">
          <ac:chgData name="Perretti, Ilaria" userId="aaf0d85c-e107-4cbf-8743-b9285e44fae2" providerId="ADAL" clId="{778578E3-1CF6-4A96-9EE7-AF13921511E1}" dt="2023-12-11T13:48:19.830" v="4150" actId="478"/>
          <ac:spMkLst>
            <pc:docMk/>
            <pc:sldMk cId="3489560597" sldId="2147472201"/>
            <ac:spMk id="15" creationId="{30DE0EDB-20FD-ADF0-7411-A3A242B2E5C2}"/>
          </ac:spMkLst>
        </pc:spChg>
        <pc:spChg chg="add mod">
          <ac:chgData name="Perretti, Ilaria" userId="aaf0d85c-e107-4cbf-8743-b9285e44fae2" providerId="ADAL" clId="{778578E3-1CF6-4A96-9EE7-AF13921511E1}" dt="2023-12-11T11:25:18.492" v="3439" actId="14100"/>
          <ac:spMkLst>
            <pc:docMk/>
            <pc:sldMk cId="3489560597" sldId="2147472201"/>
            <ac:spMk id="16" creationId="{6CFD4CAB-3549-7F32-8606-C459C6FD7E43}"/>
          </ac:spMkLst>
        </pc:spChg>
        <pc:spChg chg="add mod">
          <ac:chgData name="Perretti, Ilaria" userId="aaf0d85c-e107-4cbf-8743-b9285e44fae2" providerId="ADAL" clId="{778578E3-1CF6-4A96-9EE7-AF13921511E1}" dt="2023-12-12T06:30:57.204" v="6086" actId="14100"/>
          <ac:spMkLst>
            <pc:docMk/>
            <pc:sldMk cId="3489560597" sldId="2147472201"/>
            <ac:spMk id="19" creationId="{9FA51095-DA5B-95F8-984C-3F16DA02C849}"/>
          </ac:spMkLst>
        </pc:spChg>
        <pc:spChg chg="add mod">
          <ac:chgData name="Perretti, Ilaria" userId="aaf0d85c-e107-4cbf-8743-b9285e44fae2" providerId="ADAL" clId="{778578E3-1CF6-4A96-9EE7-AF13921511E1}" dt="2023-12-11T13:48:03.963" v="4149" actId="20577"/>
          <ac:spMkLst>
            <pc:docMk/>
            <pc:sldMk cId="3489560597" sldId="2147472201"/>
            <ac:spMk id="20" creationId="{64961E83-4FE9-D911-4217-D5680A3C7F81}"/>
          </ac:spMkLst>
        </pc:spChg>
        <pc:picChg chg="add del mod">
          <ac:chgData name="Perretti, Ilaria" userId="aaf0d85c-e107-4cbf-8743-b9285e44fae2" providerId="ADAL" clId="{778578E3-1CF6-4A96-9EE7-AF13921511E1}" dt="2023-12-11T11:24:53.004" v="3432" actId="478"/>
          <ac:picMkLst>
            <pc:docMk/>
            <pc:sldMk cId="3489560597" sldId="2147472201"/>
            <ac:picMk id="13" creationId="{8A1EA3BC-FB00-86D1-9533-DA6371102836}"/>
          </ac:picMkLst>
        </pc:picChg>
        <pc:picChg chg="add mod">
          <ac:chgData name="Perretti, Ilaria" userId="aaf0d85c-e107-4cbf-8743-b9285e44fae2" providerId="ADAL" clId="{778578E3-1CF6-4A96-9EE7-AF13921511E1}" dt="2023-12-11T11:24:48.498" v="3430" actId="14100"/>
          <ac:picMkLst>
            <pc:docMk/>
            <pc:sldMk cId="3489560597" sldId="2147472201"/>
            <ac:picMk id="14" creationId="{D342F065-7923-6822-9B7B-820E8A610D1A}"/>
          </ac:picMkLst>
        </pc:picChg>
        <pc:picChg chg="add del mod">
          <ac:chgData name="Perretti, Ilaria" userId="aaf0d85c-e107-4cbf-8743-b9285e44fae2" providerId="ADAL" clId="{778578E3-1CF6-4A96-9EE7-AF13921511E1}" dt="2023-12-11T11:24:54.792" v="3435" actId="478"/>
          <ac:picMkLst>
            <pc:docMk/>
            <pc:sldMk cId="3489560597" sldId="2147472201"/>
            <ac:picMk id="17" creationId="{51540FFD-CE44-3F38-52F2-577B670B95EF}"/>
          </ac:picMkLst>
        </pc:picChg>
        <pc:picChg chg="add mod">
          <ac:chgData name="Perretti, Ilaria" userId="aaf0d85c-e107-4cbf-8743-b9285e44fae2" providerId="ADAL" clId="{778578E3-1CF6-4A96-9EE7-AF13921511E1}" dt="2023-12-11T11:25:41.887" v="3446" actId="1035"/>
          <ac:picMkLst>
            <pc:docMk/>
            <pc:sldMk cId="3489560597" sldId="2147472201"/>
            <ac:picMk id="18" creationId="{439E4B11-F3CB-A49D-068C-CA6C04FA2460}"/>
          </ac:picMkLst>
        </pc:picChg>
      </pc:sldChg>
      <pc:sldChg chg="modSp mod">
        <pc:chgData name="Perretti, Ilaria" userId="aaf0d85c-e107-4cbf-8743-b9285e44fae2" providerId="ADAL" clId="{778578E3-1CF6-4A96-9EE7-AF13921511E1}" dt="2023-12-11T10:46:09.970" v="3160" actId="14100"/>
        <pc:sldMkLst>
          <pc:docMk/>
          <pc:sldMk cId="3070421313" sldId="2147479531"/>
        </pc:sldMkLst>
        <pc:picChg chg="mod">
          <ac:chgData name="Perretti, Ilaria" userId="aaf0d85c-e107-4cbf-8743-b9285e44fae2" providerId="ADAL" clId="{778578E3-1CF6-4A96-9EE7-AF13921511E1}" dt="2023-12-11T10:46:09.970" v="3160" actId="14100"/>
          <ac:picMkLst>
            <pc:docMk/>
            <pc:sldMk cId="3070421313" sldId="2147479531"/>
            <ac:picMk id="9" creationId="{1C80BAF2-87EE-5654-BD01-41E0ECAEA2C7}"/>
          </ac:picMkLst>
        </pc:picChg>
      </pc:sldChg>
      <pc:sldChg chg="addSp delSp modSp mod">
        <pc:chgData name="Perretti, Ilaria" userId="aaf0d85c-e107-4cbf-8743-b9285e44fae2" providerId="ADAL" clId="{778578E3-1CF6-4A96-9EE7-AF13921511E1}" dt="2023-12-11T08:06:43.838" v="2395" actId="207"/>
        <pc:sldMkLst>
          <pc:docMk/>
          <pc:sldMk cId="3106695573" sldId="2147479536"/>
        </pc:sldMkLst>
        <pc:spChg chg="add del">
          <ac:chgData name="Perretti, Ilaria" userId="aaf0d85c-e107-4cbf-8743-b9285e44fae2" providerId="ADAL" clId="{778578E3-1CF6-4A96-9EE7-AF13921511E1}" dt="2023-12-11T08:04:17.565" v="2393" actId="478"/>
          <ac:spMkLst>
            <pc:docMk/>
            <pc:sldMk cId="3106695573" sldId="2147479536"/>
            <ac:spMk id="48" creationId="{769A0558-C380-EA84-83FB-F402C555379D}"/>
          </ac:spMkLst>
        </pc:spChg>
        <pc:spChg chg="add del">
          <ac:chgData name="Perretti, Ilaria" userId="aaf0d85c-e107-4cbf-8743-b9285e44fae2" providerId="ADAL" clId="{778578E3-1CF6-4A96-9EE7-AF13921511E1}" dt="2023-12-11T08:04:16.906" v="2392" actId="478"/>
          <ac:spMkLst>
            <pc:docMk/>
            <pc:sldMk cId="3106695573" sldId="2147479536"/>
            <ac:spMk id="49" creationId="{48A62A5F-23B8-A831-065D-BA88EBD4CA80}"/>
          </ac:spMkLst>
        </pc:spChg>
        <pc:spChg chg="add del">
          <ac:chgData name="Perretti, Ilaria" userId="aaf0d85c-e107-4cbf-8743-b9285e44fae2" providerId="ADAL" clId="{778578E3-1CF6-4A96-9EE7-AF13921511E1}" dt="2023-12-11T08:04:16.583" v="2391" actId="478"/>
          <ac:spMkLst>
            <pc:docMk/>
            <pc:sldMk cId="3106695573" sldId="2147479536"/>
            <ac:spMk id="50" creationId="{610B8DF0-9EB8-E948-6855-2C69A040AC03}"/>
          </ac:spMkLst>
        </pc:spChg>
        <pc:spChg chg="mod">
          <ac:chgData name="Perretti, Ilaria" userId="aaf0d85c-e107-4cbf-8743-b9285e44fae2" providerId="ADAL" clId="{778578E3-1CF6-4A96-9EE7-AF13921511E1}" dt="2023-12-11T08:00:30.697" v="2331" actId="20577"/>
          <ac:spMkLst>
            <pc:docMk/>
            <pc:sldMk cId="3106695573" sldId="2147479536"/>
            <ac:spMk id="62" creationId="{A38C9148-6E4D-599B-4D15-39DB09BC144F}"/>
          </ac:spMkLst>
        </pc:spChg>
        <pc:spChg chg="mod">
          <ac:chgData name="Perretti, Ilaria" userId="aaf0d85c-e107-4cbf-8743-b9285e44fae2" providerId="ADAL" clId="{778578E3-1CF6-4A96-9EE7-AF13921511E1}" dt="2023-12-11T08:00:41.443" v="2332" actId="20577"/>
          <ac:spMkLst>
            <pc:docMk/>
            <pc:sldMk cId="3106695573" sldId="2147479536"/>
            <ac:spMk id="63" creationId="{748D6C60-899C-FB67-490D-49FCDF61C863}"/>
          </ac:spMkLst>
        </pc:spChg>
        <pc:spChg chg="mod">
          <ac:chgData name="Perretti, Ilaria" userId="aaf0d85c-e107-4cbf-8743-b9285e44fae2" providerId="ADAL" clId="{778578E3-1CF6-4A96-9EE7-AF13921511E1}" dt="2023-12-11T08:06:43.838" v="2395" actId="207"/>
          <ac:spMkLst>
            <pc:docMk/>
            <pc:sldMk cId="3106695573" sldId="2147479536"/>
            <ac:spMk id="67" creationId="{971D6624-A458-FAC2-761C-35855E2DB2D0}"/>
          </ac:spMkLst>
        </pc:spChg>
      </pc:sldChg>
      <pc:sldChg chg="add del">
        <pc:chgData name="Perretti, Ilaria" userId="aaf0d85c-e107-4cbf-8743-b9285e44fae2" providerId="ADAL" clId="{778578E3-1CF6-4A96-9EE7-AF13921511E1}" dt="2023-12-11T06:24:54.699" v="350" actId="47"/>
        <pc:sldMkLst>
          <pc:docMk/>
          <pc:sldMk cId="2209769966" sldId="2147479537"/>
        </pc:sldMkLst>
      </pc:sldChg>
      <pc:sldChg chg="del ord">
        <pc:chgData name="Perretti, Ilaria" userId="aaf0d85c-e107-4cbf-8743-b9285e44fae2" providerId="ADAL" clId="{778578E3-1CF6-4A96-9EE7-AF13921511E1}" dt="2023-12-11T05:57:00.999" v="11" actId="47"/>
        <pc:sldMkLst>
          <pc:docMk/>
          <pc:sldMk cId="2611364876" sldId="2147479537"/>
        </pc:sldMkLst>
      </pc:sldChg>
      <pc:sldChg chg="modSp add del mod">
        <pc:chgData name="Perretti, Ilaria" userId="aaf0d85c-e107-4cbf-8743-b9285e44fae2" providerId="ADAL" clId="{778578E3-1CF6-4A96-9EE7-AF13921511E1}" dt="2023-12-11T07:55:58.792" v="1933" actId="47"/>
        <pc:sldMkLst>
          <pc:docMk/>
          <pc:sldMk cId="3608016777" sldId="2147479537"/>
        </pc:sldMkLst>
        <pc:graphicFrameChg chg="modGraphic">
          <ac:chgData name="Perretti, Ilaria" userId="aaf0d85c-e107-4cbf-8743-b9285e44fae2" providerId="ADAL" clId="{778578E3-1CF6-4A96-9EE7-AF13921511E1}" dt="2023-12-11T06:49:34.130" v="1337" actId="20577"/>
          <ac:graphicFrameMkLst>
            <pc:docMk/>
            <pc:sldMk cId="3608016777" sldId="2147479537"/>
            <ac:graphicFrameMk id="4" creationId="{8F73AE33-156D-48F2-7633-0C4AB5141029}"/>
          </ac:graphicFrameMkLst>
        </pc:graphicFrameChg>
      </pc:sldChg>
      <pc:sldChg chg="modSp add del">
        <pc:chgData name="Perretti, Ilaria" userId="aaf0d85c-e107-4cbf-8743-b9285e44fae2" providerId="ADAL" clId="{778578E3-1CF6-4A96-9EE7-AF13921511E1}" dt="2023-12-11T06:32:30.592" v="450" actId="47"/>
        <pc:sldMkLst>
          <pc:docMk/>
          <pc:sldMk cId="3689207008" sldId="2147479537"/>
        </pc:sldMkLst>
        <pc:graphicFrameChg chg="mod">
          <ac:chgData name="Perretti, Ilaria" userId="aaf0d85c-e107-4cbf-8743-b9285e44fae2" providerId="ADAL" clId="{778578E3-1CF6-4A96-9EE7-AF13921511E1}" dt="2023-12-11T06:30:25.933" v="423"/>
          <ac:graphicFrameMkLst>
            <pc:docMk/>
            <pc:sldMk cId="3689207008" sldId="2147479537"/>
            <ac:graphicFrameMk id="4" creationId="{8F73AE33-156D-48F2-7633-0C4AB5141029}"/>
          </ac:graphicFrameMkLst>
        </pc:graphicFrameChg>
      </pc:sldChg>
      <pc:sldChg chg="delSp add del mod">
        <pc:chgData name="Perretti, Ilaria" userId="aaf0d85c-e107-4cbf-8743-b9285e44fae2" providerId="ADAL" clId="{778578E3-1CF6-4A96-9EE7-AF13921511E1}" dt="2023-12-11T05:56:50.965" v="10" actId="47"/>
        <pc:sldMkLst>
          <pc:docMk/>
          <pc:sldMk cId="2027679348" sldId="2147479538"/>
        </pc:sldMkLst>
        <pc:spChg chg="del">
          <ac:chgData name="Perretti, Ilaria" userId="aaf0d85c-e107-4cbf-8743-b9285e44fae2" providerId="ADAL" clId="{778578E3-1CF6-4A96-9EE7-AF13921511E1}" dt="2023-12-11T05:56:28.256" v="4" actId="478"/>
          <ac:spMkLst>
            <pc:docMk/>
            <pc:sldMk cId="2027679348" sldId="2147479538"/>
            <ac:spMk id="80" creationId="{763BDE60-ECFB-7F0F-9589-215C5BA99893}"/>
          </ac:spMkLst>
        </pc:spChg>
      </pc:sldChg>
      <pc:sldChg chg="add del">
        <pc:chgData name="Perretti, Ilaria" userId="aaf0d85c-e107-4cbf-8743-b9285e44fae2" providerId="ADAL" clId="{778578E3-1CF6-4A96-9EE7-AF13921511E1}" dt="2023-12-11T07:53:22.571" v="1738" actId="47"/>
        <pc:sldMkLst>
          <pc:docMk/>
          <pc:sldMk cId="2778046293" sldId="2147479538"/>
        </pc:sldMkLst>
      </pc:sldChg>
      <pc:sldChg chg="modSp mod modCm">
        <pc:chgData name="Perretti, Ilaria" userId="aaf0d85c-e107-4cbf-8743-b9285e44fae2" providerId="ADAL" clId="{778578E3-1CF6-4A96-9EE7-AF13921511E1}" dt="2023-12-11T16:33:36.389" v="5909" actId="2710"/>
        <pc:sldMkLst>
          <pc:docMk/>
          <pc:sldMk cId="132118669" sldId="2147479540"/>
        </pc:sldMkLst>
        <pc:spChg chg="mod">
          <ac:chgData name="Perretti, Ilaria" userId="aaf0d85c-e107-4cbf-8743-b9285e44fae2" providerId="ADAL" clId="{778578E3-1CF6-4A96-9EE7-AF13921511E1}" dt="2023-12-11T16:33:36.389" v="5909" actId="2710"/>
          <ac:spMkLst>
            <pc:docMk/>
            <pc:sldMk cId="132118669" sldId="2147479540"/>
            <ac:spMk id="41" creationId="{759A0B1E-9D78-FFAD-0251-6A24DFE2F99E}"/>
          </ac:spMkLst>
        </pc:spChg>
      </pc:sldChg>
      <pc:sldChg chg="add">
        <pc:chgData name="Perretti, Ilaria" userId="aaf0d85c-e107-4cbf-8743-b9285e44fae2" providerId="ADAL" clId="{778578E3-1CF6-4A96-9EE7-AF13921511E1}" dt="2023-12-11T10:38:40.903" v="3114" actId="2890"/>
        <pc:sldMkLst>
          <pc:docMk/>
          <pc:sldMk cId="3506937423" sldId="2147479540"/>
        </pc:sldMkLst>
      </pc:sldChg>
      <pc:sldChg chg="modSp mod">
        <pc:chgData name="Perretti, Ilaria" userId="aaf0d85c-e107-4cbf-8743-b9285e44fae2" providerId="ADAL" clId="{778578E3-1CF6-4A96-9EE7-AF13921511E1}" dt="2023-12-11T16:33:45.847" v="5911" actId="108"/>
        <pc:sldMkLst>
          <pc:docMk/>
          <pc:sldMk cId="1218059526" sldId="2147479547"/>
        </pc:sldMkLst>
        <pc:spChg chg="mod">
          <ac:chgData name="Perretti, Ilaria" userId="aaf0d85c-e107-4cbf-8743-b9285e44fae2" providerId="ADAL" clId="{778578E3-1CF6-4A96-9EE7-AF13921511E1}" dt="2023-12-11T16:33:45.847" v="5911" actId="108"/>
          <ac:spMkLst>
            <pc:docMk/>
            <pc:sldMk cId="1218059526" sldId="2147479547"/>
            <ac:spMk id="41" creationId="{759A0B1E-9D78-FFAD-0251-6A24DFE2F99E}"/>
          </ac:spMkLst>
        </pc:spChg>
      </pc:sldChg>
      <pc:sldChg chg="add del">
        <pc:chgData name="Perretti, Ilaria" userId="aaf0d85c-e107-4cbf-8743-b9285e44fae2" providerId="ADAL" clId="{778578E3-1CF6-4A96-9EE7-AF13921511E1}" dt="2023-12-11T15:01:26.219" v="5159" actId="47"/>
        <pc:sldMkLst>
          <pc:docMk/>
          <pc:sldMk cId="99435003" sldId="2147479552"/>
        </pc:sldMkLst>
      </pc:sldChg>
      <pc:sldChg chg="modSp mod">
        <pc:chgData name="Perretti, Ilaria" userId="aaf0d85c-e107-4cbf-8743-b9285e44fae2" providerId="ADAL" clId="{778578E3-1CF6-4A96-9EE7-AF13921511E1}" dt="2023-12-11T15:58:13.086" v="5333"/>
        <pc:sldMkLst>
          <pc:docMk/>
          <pc:sldMk cId="3652616824" sldId="2147479553"/>
        </pc:sldMkLst>
        <pc:graphicFrameChg chg="mod modGraphic">
          <ac:chgData name="Perretti, Ilaria" userId="aaf0d85c-e107-4cbf-8743-b9285e44fae2" providerId="ADAL" clId="{778578E3-1CF6-4A96-9EE7-AF13921511E1}" dt="2023-12-11T15:58:13.086" v="5333"/>
          <ac:graphicFrameMkLst>
            <pc:docMk/>
            <pc:sldMk cId="3652616824" sldId="2147479553"/>
            <ac:graphicFrameMk id="6" creationId="{65A3CD0E-CEED-0CC7-421E-DF7B1C9B16EC}"/>
          </ac:graphicFrameMkLst>
        </pc:graphicFrameChg>
      </pc:sldChg>
      <pc:sldChg chg="addSp delSp modSp mod">
        <pc:chgData name="Perretti, Ilaria" userId="aaf0d85c-e107-4cbf-8743-b9285e44fae2" providerId="ADAL" clId="{778578E3-1CF6-4A96-9EE7-AF13921511E1}" dt="2023-12-12T06:32:06.155" v="6115"/>
        <pc:sldMkLst>
          <pc:docMk/>
          <pc:sldMk cId="4098489044" sldId="2147479556"/>
        </pc:sldMkLst>
        <pc:spChg chg="mod">
          <ac:chgData name="Perretti, Ilaria" userId="aaf0d85c-e107-4cbf-8743-b9285e44fae2" providerId="ADAL" clId="{778578E3-1CF6-4A96-9EE7-AF13921511E1}" dt="2023-12-11T16:37:11.356" v="5923" actId="108"/>
          <ac:spMkLst>
            <pc:docMk/>
            <pc:sldMk cId="4098489044" sldId="2147479556"/>
            <ac:spMk id="4" creationId="{C4ED0885-CD66-777A-B69A-7B47DBCD398F}"/>
          </ac:spMkLst>
        </pc:spChg>
        <pc:spChg chg="mod">
          <ac:chgData name="Perretti, Ilaria" userId="aaf0d85c-e107-4cbf-8743-b9285e44fae2" providerId="ADAL" clId="{778578E3-1CF6-4A96-9EE7-AF13921511E1}" dt="2023-12-11T15:58:57.666" v="5352" actId="20577"/>
          <ac:spMkLst>
            <pc:docMk/>
            <pc:sldMk cId="4098489044" sldId="2147479556"/>
            <ac:spMk id="5" creationId="{25CA3B3D-3FFD-6F65-4576-3A1F6AB62827}"/>
          </ac:spMkLst>
        </pc:spChg>
        <pc:spChg chg="mod">
          <ac:chgData name="Perretti, Ilaria" userId="aaf0d85c-e107-4cbf-8743-b9285e44fae2" providerId="ADAL" clId="{778578E3-1CF6-4A96-9EE7-AF13921511E1}" dt="2023-12-11T16:36:04.379" v="5919" actId="2711"/>
          <ac:spMkLst>
            <pc:docMk/>
            <pc:sldMk cId="4098489044" sldId="2147479556"/>
            <ac:spMk id="7" creationId="{3562BEBD-DC7A-1E81-5D8C-B3B825C316BB}"/>
          </ac:spMkLst>
        </pc:spChg>
        <pc:spChg chg="mod">
          <ac:chgData name="Perretti, Ilaria" userId="aaf0d85c-e107-4cbf-8743-b9285e44fae2" providerId="ADAL" clId="{778578E3-1CF6-4A96-9EE7-AF13921511E1}" dt="2023-12-11T16:29:46.255" v="5900" actId="33524"/>
          <ac:spMkLst>
            <pc:docMk/>
            <pc:sldMk cId="4098489044" sldId="2147479556"/>
            <ac:spMk id="8" creationId="{1820D49A-44A7-3E39-AF6E-ACB5A10BDEF9}"/>
          </ac:spMkLst>
        </pc:spChg>
        <pc:spChg chg="add del mod">
          <ac:chgData name="Perretti, Ilaria" userId="aaf0d85c-e107-4cbf-8743-b9285e44fae2" providerId="ADAL" clId="{778578E3-1CF6-4A96-9EE7-AF13921511E1}" dt="2023-12-11T15:45:24.740" v="5311" actId="478"/>
          <ac:spMkLst>
            <pc:docMk/>
            <pc:sldMk cId="4098489044" sldId="2147479556"/>
            <ac:spMk id="13" creationId="{E5B40159-B08D-BDA3-6EFC-27649DBC41D6}"/>
          </ac:spMkLst>
        </pc:spChg>
        <pc:spChg chg="mod">
          <ac:chgData name="Perretti, Ilaria" userId="aaf0d85c-e107-4cbf-8743-b9285e44fae2" providerId="ADAL" clId="{778578E3-1CF6-4A96-9EE7-AF13921511E1}" dt="2023-12-11T16:37:29.146" v="5926" actId="113"/>
          <ac:spMkLst>
            <pc:docMk/>
            <pc:sldMk cId="4098489044" sldId="2147479556"/>
            <ac:spMk id="14" creationId="{922B792C-16FA-517B-DB65-2F5DBA64C44C}"/>
          </ac:spMkLst>
        </pc:spChg>
        <pc:spChg chg="add del mod">
          <ac:chgData name="Perretti, Ilaria" userId="aaf0d85c-e107-4cbf-8743-b9285e44fae2" providerId="ADAL" clId="{778578E3-1CF6-4A96-9EE7-AF13921511E1}" dt="2023-12-11T15:45:30.943" v="5313" actId="478"/>
          <ac:spMkLst>
            <pc:docMk/>
            <pc:sldMk cId="4098489044" sldId="2147479556"/>
            <ac:spMk id="15" creationId="{84D5A0FD-D59C-9981-7262-0BF01590534D}"/>
          </ac:spMkLst>
        </pc:spChg>
        <pc:spChg chg="add del mod">
          <ac:chgData name="Perretti, Ilaria" userId="aaf0d85c-e107-4cbf-8743-b9285e44fae2" providerId="ADAL" clId="{778578E3-1CF6-4A96-9EE7-AF13921511E1}" dt="2023-12-12T06:32:05.817" v="6114" actId="478"/>
          <ac:spMkLst>
            <pc:docMk/>
            <pc:sldMk cId="4098489044" sldId="2147479556"/>
            <ac:spMk id="16" creationId="{F1DCD47E-7346-97BE-344A-308E953095BE}"/>
          </ac:spMkLst>
        </pc:spChg>
        <pc:spChg chg="add mod">
          <ac:chgData name="Perretti, Ilaria" userId="aaf0d85c-e107-4cbf-8743-b9285e44fae2" providerId="ADAL" clId="{778578E3-1CF6-4A96-9EE7-AF13921511E1}" dt="2023-12-12T06:32:06.155" v="6115"/>
          <ac:spMkLst>
            <pc:docMk/>
            <pc:sldMk cId="4098489044" sldId="2147479556"/>
            <ac:spMk id="85" creationId="{2ED6CECB-0670-20D1-5BC2-DEC2A43B85EE}"/>
          </ac:spMkLst>
        </pc:spChg>
        <pc:picChg chg="add del mod">
          <ac:chgData name="Perretti, Ilaria" userId="aaf0d85c-e107-4cbf-8743-b9285e44fae2" providerId="ADAL" clId="{778578E3-1CF6-4A96-9EE7-AF13921511E1}" dt="2023-12-11T16:00:25.584" v="5364" actId="478"/>
          <ac:picMkLst>
            <pc:docMk/>
            <pc:sldMk cId="4098489044" sldId="2147479556"/>
            <ac:picMk id="6" creationId="{81227BC1-D724-1A32-042E-4D5200A82451}"/>
          </ac:picMkLst>
        </pc:picChg>
        <pc:picChg chg="add del mod">
          <ac:chgData name="Perretti, Ilaria" userId="aaf0d85c-e107-4cbf-8743-b9285e44fae2" providerId="ADAL" clId="{778578E3-1CF6-4A96-9EE7-AF13921511E1}" dt="2023-12-11T16:00:26.688" v="5365" actId="478"/>
          <ac:picMkLst>
            <pc:docMk/>
            <pc:sldMk cId="4098489044" sldId="2147479556"/>
            <ac:picMk id="9" creationId="{78DFFE79-40EF-15C6-CD2B-F8D8F7A4FE80}"/>
          </ac:picMkLst>
        </pc:picChg>
        <pc:picChg chg="mod ord">
          <ac:chgData name="Perretti, Ilaria" userId="aaf0d85c-e107-4cbf-8743-b9285e44fae2" providerId="ADAL" clId="{778578E3-1CF6-4A96-9EE7-AF13921511E1}" dt="2023-12-11T16:28:43.589" v="5710" actId="14100"/>
          <ac:picMkLst>
            <pc:docMk/>
            <pc:sldMk cId="4098489044" sldId="2147479556"/>
            <ac:picMk id="86" creationId="{21C439A3-B122-CC18-F43D-10EB1C11B870}"/>
          </ac:picMkLst>
        </pc:picChg>
      </pc:sldChg>
      <pc:sldChg chg="addSp delSp modSp add mod addCm">
        <pc:chgData name="Perretti, Ilaria" userId="aaf0d85c-e107-4cbf-8743-b9285e44fae2" providerId="ADAL" clId="{778578E3-1CF6-4A96-9EE7-AF13921511E1}" dt="2023-12-11T15:51:16.479" v="5315" actId="14100"/>
        <pc:sldMkLst>
          <pc:docMk/>
          <pc:sldMk cId="1192362056" sldId="2147479558"/>
        </pc:sldMkLst>
        <pc:spChg chg="mod">
          <ac:chgData name="Perretti, Ilaria" userId="aaf0d85c-e107-4cbf-8743-b9285e44fae2" providerId="ADAL" clId="{778578E3-1CF6-4A96-9EE7-AF13921511E1}" dt="2023-12-11T14:56:58.987" v="5087" actId="14100"/>
          <ac:spMkLst>
            <pc:docMk/>
            <pc:sldMk cId="1192362056" sldId="2147479558"/>
            <ac:spMk id="5" creationId="{73BAA790-FE7B-E03B-2C71-7FAEFECCC5A0}"/>
          </ac:spMkLst>
        </pc:spChg>
        <pc:graphicFrameChg chg="add mod modGraphic">
          <ac:chgData name="Perretti, Ilaria" userId="aaf0d85c-e107-4cbf-8743-b9285e44fae2" providerId="ADAL" clId="{778578E3-1CF6-4A96-9EE7-AF13921511E1}" dt="2023-12-11T15:51:16.479" v="5315" actId="14100"/>
          <ac:graphicFrameMkLst>
            <pc:docMk/>
            <pc:sldMk cId="1192362056" sldId="2147479558"/>
            <ac:graphicFrameMk id="6" creationId="{4174133B-583D-857D-2D4E-67C3A8DB6C43}"/>
          </ac:graphicFrameMkLst>
        </pc:graphicFrameChg>
        <pc:graphicFrameChg chg="del">
          <ac:chgData name="Perretti, Ilaria" userId="aaf0d85c-e107-4cbf-8743-b9285e44fae2" providerId="ADAL" clId="{778578E3-1CF6-4A96-9EE7-AF13921511E1}" dt="2023-12-11T14:19:13.359" v="4189" actId="478"/>
          <ac:graphicFrameMkLst>
            <pc:docMk/>
            <pc:sldMk cId="1192362056" sldId="2147479558"/>
            <ac:graphicFrameMk id="8" creationId="{F65DAD3C-2831-F938-0BA2-912C2CD31C0F}"/>
          </ac:graphicFrameMkLst>
        </pc:graphicFrameChg>
      </pc:sldChg>
      <pc:sldChg chg="addSp delSp modSp add mod">
        <pc:chgData name="Perretti, Ilaria" userId="aaf0d85c-e107-4cbf-8743-b9285e44fae2" providerId="ADAL" clId="{778578E3-1CF6-4A96-9EE7-AF13921511E1}" dt="2023-12-12T06:32:01.977" v="6113"/>
        <pc:sldMkLst>
          <pc:docMk/>
          <pc:sldMk cId="3663195277" sldId="2147479564"/>
        </pc:sldMkLst>
        <pc:spChg chg="mod">
          <ac:chgData name="Perretti, Ilaria" userId="aaf0d85c-e107-4cbf-8743-b9285e44fae2" providerId="ADAL" clId="{778578E3-1CF6-4A96-9EE7-AF13921511E1}" dt="2023-12-11T16:38:10.231" v="5959" actId="108"/>
          <ac:spMkLst>
            <pc:docMk/>
            <pc:sldMk cId="3663195277" sldId="2147479564"/>
            <ac:spMk id="4" creationId="{C4ED0885-CD66-777A-B69A-7B47DBCD398F}"/>
          </ac:spMkLst>
        </pc:spChg>
        <pc:spChg chg="add mod">
          <ac:chgData name="Perretti, Ilaria" userId="aaf0d85c-e107-4cbf-8743-b9285e44fae2" providerId="ADAL" clId="{778578E3-1CF6-4A96-9EE7-AF13921511E1}" dt="2023-12-12T06:32:01.977" v="6113"/>
          <ac:spMkLst>
            <pc:docMk/>
            <pc:sldMk cId="3663195277" sldId="2147479564"/>
            <ac:spMk id="13" creationId="{7D4695DD-C05C-C3D7-6564-0E7F2EA9DAEA}"/>
          </ac:spMkLst>
        </pc:spChg>
        <pc:spChg chg="mod">
          <ac:chgData name="Perretti, Ilaria" userId="aaf0d85c-e107-4cbf-8743-b9285e44fae2" providerId="ADAL" clId="{778578E3-1CF6-4A96-9EE7-AF13921511E1}" dt="2023-12-11T16:37:57.207" v="5958" actId="14100"/>
          <ac:spMkLst>
            <pc:docMk/>
            <pc:sldMk cId="3663195277" sldId="2147479564"/>
            <ac:spMk id="14" creationId="{922B792C-16FA-517B-DB65-2F5DBA64C44C}"/>
          </ac:spMkLst>
        </pc:spChg>
        <pc:spChg chg="del">
          <ac:chgData name="Perretti, Ilaria" userId="aaf0d85c-e107-4cbf-8743-b9285e44fae2" providerId="ADAL" clId="{778578E3-1CF6-4A96-9EE7-AF13921511E1}" dt="2023-12-12T06:32:01.542" v="6112" actId="478"/>
          <ac:spMkLst>
            <pc:docMk/>
            <pc:sldMk cId="3663195277" sldId="2147479564"/>
            <ac:spMk id="16" creationId="{F1DCD47E-7346-97BE-344A-308E953095BE}"/>
          </ac:spMkLst>
        </pc:spChg>
      </pc:sldChg>
    </pc:docChg>
  </pc:docChgLst>
  <pc:docChgLst>
    <pc:chgData name="Alfawzan, Lujain" userId="5542ab1a-fb35-4379-8837-59a3729222cc" providerId="ADAL" clId="{3B8D064A-583E-44DC-B3B3-6387FA60473B}"/>
    <pc:docChg chg="undo redo custSel addSld delSld modSld sldOrd delMainMaster modMainMaster addSection modSection">
      <pc:chgData name="Alfawzan, Lujain" userId="5542ab1a-fb35-4379-8837-59a3729222cc" providerId="ADAL" clId="{3B8D064A-583E-44DC-B3B3-6387FA60473B}" dt="2024-01-02T07:08:05.440" v="3571" actId="20577"/>
      <pc:docMkLst>
        <pc:docMk/>
      </pc:docMkLst>
      <pc:sldChg chg="add del setBg">
        <pc:chgData name="Alfawzan, Lujain" userId="5542ab1a-fb35-4379-8837-59a3729222cc" providerId="ADAL" clId="{3B8D064A-583E-44DC-B3B3-6387FA60473B}" dt="2024-01-01T12:57:25.572" v="1367" actId="47"/>
        <pc:sldMkLst>
          <pc:docMk/>
          <pc:sldMk cId="1680178128" sldId="1913"/>
        </pc:sldMkLst>
      </pc:sldChg>
      <pc:sldChg chg="add">
        <pc:chgData name="Alfawzan, Lujain" userId="5542ab1a-fb35-4379-8837-59a3729222cc" providerId="ADAL" clId="{3B8D064A-583E-44DC-B3B3-6387FA60473B}" dt="2024-01-01T11:06:49.244" v="713"/>
        <pc:sldMkLst>
          <pc:docMk/>
          <pc:sldMk cId="3177471617" sldId="1930"/>
        </pc:sldMkLst>
      </pc:sldChg>
      <pc:sldChg chg="add del">
        <pc:chgData name="Alfawzan, Lujain" userId="5542ab1a-fb35-4379-8837-59a3729222cc" providerId="ADAL" clId="{3B8D064A-583E-44DC-B3B3-6387FA60473B}" dt="2024-01-01T11:44:52.431" v="1052" actId="47"/>
        <pc:sldMkLst>
          <pc:docMk/>
          <pc:sldMk cId="2667832484" sldId="2147376688"/>
        </pc:sldMkLst>
      </pc:sldChg>
      <pc:sldChg chg="modSp add del mod">
        <pc:chgData name="Alfawzan, Lujain" userId="5542ab1a-fb35-4379-8837-59a3729222cc" providerId="ADAL" clId="{3B8D064A-583E-44DC-B3B3-6387FA60473B}" dt="2024-01-01T11:57:36.493" v="1150" actId="47"/>
        <pc:sldMkLst>
          <pc:docMk/>
          <pc:sldMk cId="87540506" sldId="2147376691"/>
        </pc:sldMkLst>
        <pc:spChg chg="mod">
          <ac:chgData name="Alfawzan, Lujain" userId="5542ab1a-fb35-4379-8837-59a3729222cc" providerId="ADAL" clId="{3B8D064A-583E-44DC-B3B3-6387FA60473B}" dt="2024-01-01T11:49:06.600" v="1105" actId="1076"/>
          <ac:spMkLst>
            <pc:docMk/>
            <pc:sldMk cId="87540506" sldId="2147376691"/>
            <ac:spMk id="31" creationId="{BE594BCB-EE9E-9C99-00BD-3CD6596B52B2}"/>
          </ac:spMkLst>
        </pc:spChg>
        <pc:picChg chg="mod">
          <ac:chgData name="Alfawzan, Lujain" userId="5542ab1a-fb35-4379-8837-59a3729222cc" providerId="ADAL" clId="{3B8D064A-583E-44DC-B3B3-6387FA60473B}" dt="2024-01-01T11:49:06.600" v="1105" actId="1076"/>
          <ac:picMkLst>
            <pc:docMk/>
            <pc:sldMk cId="87540506" sldId="2147376691"/>
            <ac:picMk id="3" creationId="{AECF9FD8-04B0-BE40-D639-82A44601CDDB}"/>
          </ac:picMkLst>
        </pc:picChg>
      </pc:sldChg>
      <pc:sldChg chg="add del">
        <pc:chgData name="Alfawzan, Lujain" userId="5542ab1a-fb35-4379-8837-59a3729222cc" providerId="ADAL" clId="{3B8D064A-583E-44DC-B3B3-6387FA60473B}" dt="2024-01-02T03:59:40.951" v="2174" actId="47"/>
        <pc:sldMkLst>
          <pc:docMk/>
          <pc:sldMk cId="1867426555" sldId="2147376692"/>
        </pc:sldMkLst>
      </pc:sldChg>
      <pc:sldChg chg="add del">
        <pc:chgData name="Alfawzan, Lujain" userId="5542ab1a-fb35-4379-8837-59a3729222cc" providerId="ADAL" clId="{3B8D064A-583E-44DC-B3B3-6387FA60473B}" dt="2024-01-02T03:59:42.283" v="2175" actId="47"/>
        <pc:sldMkLst>
          <pc:docMk/>
          <pc:sldMk cId="2319502512" sldId="2147376693"/>
        </pc:sldMkLst>
      </pc:sldChg>
      <pc:sldChg chg="add del">
        <pc:chgData name="Alfawzan, Lujain" userId="5542ab1a-fb35-4379-8837-59a3729222cc" providerId="ADAL" clId="{3B8D064A-583E-44DC-B3B3-6387FA60473B}" dt="2024-01-02T03:59:43.668" v="2176" actId="47"/>
        <pc:sldMkLst>
          <pc:docMk/>
          <pc:sldMk cId="2422444910" sldId="2147376694"/>
        </pc:sldMkLst>
      </pc:sldChg>
      <pc:sldChg chg="add del">
        <pc:chgData name="Alfawzan, Lujain" userId="5542ab1a-fb35-4379-8837-59a3729222cc" providerId="ADAL" clId="{3B8D064A-583E-44DC-B3B3-6387FA60473B}" dt="2024-01-02T03:59:50.167" v="2184" actId="47"/>
        <pc:sldMkLst>
          <pc:docMk/>
          <pc:sldMk cId="3700134433" sldId="2147376695"/>
        </pc:sldMkLst>
      </pc:sldChg>
      <pc:sldChg chg="add del">
        <pc:chgData name="Alfawzan, Lujain" userId="5542ab1a-fb35-4379-8837-59a3729222cc" providerId="ADAL" clId="{3B8D064A-583E-44DC-B3B3-6387FA60473B}" dt="2024-01-02T03:59:45.077" v="2177" actId="47"/>
        <pc:sldMkLst>
          <pc:docMk/>
          <pc:sldMk cId="248428610" sldId="2147376696"/>
        </pc:sldMkLst>
      </pc:sldChg>
      <pc:sldChg chg="add del">
        <pc:chgData name="Alfawzan, Lujain" userId="5542ab1a-fb35-4379-8837-59a3729222cc" providerId="ADAL" clId="{3B8D064A-583E-44DC-B3B3-6387FA60473B}" dt="2024-01-02T03:59:45.812" v="2178" actId="47"/>
        <pc:sldMkLst>
          <pc:docMk/>
          <pc:sldMk cId="2019283904" sldId="2147376845"/>
        </pc:sldMkLst>
      </pc:sldChg>
      <pc:sldChg chg="add del">
        <pc:chgData name="Alfawzan, Lujain" userId="5542ab1a-fb35-4379-8837-59a3729222cc" providerId="ADAL" clId="{3B8D064A-583E-44DC-B3B3-6387FA60473B}" dt="2024-01-02T03:59:46.435" v="2179" actId="47"/>
        <pc:sldMkLst>
          <pc:docMk/>
          <pc:sldMk cId="2202344793" sldId="2147376846"/>
        </pc:sldMkLst>
      </pc:sldChg>
      <pc:sldChg chg="add del">
        <pc:chgData name="Alfawzan, Lujain" userId="5542ab1a-fb35-4379-8837-59a3729222cc" providerId="ADAL" clId="{3B8D064A-583E-44DC-B3B3-6387FA60473B}" dt="2024-01-02T03:59:47.567" v="2181" actId="47"/>
        <pc:sldMkLst>
          <pc:docMk/>
          <pc:sldMk cId="1704967233" sldId="2147376847"/>
        </pc:sldMkLst>
      </pc:sldChg>
      <pc:sldChg chg="add del">
        <pc:chgData name="Alfawzan, Lujain" userId="5542ab1a-fb35-4379-8837-59a3729222cc" providerId="ADAL" clId="{3B8D064A-583E-44DC-B3B3-6387FA60473B}" dt="2024-01-02T03:59:48.213" v="2182" actId="47"/>
        <pc:sldMkLst>
          <pc:docMk/>
          <pc:sldMk cId="1063415325" sldId="2147376849"/>
        </pc:sldMkLst>
      </pc:sldChg>
      <pc:sldChg chg="add">
        <pc:chgData name="Alfawzan, Lujain" userId="5542ab1a-fb35-4379-8837-59a3729222cc" providerId="ADAL" clId="{3B8D064A-583E-44DC-B3B3-6387FA60473B}" dt="2024-01-01T11:06:49.244" v="713"/>
        <pc:sldMkLst>
          <pc:docMk/>
          <pc:sldMk cId="2326156301" sldId="2147376854"/>
        </pc:sldMkLst>
      </pc:sldChg>
      <pc:sldChg chg="add">
        <pc:chgData name="Alfawzan, Lujain" userId="5542ab1a-fb35-4379-8837-59a3729222cc" providerId="ADAL" clId="{3B8D064A-583E-44DC-B3B3-6387FA60473B}" dt="2024-01-01T11:06:49.244" v="713"/>
        <pc:sldMkLst>
          <pc:docMk/>
          <pc:sldMk cId="3151105576" sldId="2147376855"/>
        </pc:sldMkLst>
      </pc:sldChg>
      <pc:sldChg chg="add">
        <pc:chgData name="Alfawzan, Lujain" userId="5542ab1a-fb35-4379-8837-59a3729222cc" providerId="ADAL" clId="{3B8D064A-583E-44DC-B3B3-6387FA60473B}" dt="2024-01-01T11:06:49.244" v="713"/>
        <pc:sldMkLst>
          <pc:docMk/>
          <pc:sldMk cId="2210067631" sldId="2147376856"/>
        </pc:sldMkLst>
      </pc:sldChg>
      <pc:sldChg chg="add del">
        <pc:chgData name="Alfawzan, Lujain" userId="5542ab1a-fb35-4379-8837-59a3729222cc" providerId="ADAL" clId="{3B8D064A-583E-44DC-B3B3-6387FA60473B}" dt="2024-01-01T12:57:48.584" v="1368" actId="47"/>
        <pc:sldMkLst>
          <pc:docMk/>
          <pc:sldMk cId="1246309328" sldId="2147376858"/>
        </pc:sldMkLst>
      </pc:sldChg>
      <pc:sldChg chg="add del">
        <pc:chgData name="Alfawzan, Lujain" userId="5542ab1a-fb35-4379-8837-59a3729222cc" providerId="ADAL" clId="{3B8D064A-583E-44DC-B3B3-6387FA60473B}" dt="2024-01-01T12:57:49.295" v="1369" actId="47"/>
        <pc:sldMkLst>
          <pc:docMk/>
          <pc:sldMk cId="3368370951" sldId="2147376859"/>
        </pc:sldMkLst>
      </pc:sldChg>
      <pc:sldChg chg="add del">
        <pc:chgData name="Alfawzan, Lujain" userId="5542ab1a-fb35-4379-8837-59a3729222cc" providerId="ADAL" clId="{3B8D064A-583E-44DC-B3B3-6387FA60473B}" dt="2024-01-01T12:58:17.303" v="1371" actId="47"/>
        <pc:sldMkLst>
          <pc:docMk/>
          <pc:sldMk cId="2624578278" sldId="2147376860"/>
        </pc:sldMkLst>
      </pc:sldChg>
      <pc:sldChg chg="add del">
        <pc:chgData name="Alfawzan, Lujain" userId="5542ab1a-fb35-4379-8837-59a3729222cc" providerId="ADAL" clId="{3B8D064A-583E-44DC-B3B3-6387FA60473B}" dt="2024-01-01T12:58:16.009" v="1370" actId="47"/>
        <pc:sldMkLst>
          <pc:docMk/>
          <pc:sldMk cId="516606515" sldId="2147376861"/>
        </pc:sldMkLst>
      </pc:sldChg>
      <pc:sldChg chg="modSp add del mod addCm">
        <pc:chgData name="Alfawzan, Lujain" userId="5542ab1a-fb35-4379-8837-59a3729222cc" providerId="ADAL" clId="{3B8D064A-583E-44DC-B3B3-6387FA60473B}" dt="2024-01-02T06:54:34.033" v="3421"/>
        <pc:sldMkLst>
          <pc:docMk/>
          <pc:sldMk cId="854730228" sldId="2147376882"/>
        </pc:sldMkLst>
        <pc:spChg chg="mod">
          <ac:chgData name="Alfawzan, Lujain" userId="5542ab1a-fb35-4379-8837-59a3729222cc" providerId="ADAL" clId="{3B8D064A-583E-44DC-B3B3-6387FA60473B}" dt="2024-01-01T07:55:17.432" v="26" actId="20577"/>
          <ac:spMkLst>
            <pc:docMk/>
            <pc:sldMk cId="854730228" sldId="2147376882"/>
            <ac:spMk id="20" creationId="{00000000-0000-0000-0000-000000000000}"/>
          </ac:spMkLst>
        </pc:spChg>
        <pc:graphicFrameChg chg="mod modGraphic">
          <ac:chgData name="Alfawzan, Lujain" userId="5542ab1a-fb35-4379-8837-59a3729222cc" providerId="ADAL" clId="{3B8D064A-583E-44DC-B3B3-6387FA60473B}" dt="2024-01-01T13:00:07.772" v="1381" actId="20577"/>
          <ac:graphicFrameMkLst>
            <pc:docMk/>
            <pc:sldMk cId="854730228" sldId="2147376882"/>
            <ac:graphicFrameMk id="4" creationId="{96769F40-FD08-B4A7-CA40-D338F4D4AF55}"/>
          </ac:graphicFrameMkLst>
        </pc:graphicFrameChg>
      </pc:sldChg>
      <pc:sldChg chg="modSp add">
        <pc:chgData name="Alfawzan, Lujain" userId="5542ab1a-fb35-4379-8837-59a3729222cc" providerId="ADAL" clId="{3B8D064A-583E-44DC-B3B3-6387FA60473B}" dt="2024-01-02T07:07:38.326" v="3564"/>
        <pc:sldMkLst>
          <pc:docMk/>
          <pc:sldMk cId="3614529180" sldId="2147376886"/>
        </pc:sldMkLst>
        <pc:spChg chg="mod">
          <ac:chgData name="Alfawzan, Lujain" userId="5542ab1a-fb35-4379-8837-59a3729222cc" providerId="ADAL" clId="{3B8D064A-583E-44DC-B3B3-6387FA60473B}" dt="2024-01-02T07:07:38.326" v="3564"/>
          <ac:spMkLst>
            <pc:docMk/>
            <pc:sldMk cId="3614529180" sldId="2147376886"/>
            <ac:spMk id="22" creationId="{1A79A090-002F-4C23-9820-EF7F3AFDE33B}"/>
          </ac:spMkLst>
        </pc:spChg>
        <pc:spChg chg="mod">
          <ac:chgData name="Alfawzan, Lujain" userId="5542ab1a-fb35-4379-8837-59a3729222cc" providerId="ADAL" clId="{3B8D064A-583E-44DC-B3B3-6387FA60473B}" dt="2024-01-02T07:07:38.326" v="3564"/>
          <ac:spMkLst>
            <pc:docMk/>
            <pc:sldMk cId="3614529180" sldId="2147376886"/>
            <ac:spMk id="26" creationId="{91EAB90C-BD27-4106-8703-2DD07FE30DD1}"/>
          </ac:spMkLst>
        </pc:spChg>
      </pc:sldChg>
      <pc:sldChg chg="delSp modSp add del mod">
        <pc:chgData name="Alfawzan, Lujain" userId="5542ab1a-fb35-4379-8837-59a3729222cc" providerId="ADAL" clId="{3B8D064A-583E-44DC-B3B3-6387FA60473B}" dt="2024-01-02T04:37:31.316" v="2450" actId="47"/>
        <pc:sldMkLst>
          <pc:docMk/>
          <pc:sldMk cId="3865615736" sldId="2147376888"/>
        </pc:sldMkLst>
        <pc:spChg chg="mod">
          <ac:chgData name="Alfawzan, Lujain" userId="5542ab1a-fb35-4379-8837-59a3729222cc" providerId="ADAL" clId="{3B8D064A-583E-44DC-B3B3-6387FA60473B}" dt="2024-01-01T11:35:50.549" v="969" actId="1076"/>
          <ac:spMkLst>
            <pc:docMk/>
            <pc:sldMk cId="3865615736" sldId="2147376888"/>
            <ac:spMk id="54" creationId="{80DC2B1B-24D7-494A-841D-2F2205A4C39F}"/>
          </ac:spMkLst>
        </pc:spChg>
        <pc:spChg chg="mod">
          <ac:chgData name="Alfawzan, Lujain" userId="5542ab1a-fb35-4379-8837-59a3729222cc" providerId="ADAL" clId="{3B8D064A-583E-44DC-B3B3-6387FA60473B}" dt="2024-01-01T11:35:53.316" v="970" actId="1076"/>
          <ac:spMkLst>
            <pc:docMk/>
            <pc:sldMk cId="3865615736" sldId="2147376888"/>
            <ac:spMk id="55" creationId="{591577FE-286C-4E32-ACA1-A0F390553111}"/>
          </ac:spMkLst>
        </pc:spChg>
        <pc:graphicFrameChg chg="del mod">
          <ac:chgData name="Alfawzan, Lujain" userId="5542ab1a-fb35-4379-8837-59a3729222cc" providerId="ADAL" clId="{3B8D064A-583E-44DC-B3B3-6387FA60473B}" dt="2024-01-01T11:10:00.751" v="732" actId="478"/>
          <ac:graphicFrameMkLst>
            <pc:docMk/>
            <pc:sldMk cId="3865615736" sldId="2147376888"/>
            <ac:graphicFrameMk id="2" creationId="{42F6A346-9286-8C9B-222D-55C1F1DAD727}"/>
          </ac:graphicFrameMkLst>
        </pc:graphicFrameChg>
        <pc:graphicFrameChg chg="mod modGraphic">
          <ac:chgData name="Alfawzan, Lujain" userId="5542ab1a-fb35-4379-8837-59a3729222cc" providerId="ADAL" clId="{3B8D064A-583E-44DC-B3B3-6387FA60473B}" dt="2024-01-02T04:27:38.855" v="2392" actId="20577"/>
          <ac:graphicFrameMkLst>
            <pc:docMk/>
            <pc:sldMk cId="3865615736" sldId="2147376888"/>
            <ac:graphicFrameMk id="56" creationId="{ACB95954-27AB-4DD1-AEE7-608507D0D11D}"/>
          </ac:graphicFrameMkLst>
        </pc:graphicFrameChg>
      </pc:sldChg>
      <pc:sldChg chg="add del">
        <pc:chgData name="Alfawzan, Lujain" userId="5542ab1a-fb35-4379-8837-59a3729222cc" providerId="ADAL" clId="{3B8D064A-583E-44DC-B3B3-6387FA60473B}" dt="2024-01-01T12:08:30.925" v="1309" actId="47"/>
        <pc:sldMkLst>
          <pc:docMk/>
          <pc:sldMk cId="3677966850" sldId="2147376894"/>
        </pc:sldMkLst>
      </pc:sldChg>
      <pc:sldChg chg="add del">
        <pc:chgData name="Alfawzan, Lujain" userId="5542ab1a-fb35-4379-8837-59a3729222cc" providerId="ADAL" clId="{3B8D064A-583E-44DC-B3B3-6387FA60473B}" dt="2024-01-02T03:59:47.013" v="2180" actId="47"/>
        <pc:sldMkLst>
          <pc:docMk/>
          <pc:sldMk cId="2760752680" sldId="2147376895"/>
        </pc:sldMkLst>
      </pc:sldChg>
      <pc:sldChg chg="add del">
        <pc:chgData name="Alfawzan, Lujain" userId="5542ab1a-fb35-4379-8837-59a3729222cc" providerId="ADAL" clId="{3B8D064A-583E-44DC-B3B3-6387FA60473B}" dt="2024-01-02T03:59:48.786" v="2183" actId="47"/>
        <pc:sldMkLst>
          <pc:docMk/>
          <pc:sldMk cId="711501285" sldId="2147376897"/>
        </pc:sldMkLst>
      </pc:sldChg>
      <pc:sldChg chg="modSp mod">
        <pc:chgData name="Alfawzan, Lujain" userId="5542ab1a-fb35-4379-8837-59a3729222cc" providerId="ADAL" clId="{3B8D064A-583E-44DC-B3B3-6387FA60473B}" dt="2024-01-01T08:00:38.800" v="111" actId="20577"/>
        <pc:sldMkLst>
          <pc:docMk/>
          <pc:sldMk cId="0" sldId="2147469492"/>
        </pc:sldMkLst>
        <pc:spChg chg="mod">
          <ac:chgData name="Alfawzan, Lujain" userId="5542ab1a-fb35-4379-8837-59a3729222cc" providerId="ADAL" clId="{3B8D064A-583E-44DC-B3B3-6387FA60473B}" dt="2024-01-01T08:00:26.018" v="94"/>
          <ac:spMkLst>
            <pc:docMk/>
            <pc:sldMk cId="0" sldId="2147469492"/>
            <ac:spMk id="400" creationId="{00000000-0000-0000-0000-000000000000}"/>
          </ac:spMkLst>
        </pc:spChg>
        <pc:spChg chg="mod">
          <ac:chgData name="Alfawzan, Lujain" userId="5542ab1a-fb35-4379-8837-59a3729222cc" providerId="ADAL" clId="{3B8D064A-583E-44DC-B3B3-6387FA60473B}" dt="2024-01-01T08:00:38.800" v="111" actId="20577"/>
          <ac:spMkLst>
            <pc:docMk/>
            <pc:sldMk cId="0" sldId="2147469492"/>
            <ac:spMk id="401" creationId="{00000000-0000-0000-0000-000000000000}"/>
          </ac:spMkLst>
        </pc:spChg>
      </pc:sldChg>
      <pc:sldChg chg="addSp delSp modSp mod">
        <pc:chgData name="Alfawzan, Lujain" userId="5542ab1a-fb35-4379-8837-59a3729222cc" providerId="ADAL" clId="{3B8D064A-583E-44DC-B3B3-6387FA60473B}" dt="2024-01-02T06:30:04.775" v="3202" actId="207"/>
        <pc:sldMkLst>
          <pc:docMk/>
          <pc:sldMk cId="3812115710" sldId="2147469513"/>
        </pc:sldMkLst>
        <pc:spChg chg="add del">
          <ac:chgData name="Alfawzan, Lujain" userId="5542ab1a-fb35-4379-8837-59a3729222cc" providerId="ADAL" clId="{3B8D064A-583E-44DC-B3B3-6387FA60473B}" dt="2024-01-02T06:28:31.840" v="3135" actId="22"/>
          <ac:spMkLst>
            <pc:docMk/>
            <pc:sldMk cId="3812115710" sldId="2147469513"/>
            <ac:spMk id="3" creationId="{B584B5B3-D75C-A7AE-05AF-612846105B6D}"/>
          </ac:spMkLst>
        </pc:spChg>
        <pc:spChg chg="add mod">
          <ac:chgData name="Alfawzan, Lujain" userId="5542ab1a-fb35-4379-8837-59a3729222cc" providerId="ADAL" clId="{3B8D064A-583E-44DC-B3B3-6387FA60473B}" dt="2024-01-02T06:28:41.835" v="3138" actId="14100"/>
          <ac:spMkLst>
            <pc:docMk/>
            <pc:sldMk cId="3812115710" sldId="2147469513"/>
            <ac:spMk id="5" creationId="{361504AD-9623-9115-82D2-B4972C529EFF}"/>
          </ac:spMkLst>
        </pc:spChg>
        <pc:spChg chg="add mod ord">
          <ac:chgData name="Alfawzan, Lujain" userId="5542ab1a-fb35-4379-8837-59a3729222cc" providerId="ADAL" clId="{3B8D064A-583E-44DC-B3B3-6387FA60473B}" dt="2024-01-02T06:30:04.775" v="3202" actId="207"/>
          <ac:spMkLst>
            <pc:docMk/>
            <pc:sldMk cId="3812115710" sldId="2147469513"/>
            <ac:spMk id="6" creationId="{49878E5A-E353-BBC9-02D8-6822309C923F}"/>
          </ac:spMkLst>
        </pc:spChg>
      </pc:sldChg>
      <pc:sldChg chg="del">
        <pc:chgData name="Alfawzan, Lujain" userId="5542ab1a-fb35-4379-8837-59a3729222cc" providerId="ADAL" clId="{3B8D064A-583E-44DC-B3B3-6387FA60473B}" dt="2024-01-02T06:38:23.715" v="3325" actId="47"/>
        <pc:sldMkLst>
          <pc:docMk/>
          <pc:sldMk cId="2120408574" sldId="2147469533"/>
        </pc:sldMkLst>
      </pc:sldChg>
      <pc:sldChg chg="del">
        <pc:chgData name="Alfawzan, Lujain" userId="5542ab1a-fb35-4379-8837-59a3729222cc" providerId="ADAL" clId="{3B8D064A-583E-44DC-B3B3-6387FA60473B}" dt="2024-01-01T11:06:45.363" v="710" actId="47"/>
        <pc:sldMkLst>
          <pc:docMk/>
          <pc:sldMk cId="3832139077" sldId="2147469585"/>
        </pc:sldMkLst>
      </pc:sldChg>
      <pc:sldChg chg="modSp mod">
        <pc:chgData name="Alfawzan, Lujain" userId="5542ab1a-fb35-4379-8837-59a3729222cc" providerId="ADAL" clId="{3B8D064A-583E-44DC-B3B3-6387FA60473B}" dt="2024-01-02T06:30:33.136" v="3218" actId="20577"/>
        <pc:sldMkLst>
          <pc:docMk/>
          <pc:sldMk cId="1060625888" sldId="2147469628"/>
        </pc:sldMkLst>
        <pc:spChg chg="mod">
          <ac:chgData name="Alfawzan, Lujain" userId="5542ab1a-fb35-4379-8837-59a3729222cc" providerId="ADAL" clId="{3B8D064A-583E-44DC-B3B3-6387FA60473B}" dt="2024-01-02T06:30:33.136" v="3218" actId="20577"/>
          <ac:spMkLst>
            <pc:docMk/>
            <pc:sldMk cId="1060625888" sldId="2147469628"/>
            <ac:spMk id="507" creationId="{42A25287-6DDF-D975-7AAE-33B629EF2BC8}"/>
          </ac:spMkLst>
        </pc:spChg>
      </pc:sldChg>
      <pc:sldChg chg="del">
        <pc:chgData name="Alfawzan, Lujain" userId="5542ab1a-fb35-4379-8837-59a3729222cc" providerId="ADAL" clId="{3B8D064A-583E-44DC-B3B3-6387FA60473B}" dt="2024-01-01T11:06:44.715" v="709" actId="47"/>
        <pc:sldMkLst>
          <pc:docMk/>
          <pc:sldMk cId="4174887321" sldId="2147469690"/>
        </pc:sldMkLst>
      </pc:sldChg>
      <pc:sldChg chg="del">
        <pc:chgData name="Alfawzan, Lujain" userId="5542ab1a-fb35-4379-8837-59a3729222cc" providerId="ADAL" clId="{3B8D064A-583E-44DC-B3B3-6387FA60473B}" dt="2024-01-01T11:06:46.453" v="712" actId="47"/>
        <pc:sldMkLst>
          <pc:docMk/>
          <pc:sldMk cId="2182095511" sldId="2147469697"/>
        </pc:sldMkLst>
      </pc:sldChg>
      <pc:sldChg chg="modSp del mod">
        <pc:chgData name="Alfawzan, Lujain" userId="5542ab1a-fb35-4379-8837-59a3729222cc" providerId="ADAL" clId="{3B8D064A-583E-44DC-B3B3-6387FA60473B}" dt="2024-01-02T06:53:59.704" v="3420" actId="47"/>
        <pc:sldMkLst>
          <pc:docMk/>
          <pc:sldMk cId="402931147" sldId="2147472039"/>
        </pc:sldMkLst>
        <pc:spChg chg="mod">
          <ac:chgData name="Alfawzan, Lujain" userId="5542ab1a-fb35-4379-8837-59a3729222cc" providerId="ADAL" clId="{3B8D064A-583E-44DC-B3B3-6387FA60473B}" dt="2024-01-02T06:43:08.018" v="3352" actId="20577"/>
          <ac:spMkLst>
            <pc:docMk/>
            <pc:sldMk cId="402931147" sldId="2147472039"/>
            <ac:spMk id="20" creationId="{00F4E0F2-F5AE-3F2E-5D71-88291A374125}"/>
          </ac:spMkLst>
        </pc:spChg>
        <pc:spChg chg="mod">
          <ac:chgData name="Alfawzan, Lujain" userId="5542ab1a-fb35-4379-8837-59a3729222cc" providerId="ADAL" clId="{3B8D064A-583E-44DC-B3B3-6387FA60473B}" dt="2024-01-02T06:43:33.582" v="3378" actId="20577"/>
          <ac:spMkLst>
            <pc:docMk/>
            <pc:sldMk cId="402931147" sldId="2147472039"/>
            <ac:spMk id="82" creationId="{53E90770-A92C-B8D8-63CB-ABA580F003B6}"/>
          </ac:spMkLst>
        </pc:spChg>
      </pc:sldChg>
      <pc:sldChg chg="del">
        <pc:chgData name="Alfawzan, Lujain" userId="5542ab1a-fb35-4379-8837-59a3729222cc" providerId="ADAL" clId="{3B8D064A-583E-44DC-B3B3-6387FA60473B}" dt="2024-01-01T11:06:45.873" v="711" actId="47"/>
        <pc:sldMkLst>
          <pc:docMk/>
          <pc:sldMk cId="649601760" sldId="2147472044"/>
        </pc:sldMkLst>
      </pc:sldChg>
      <pc:sldChg chg="del">
        <pc:chgData name="Alfawzan, Lujain" userId="5542ab1a-fb35-4379-8837-59a3729222cc" providerId="ADAL" clId="{3B8D064A-583E-44DC-B3B3-6387FA60473B}" dt="2024-01-01T11:06:43.865" v="708" actId="47"/>
        <pc:sldMkLst>
          <pc:docMk/>
          <pc:sldMk cId="3381015075" sldId="2147472080"/>
        </pc:sldMkLst>
      </pc:sldChg>
      <pc:sldChg chg="modSp mod">
        <pc:chgData name="Alfawzan, Lujain" userId="5542ab1a-fb35-4379-8837-59a3729222cc" providerId="ADAL" clId="{3B8D064A-583E-44DC-B3B3-6387FA60473B}" dt="2024-01-02T04:29:01.842" v="2398" actId="27636"/>
        <pc:sldMkLst>
          <pc:docMk/>
          <pc:sldMk cId="2464809623" sldId="2147472094"/>
        </pc:sldMkLst>
        <pc:spChg chg="mod">
          <ac:chgData name="Alfawzan, Lujain" userId="5542ab1a-fb35-4379-8837-59a3729222cc" providerId="ADAL" clId="{3B8D064A-583E-44DC-B3B3-6387FA60473B}" dt="2024-01-02T04:29:01.842" v="2398" actId="27636"/>
          <ac:spMkLst>
            <pc:docMk/>
            <pc:sldMk cId="2464809623" sldId="2147472094"/>
            <ac:spMk id="752" creationId="{00000000-0000-0000-0000-000000000000}"/>
          </ac:spMkLst>
        </pc:spChg>
      </pc:sldChg>
      <pc:sldChg chg="modSp">
        <pc:chgData name="Alfawzan, Lujain" userId="5542ab1a-fb35-4379-8837-59a3729222cc" providerId="ADAL" clId="{3B8D064A-583E-44DC-B3B3-6387FA60473B}" dt="2024-01-02T07:07:38.326" v="3564"/>
        <pc:sldMkLst>
          <pc:docMk/>
          <pc:sldMk cId="122339857" sldId="2147472107"/>
        </pc:sldMkLst>
        <pc:spChg chg="mod">
          <ac:chgData name="Alfawzan, Lujain" userId="5542ab1a-fb35-4379-8837-59a3729222cc" providerId="ADAL" clId="{3B8D064A-583E-44DC-B3B3-6387FA60473B}" dt="2024-01-02T07:07:38.326" v="3564"/>
          <ac:spMkLst>
            <pc:docMk/>
            <pc:sldMk cId="122339857" sldId="2147472107"/>
            <ac:spMk id="13" creationId="{885D406F-B2FE-4686-8A0B-47FC56065756}"/>
          </ac:spMkLst>
        </pc:spChg>
      </pc:sldChg>
      <pc:sldChg chg="del">
        <pc:chgData name="Alfawzan, Lujain" userId="5542ab1a-fb35-4379-8837-59a3729222cc" providerId="ADAL" clId="{3B8D064A-583E-44DC-B3B3-6387FA60473B}" dt="2024-01-01T08:00:07.602" v="82" actId="47"/>
        <pc:sldMkLst>
          <pc:docMk/>
          <pc:sldMk cId="1696513067" sldId="2147472113"/>
        </pc:sldMkLst>
      </pc:sldChg>
      <pc:sldChg chg="modSp">
        <pc:chgData name="Alfawzan, Lujain" userId="5542ab1a-fb35-4379-8837-59a3729222cc" providerId="ADAL" clId="{3B8D064A-583E-44DC-B3B3-6387FA60473B}" dt="2024-01-02T07:06:44.643" v="3562"/>
        <pc:sldMkLst>
          <pc:docMk/>
          <pc:sldMk cId="1863641052" sldId="2147472121"/>
        </pc:sldMkLst>
        <pc:graphicFrameChg chg="mod">
          <ac:chgData name="Alfawzan, Lujain" userId="5542ab1a-fb35-4379-8837-59a3729222cc" providerId="ADAL" clId="{3B8D064A-583E-44DC-B3B3-6387FA60473B}" dt="2024-01-02T07:06:44.643" v="3562"/>
          <ac:graphicFrameMkLst>
            <pc:docMk/>
            <pc:sldMk cId="1863641052" sldId="2147472121"/>
            <ac:graphicFrameMk id="5" creationId="{E9AE7BA3-E382-37AF-A4D7-457B619974F4}"/>
          </ac:graphicFrameMkLst>
        </pc:graphicFrameChg>
      </pc:sldChg>
      <pc:sldChg chg="modSp">
        <pc:chgData name="Alfawzan, Lujain" userId="5542ab1a-fb35-4379-8837-59a3729222cc" providerId="ADAL" clId="{3B8D064A-583E-44DC-B3B3-6387FA60473B}" dt="2024-01-02T07:06:44.643" v="3562"/>
        <pc:sldMkLst>
          <pc:docMk/>
          <pc:sldMk cId="3036512581" sldId="2147472156"/>
        </pc:sldMkLst>
        <pc:graphicFrameChg chg="mod">
          <ac:chgData name="Alfawzan, Lujain" userId="5542ab1a-fb35-4379-8837-59a3729222cc" providerId="ADAL" clId="{3B8D064A-583E-44DC-B3B3-6387FA60473B}" dt="2024-01-02T07:06:44.643" v="3562"/>
          <ac:graphicFrameMkLst>
            <pc:docMk/>
            <pc:sldMk cId="3036512581" sldId="2147472156"/>
            <ac:graphicFrameMk id="5" creationId="{E9AE7BA3-E382-37AF-A4D7-457B619974F4}"/>
          </ac:graphicFrameMkLst>
        </pc:graphicFrameChg>
      </pc:sldChg>
      <pc:sldChg chg="modSp mod">
        <pc:chgData name="Alfawzan, Lujain" userId="5542ab1a-fb35-4379-8837-59a3729222cc" providerId="ADAL" clId="{3B8D064A-583E-44DC-B3B3-6387FA60473B}" dt="2024-01-02T06:52:48.657" v="3419" actId="20577"/>
        <pc:sldMkLst>
          <pc:docMk/>
          <pc:sldMk cId="4195177294" sldId="2147472168"/>
        </pc:sldMkLst>
        <pc:graphicFrameChg chg="mod modGraphic">
          <ac:chgData name="Alfawzan, Lujain" userId="5542ab1a-fb35-4379-8837-59a3729222cc" providerId="ADAL" clId="{3B8D064A-583E-44DC-B3B3-6387FA60473B}" dt="2024-01-02T06:52:48.657" v="3419" actId="20577"/>
          <ac:graphicFrameMkLst>
            <pc:docMk/>
            <pc:sldMk cId="4195177294" sldId="2147472168"/>
            <ac:graphicFrameMk id="4" creationId="{8F73AE33-156D-48F2-7633-0C4AB5141029}"/>
          </ac:graphicFrameMkLst>
        </pc:graphicFrameChg>
      </pc:sldChg>
      <pc:sldChg chg="modSp mod">
        <pc:chgData name="Alfawzan, Lujain" userId="5542ab1a-fb35-4379-8837-59a3729222cc" providerId="ADAL" clId="{3B8D064A-583E-44DC-B3B3-6387FA60473B}" dt="2024-01-02T07:07:00.532" v="3563" actId="20577"/>
        <pc:sldMkLst>
          <pc:docMk/>
          <pc:sldMk cId="3043470878" sldId="2147472171"/>
        </pc:sldMkLst>
        <pc:graphicFrameChg chg="mod modGraphic">
          <ac:chgData name="Alfawzan, Lujain" userId="5542ab1a-fb35-4379-8837-59a3729222cc" providerId="ADAL" clId="{3B8D064A-583E-44DC-B3B3-6387FA60473B}" dt="2024-01-02T07:07:00.532" v="3563" actId="20577"/>
          <ac:graphicFrameMkLst>
            <pc:docMk/>
            <pc:sldMk cId="3043470878" sldId="2147472171"/>
            <ac:graphicFrameMk id="4" creationId="{8F73AE33-156D-48F2-7633-0C4AB5141029}"/>
          </ac:graphicFrameMkLst>
        </pc:graphicFrameChg>
      </pc:sldChg>
      <pc:sldChg chg="addSp delSp modSp mod ord">
        <pc:chgData name="Alfawzan, Lujain" userId="5542ab1a-fb35-4379-8837-59a3729222cc" providerId="ADAL" clId="{3B8D064A-583E-44DC-B3B3-6387FA60473B}" dt="2024-01-02T07:02:59.096" v="3518" actId="108"/>
        <pc:sldMkLst>
          <pc:docMk/>
          <pc:sldMk cId="429018731" sldId="2147472188"/>
        </pc:sldMkLst>
        <pc:spChg chg="mod ord">
          <ac:chgData name="Alfawzan, Lujain" userId="5542ab1a-fb35-4379-8837-59a3729222cc" providerId="ADAL" clId="{3B8D064A-583E-44DC-B3B3-6387FA60473B}" dt="2024-01-02T04:14:06.064" v="2319" actId="166"/>
          <ac:spMkLst>
            <pc:docMk/>
            <pc:sldMk cId="429018731" sldId="2147472188"/>
            <ac:spMk id="6" creationId="{666704B9-75CD-4EBF-9099-30C6840C7E7E}"/>
          </ac:spMkLst>
        </pc:spChg>
        <pc:spChg chg="mod">
          <ac:chgData name="Alfawzan, Lujain" userId="5542ab1a-fb35-4379-8837-59a3729222cc" providerId="ADAL" clId="{3B8D064A-583E-44DC-B3B3-6387FA60473B}" dt="2024-01-02T04:13:21.045" v="2309" actId="20577"/>
          <ac:spMkLst>
            <pc:docMk/>
            <pc:sldMk cId="429018731" sldId="2147472188"/>
            <ac:spMk id="9" creationId="{170C8A31-58D1-49EC-A331-0DE8C9A824D0}"/>
          </ac:spMkLst>
        </pc:spChg>
        <pc:spChg chg="mod">
          <ac:chgData name="Alfawzan, Lujain" userId="5542ab1a-fb35-4379-8837-59a3729222cc" providerId="ADAL" clId="{3B8D064A-583E-44DC-B3B3-6387FA60473B}" dt="2024-01-02T04:23:01.510" v="2346"/>
          <ac:spMkLst>
            <pc:docMk/>
            <pc:sldMk cId="429018731" sldId="2147472188"/>
            <ac:spMk id="16" creationId="{6A7DFD27-8E4F-E5EF-242F-04C919030649}"/>
          </ac:spMkLst>
        </pc:spChg>
        <pc:spChg chg="mod">
          <ac:chgData name="Alfawzan, Lujain" userId="5542ab1a-fb35-4379-8837-59a3729222cc" providerId="ADAL" clId="{3B8D064A-583E-44DC-B3B3-6387FA60473B}" dt="2024-01-02T04:13:35.294" v="2314"/>
          <ac:spMkLst>
            <pc:docMk/>
            <pc:sldMk cId="429018731" sldId="2147472188"/>
            <ac:spMk id="18" creationId="{4D73B83F-0107-A3D6-AF54-CE204E364A00}"/>
          </ac:spMkLst>
        </pc:spChg>
        <pc:spChg chg="mod">
          <ac:chgData name="Alfawzan, Lujain" userId="5542ab1a-fb35-4379-8837-59a3729222cc" providerId="ADAL" clId="{3B8D064A-583E-44DC-B3B3-6387FA60473B}" dt="2024-01-02T07:02:59.096" v="3518" actId="108"/>
          <ac:spMkLst>
            <pc:docMk/>
            <pc:sldMk cId="429018731" sldId="2147472188"/>
            <ac:spMk id="20" creationId="{071650C5-E541-3BDA-444A-D2E1A781D34D}"/>
          </ac:spMkLst>
        </pc:spChg>
        <pc:picChg chg="del">
          <ac:chgData name="Alfawzan, Lujain" userId="5542ab1a-fb35-4379-8837-59a3729222cc" providerId="ADAL" clId="{3B8D064A-583E-44DC-B3B3-6387FA60473B}" dt="2024-01-02T04:13:52.482" v="2315" actId="478"/>
          <ac:picMkLst>
            <pc:docMk/>
            <pc:sldMk cId="429018731" sldId="2147472188"/>
            <ac:picMk id="2" creationId="{47A7D616-B357-79EF-061E-BC8687CD160B}"/>
          </ac:picMkLst>
        </pc:picChg>
        <pc:picChg chg="del">
          <ac:chgData name="Alfawzan, Lujain" userId="5542ab1a-fb35-4379-8837-59a3729222cc" providerId="ADAL" clId="{3B8D064A-583E-44DC-B3B3-6387FA60473B}" dt="2024-01-02T04:13:52.482" v="2315" actId="478"/>
          <ac:picMkLst>
            <pc:docMk/>
            <pc:sldMk cId="429018731" sldId="2147472188"/>
            <ac:picMk id="3" creationId="{6FBA6161-B388-60EE-DA76-F4EC3DDDC80B}"/>
          </ac:picMkLst>
        </pc:picChg>
        <pc:picChg chg="add mod">
          <ac:chgData name="Alfawzan, Lujain" userId="5542ab1a-fb35-4379-8837-59a3729222cc" providerId="ADAL" clId="{3B8D064A-583E-44DC-B3B3-6387FA60473B}" dt="2024-01-02T04:13:56.086" v="2317" actId="1076"/>
          <ac:picMkLst>
            <pc:docMk/>
            <pc:sldMk cId="429018731" sldId="2147472188"/>
            <ac:picMk id="5" creationId="{436F5B8C-E664-7E09-CA41-53C9E2AF1F39}"/>
          </ac:picMkLst>
        </pc:picChg>
      </pc:sldChg>
      <pc:sldChg chg="addSp delSp modSp mod ord">
        <pc:chgData name="Alfawzan, Lujain" userId="5542ab1a-fb35-4379-8837-59a3729222cc" providerId="ADAL" clId="{3B8D064A-583E-44DC-B3B3-6387FA60473B}" dt="2024-01-02T07:03:06.909" v="3519" actId="108"/>
        <pc:sldMkLst>
          <pc:docMk/>
          <pc:sldMk cId="2457903236" sldId="2147472189"/>
        </pc:sldMkLst>
        <pc:spChg chg="mod">
          <ac:chgData name="Alfawzan, Lujain" userId="5542ab1a-fb35-4379-8837-59a3729222cc" providerId="ADAL" clId="{3B8D064A-583E-44DC-B3B3-6387FA60473B}" dt="2024-01-02T04:06:28.789" v="2265" actId="20577"/>
          <ac:spMkLst>
            <pc:docMk/>
            <pc:sldMk cId="2457903236" sldId="2147472189"/>
            <ac:spMk id="5" creationId="{7780C9A4-1B58-C7B4-8260-D1451030869D}"/>
          </ac:spMkLst>
        </pc:spChg>
        <pc:spChg chg="mod">
          <ac:chgData name="Alfawzan, Lujain" userId="5542ab1a-fb35-4379-8837-59a3729222cc" providerId="ADAL" clId="{3B8D064A-583E-44DC-B3B3-6387FA60473B}" dt="2024-01-02T04:02:39.621" v="2228" actId="20577"/>
          <ac:spMkLst>
            <pc:docMk/>
            <pc:sldMk cId="2457903236" sldId="2147472189"/>
            <ac:spMk id="6" creationId="{78AA14C8-C2E2-7EA7-474B-E4D8B5F6DC35}"/>
          </ac:spMkLst>
        </pc:spChg>
        <pc:spChg chg="mod">
          <ac:chgData name="Alfawzan, Lujain" userId="5542ab1a-fb35-4379-8837-59a3729222cc" providerId="ADAL" clId="{3B8D064A-583E-44DC-B3B3-6387FA60473B}" dt="2024-01-02T04:06:06.418" v="2247" actId="120"/>
          <ac:spMkLst>
            <pc:docMk/>
            <pc:sldMk cId="2457903236" sldId="2147472189"/>
            <ac:spMk id="10" creationId="{DB954C8E-C1B7-4154-AD04-8F98C7352546}"/>
          </ac:spMkLst>
        </pc:spChg>
        <pc:spChg chg="mod">
          <ac:chgData name="Alfawzan, Lujain" userId="5542ab1a-fb35-4379-8837-59a3729222cc" providerId="ADAL" clId="{3B8D064A-583E-44DC-B3B3-6387FA60473B}" dt="2024-01-02T07:03:06.909" v="3519" actId="108"/>
          <ac:spMkLst>
            <pc:docMk/>
            <pc:sldMk cId="2457903236" sldId="2147472189"/>
            <ac:spMk id="14" creationId="{F10227DE-8C1F-199B-621C-AC0EA778471D}"/>
          </ac:spMkLst>
        </pc:spChg>
        <pc:spChg chg="del">
          <ac:chgData name="Alfawzan, Lujain" userId="5542ab1a-fb35-4379-8837-59a3729222cc" providerId="ADAL" clId="{3B8D064A-583E-44DC-B3B3-6387FA60473B}" dt="2024-01-02T04:04:16.974" v="2234" actId="478"/>
          <ac:spMkLst>
            <pc:docMk/>
            <pc:sldMk cId="2457903236" sldId="2147472189"/>
            <ac:spMk id="16" creationId="{A9681D9C-9F22-9E2E-5FB3-E6770F57CFFB}"/>
          </ac:spMkLst>
        </pc:spChg>
        <pc:spChg chg="add mod">
          <ac:chgData name="Alfawzan, Lujain" userId="5542ab1a-fb35-4379-8837-59a3729222cc" providerId="ADAL" clId="{3B8D064A-583E-44DC-B3B3-6387FA60473B}" dt="2024-01-02T04:06:14.288" v="2259" actId="1036"/>
          <ac:spMkLst>
            <pc:docMk/>
            <pc:sldMk cId="2457903236" sldId="2147472189"/>
            <ac:spMk id="17" creationId="{CD7B7111-4404-6218-4309-1E41B2419399}"/>
          </ac:spMkLst>
        </pc:spChg>
        <pc:picChg chg="del">
          <ac:chgData name="Alfawzan, Lujain" userId="5542ab1a-fb35-4379-8837-59a3729222cc" providerId="ADAL" clId="{3B8D064A-583E-44DC-B3B3-6387FA60473B}" dt="2024-01-02T04:04:11.579" v="2232" actId="478"/>
          <ac:picMkLst>
            <pc:docMk/>
            <pc:sldMk cId="2457903236" sldId="2147472189"/>
            <ac:picMk id="4" creationId="{47488805-6C37-DDBE-8AF1-E4D3437CE385}"/>
          </ac:picMkLst>
        </pc:picChg>
        <pc:picChg chg="del">
          <ac:chgData name="Alfawzan, Lujain" userId="5542ab1a-fb35-4379-8837-59a3729222cc" providerId="ADAL" clId="{3B8D064A-583E-44DC-B3B3-6387FA60473B}" dt="2024-01-02T04:04:13.126" v="2233" actId="478"/>
          <ac:picMkLst>
            <pc:docMk/>
            <pc:sldMk cId="2457903236" sldId="2147472189"/>
            <ac:picMk id="8" creationId="{5B05422D-436E-CB1F-BF78-2F7C3AD3EAF9}"/>
          </ac:picMkLst>
        </pc:picChg>
        <pc:picChg chg="add mod">
          <ac:chgData name="Alfawzan, Lujain" userId="5542ab1a-fb35-4379-8837-59a3729222cc" providerId="ADAL" clId="{3B8D064A-583E-44DC-B3B3-6387FA60473B}" dt="2024-01-02T04:06:14.288" v="2259" actId="1036"/>
          <ac:picMkLst>
            <pc:docMk/>
            <pc:sldMk cId="2457903236" sldId="2147472189"/>
            <ac:picMk id="9" creationId="{A4A17EDC-DB47-4561-DB8C-F0ED7AAE4E52}"/>
          </ac:picMkLst>
        </pc:picChg>
        <pc:picChg chg="add mod">
          <ac:chgData name="Alfawzan, Lujain" userId="5542ab1a-fb35-4379-8837-59a3729222cc" providerId="ADAL" clId="{3B8D064A-583E-44DC-B3B3-6387FA60473B}" dt="2024-01-02T04:06:14.288" v="2259" actId="1036"/>
          <ac:picMkLst>
            <pc:docMk/>
            <pc:sldMk cId="2457903236" sldId="2147472189"/>
            <ac:picMk id="15" creationId="{5758733A-BD2E-B690-52B7-AC5DAC5F081C}"/>
          </ac:picMkLst>
        </pc:picChg>
      </pc:sldChg>
      <pc:sldChg chg="addSp delSp modSp mod">
        <pc:chgData name="Alfawzan, Lujain" userId="5542ab1a-fb35-4379-8837-59a3729222cc" providerId="ADAL" clId="{3B8D064A-583E-44DC-B3B3-6387FA60473B}" dt="2024-01-02T07:02:52.437" v="3517" actId="108"/>
        <pc:sldMkLst>
          <pc:docMk/>
          <pc:sldMk cId="4014948116" sldId="2147472190"/>
        </pc:sldMkLst>
        <pc:spChg chg="mod ord">
          <ac:chgData name="Alfawzan, Lujain" userId="5542ab1a-fb35-4379-8837-59a3729222cc" providerId="ADAL" clId="{3B8D064A-583E-44DC-B3B3-6387FA60473B}" dt="2024-01-02T05:34:52.437" v="2506" actId="166"/>
          <ac:spMkLst>
            <pc:docMk/>
            <pc:sldMk cId="4014948116" sldId="2147472190"/>
            <ac:spMk id="6" creationId="{D9D278D7-ADAE-82D0-A1FB-A746FA41E3C5}"/>
          </ac:spMkLst>
        </pc:spChg>
        <pc:spChg chg="mod">
          <ac:chgData name="Alfawzan, Lujain" userId="5542ab1a-fb35-4379-8837-59a3729222cc" providerId="ADAL" clId="{3B8D064A-583E-44DC-B3B3-6387FA60473B}" dt="2024-01-02T05:35:33.483" v="2532" actId="20577"/>
          <ac:spMkLst>
            <pc:docMk/>
            <pc:sldMk cId="4014948116" sldId="2147472190"/>
            <ac:spMk id="16" creationId="{1F7028E4-7114-13C3-863A-35B6D9F1000C}"/>
          </ac:spMkLst>
        </pc:spChg>
        <pc:spChg chg="mod">
          <ac:chgData name="Alfawzan, Lujain" userId="5542ab1a-fb35-4379-8837-59a3729222cc" providerId="ADAL" clId="{3B8D064A-583E-44DC-B3B3-6387FA60473B}" dt="2024-01-02T05:39:46.547" v="2583" actId="5793"/>
          <ac:spMkLst>
            <pc:docMk/>
            <pc:sldMk cId="4014948116" sldId="2147472190"/>
            <ac:spMk id="18" creationId="{14C86E9B-D1A5-AFA2-682D-D010A63C7A75}"/>
          </ac:spMkLst>
        </pc:spChg>
        <pc:spChg chg="mod">
          <ac:chgData name="Alfawzan, Lujain" userId="5542ab1a-fb35-4379-8837-59a3729222cc" providerId="ADAL" clId="{3B8D064A-583E-44DC-B3B3-6387FA60473B}" dt="2024-01-02T05:34:22.877" v="2500" actId="20577"/>
          <ac:spMkLst>
            <pc:docMk/>
            <pc:sldMk cId="4014948116" sldId="2147472190"/>
            <ac:spMk id="21" creationId="{C99EE3AD-0681-40D2-7FD6-3E5954772208}"/>
          </ac:spMkLst>
        </pc:spChg>
        <pc:spChg chg="mod">
          <ac:chgData name="Alfawzan, Lujain" userId="5542ab1a-fb35-4379-8837-59a3729222cc" providerId="ADAL" clId="{3B8D064A-583E-44DC-B3B3-6387FA60473B}" dt="2024-01-02T07:02:52.437" v="3517" actId="108"/>
          <ac:spMkLst>
            <pc:docMk/>
            <pc:sldMk cId="4014948116" sldId="2147472190"/>
            <ac:spMk id="22" creationId="{E81AAF8B-CA6D-BA71-680D-9E0E2F0B4484}"/>
          </ac:spMkLst>
        </pc:spChg>
        <pc:picChg chg="del">
          <ac:chgData name="Alfawzan, Lujain" userId="5542ab1a-fb35-4379-8837-59a3729222cc" providerId="ADAL" clId="{3B8D064A-583E-44DC-B3B3-6387FA60473B}" dt="2024-01-02T05:32:48.664" v="2457" actId="478"/>
          <ac:picMkLst>
            <pc:docMk/>
            <pc:sldMk cId="4014948116" sldId="2147472190"/>
            <ac:picMk id="2" creationId="{E3573C0C-6981-5CC5-7BB7-8BDDA7B1B87D}"/>
          </ac:picMkLst>
        </pc:picChg>
        <pc:picChg chg="del">
          <ac:chgData name="Alfawzan, Lujain" userId="5542ab1a-fb35-4379-8837-59a3729222cc" providerId="ADAL" clId="{3B8D064A-583E-44DC-B3B3-6387FA60473B}" dt="2024-01-02T05:32:51.118" v="2458" actId="478"/>
          <ac:picMkLst>
            <pc:docMk/>
            <pc:sldMk cId="4014948116" sldId="2147472190"/>
            <ac:picMk id="3" creationId="{816D95A9-3A0F-C0DF-8A71-C13F7D008B8D}"/>
          </ac:picMkLst>
        </pc:picChg>
        <pc:picChg chg="add mod">
          <ac:chgData name="Alfawzan, Lujain" userId="5542ab1a-fb35-4379-8837-59a3729222cc" providerId="ADAL" clId="{3B8D064A-583E-44DC-B3B3-6387FA60473B}" dt="2024-01-02T05:34:46.183" v="2504" actId="1076"/>
          <ac:picMkLst>
            <pc:docMk/>
            <pc:sldMk cId="4014948116" sldId="2147472190"/>
            <ac:picMk id="5" creationId="{F3F95F72-8CD0-AD66-A181-906787B59588}"/>
          </ac:picMkLst>
        </pc:picChg>
        <pc:picChg chg="add del mod">
          <ac:chgData name="Alfawzan, Lujain" userId="5542ab1a-fb35-4379-8837-59a3729222cc" providerId="ADAL" clId="{3B8D064A-583E-44DC-B3B3-6387FA60473B}" dt="2024-01-02T05:35:00.440" v="2508"/>
          <ac:picMkLst>
            <pc:docMk/>
            <pc:sldMk cId="4014948116" sldId="2147472190"/>
            <ac:picMk id="7" creationId="{2BCD0BED-10B3-3646-3640-3D3BD5BDC888}"/>
          </ac:picMkLst>
        </pc:picChg>
      </pc:sldChg>
      <pc:sldChg chg="delSp modSp mod ord">
        <pc:chgData name="Alfawzan, Lujain" userId="5542ab1a-fb35-4379-8837-59a3729222cc" providerId="ADAL" clId="{3B8D064A-583E-44DC-B3B3-6387FA60473B}" dt="2024-01-02T07:03:12.066" v="3520" actId="108"/>
        <pc:sldMkLst>
          <pc:docMk/>
          <pc:sldMk cId="3016214707" sldId="2147472191"/>
        </pc:sldMkLst>
        <pc:spChg chg="mod">
          <ac:chgData name="Alfawzan, Lujain" userId="5542ab1a-fb35-4379-8837-59a3729222cc" providerId="ADAL" clId="{3B8D064A-583E-44DC-B3B3-6387FA60473B}" dt="2024-01-01T12:47:46.326" v="1335" actId="20577"/>
          <ac:spMkLst>
            <pc:docMk/>
            <pc:sldMk cId="3016214707" sldId="2147472191"/>
            <ac:spMk id="5" creationId="{80CB763D-20A4-7AB2-05EE-FE4F37AD08B9}"/>
          </ac:spMkLst>
        </pc:spChg>
        <pc:spChg chg="mod">
          <ac:chgData name="Alfawzan, Lujain" userId="5542ab1a-fb35-4379-8837-59a3729222cc" providerId="ADAL" clId="{3B8D064A-583E-44DC-B3B3-6387FA60473B}" dt="2024-01-01T12:07:19.458" v="1305" actId="179"/>
          <ac:spMkLst>
            <pc:docMk/>
            <pc:sldMk cId="3016214707" sldId="2147472191"/>
            <ac:spMk id="7" creationId="{F383020E-08FE-9546-C661-738047BA7264}"/>
          </ac:spMkLst>
        </pc:spChg>
        <pc:spChg chg="mod">
          <ac:chgData name="Alfawzan, Lujain" userId="5542ab1a-fb35-4379-8837-59a3729222cc" providerId="ADAL" clId="{3B8D064A-583E-44DC-B3B3-6387FA60473B}" dt="2024-01-02T07:03:12.066" v="3520" actId="108"/>
          <ac:spMkLst>
            <pc:docMk/>
            <pc:sldMk cId="3016214707" sldId="2147472191"/>
            <ac:spMk id="11" creationId="{56E6D760-73B9-81BF-A4E0-D0A449742D78}"/>
          </ac:spMkLst>
        </pc:spChg>
        <pc:spChg chg="mod">
          <ac:chgData name="Alfawzan, Lujain" userId="5542ab1a-fb35-4379-8837-59a3729222cc" providerId="ADAL" clId="{3B8D064A-583E-44DC-B3B3-6387FA60473B}" dt="2024-01-01T12:09:58.203" v="1324"/>
          <ac:spMkLst>
            <pc:docMk/>
            <pc:sldMk cId="3016214707" sldId="2147472191"/>
            <ac:spMk id="14" creationId="{2D54BB58-4141-225B-F899-BE0496D84B3A}"/>
          </ac:spMkLst>
        </pc:spChg>
        <pc:spChg chg="del">
          <ac:chgData name="Alfawzan, Lujain" userId="5542ab1a-fb35-4379-8837-59a3729222cc" providerId="ADAL" clId="{3B8D064A-583E-44DC-B3B3-6387FA60473B}" dt="2024-01-01T12:08:13.085" v="1308" actId="478"/>
          <ac:spMkLst>
            <pc:docMk/>
            <pc:sldMk cId="3016214707" sldId="2147472191"/>
            <ac:spMk id="24" creationId="{13892E3E-42DD-FF3E-EE0F-AB848104A974}"/>
          </ac:spMkLst>
        </pc:spChg>
        <pc:picChg chg="del mod">
          <ac:chgData name="Alfawzan, Lujain" userId="5542ab1a-fb35-4379-8837-59a3729222cc" providerId="ADAL" clId="{3B8D064A-583E-44DC-B3B3-6387FA60473B}" dt="2024-01-01T12:08:11.040" v="1307" actId="478"/>
          <ac:picMkLst>
            <pc:docMk/>
            <pc:sldMk cId="3016214707" sldId="2147472191"/>
            <ac:picMk id="22" creationId="{7693BE90-8F6F-DE02-8DA1-5B1676D09FFE}"/>
          </ac:picMkLst>
        </pc:picChg>
      </pc:sldChg>
      <pc:sldChg chg="addSp delSp modSp mod">
        <pc:chgData name="Alfawzan, Lujain" userId="5542ab1a-fb35-4379-8837-59a3729222cc" providerId="ADAL" clId="{3B8D064A-583E-44DC-B3B3-6387FA60473B}" dt="2024-01-02T07:02:04.454" v="3509" actId="20577"/>
        <pc:sldMkLst>
          <pc:docMk/>
          <pc:sldMk cId="1730741612" sldId="2147472192"/>
        </pc:sldMkLst>
        <pc:spChg chg="add del mod">
          <ac:chgData name="Alfawzan, Lujain" userId="5542ab1a-fb35-4379-8837-59a3729222cc" providerId="ADAL" clId="{3B8D064A-583E-44DC-B3B3-6387FA60473B}" dt="2024-01-02T06:06:56.666" v="2867"/>
          <ac:spMkLst>
            <pc:docMk/>
            <pc:sldMk cId="1730741612" sldId="2147472192"/>
            <ac:spMk id="5" creationId="{BD08EF49-50EB-7B44-61A4-ABC46D0C003F}"/>
          </ac:spMkLst>
        </pc:spChg>
        <pc:spChg chg="mod ord">
          <ac:chgData name="Alfawzan, Lujain" userId="5542ab1a-fb35-4379-8837-59a3729222cc" providerId="ADAL" clId="{3B8D064A-583E-44DC-B3B3-6387FA60473B}" dt="2024-01-02T06:07:10.479" v="2871" actId="166"/>
          <ac:spMkLst>
            <pc:docMk/>
            <pc:sldMk cId="1730741612" sldId="2147472192"/>
            <ac:spMk id="6" creationId="{F8F7524F-1A5A-4C58-3EEA-1CBD196D15D0}"/>
          </ac:spMkLst>
        </pc:spChg>
        <pc:spChg chg="add mod">
          <ac:chgData name="Alfawzan, Lujain" userId="5542ab1a-fb35-4379-8837-59a3729222cc" providerId="ADAL" clId="{3B8D064A-583E-44DC-B3B3-6387FA60473B}" dt="2024-01-02T06:07:04.115" v="2869" actId="1076"/>
          <ac:spMkLst>
            <pc:docMk/>
            <pc:sldMk cId="1730741612" sldId="2147472192"/>
            <ac:spMk id="7" creationId="{CEC91674-26BB-568D-3CA7-F8C4A7E26169}"/>
          </ac:spMkLst>
        </pc:spChg>
        <pc:spChg chg="mod">
          <ac:chgData name="Alfawzan, Lujain" userId="5542ab1a-fb35-4379-8837-59a3729222cc" providerId="ADAL" clId="{3B8D064A-583E-44DC-B3B3-6387FA60473B}" dt="2024-01-02T06:03:29.591" v="2810"/>
          <ac:spMkLst>
            <pc:docMk/>
            <pc:sldMk cId="1730741612" sldId="2147472192"/>
            <ac:spMk id="9" creationId="{7516321A-B103-977A-0CDC-653E1B64225D}"/>
          </ac:spMkLst>
        </pc:spChg>
        <pc:spChg chg="mod">
          <ac:chgData name="Alfawzan, Lujain" userId="5542ab1a-fb35-4379-8837-59a3729222cc" providerId="ADAL" clId="{3B8D064A-583E-44DC-B3B3-6387FA60473B}" dt="2024-01-02T06:08:14.526" v="2906" actId="20577"/>
          <ac:spMkLst>
            <pc:docMk/>
            <pc:sldMk cId="1730741612" sldId="2147472192"/>
            <ac:spMk id="17" creationId="{06C0066E-45D8-F23A-6F3A-FD4356816B2F}"/>
          </ac:spMkLst>
        </pc:spChg>
        <pc:spChg chg="mod">
          <ac:chgData name="Alfawzan, Lujain" userId="5542ab1a-fb35-4379-8837-59a3729222cc" providerId="ADAL" clId="{3B8D064A-583E-44DC-B3B3-6387FA60473B}" dt="2024-01-02T07:02:04.454" v="3509" actId="20577"/>
          <ac:spMkLst>
            <pc:docMk/>
            <pc:sldMk cId="1730741612" sldId="2147472192"/>
            <ac:spMk id="19" creationId="{9D08F294-05A0-2789-EF7B-BFE75FB1B9FC}"/>
          </ac:spMkLst>
        </pc:spChg>
        <pc:spChg chg="mod">
          <ac:chgData name="Alfawzan, Lujain" userId="5542ab1a-fb35-4379-8837-59a3729222cc" providerId="ADAL" clId="{3B8D064A-583E-44DC-B3B3-6387FA60473B}" dt="2024-01-02T06:08:40.302" v="2919" actId="20577"/>
          <ac:spMkLst>
            <pc:docMk/>
            <pc:sldMk cId="1730741612" sldId="2147472192"/>
            <ac:spMk id="22" creationId="{1E8A2EB5-99AD-73BF-E84C-010ED5AF5527}"/>
          </ac:spMkLst>
        </pc:spChg>
        <pc:graphicFrameChg chg="add mod">
          <ac:chgData name="Alfawzan, Lujain" userId="5542ab1a-fb35-4379-8837-59a3729222cc" providerId="ADAL" clId="{3B8D064A-583E-44DC-B3B3-6387FA60473B}" dt="2024-01-02T06:06:41.775" v="2863" actId="1076"/>
          <ac:graphicFrameMkLst>
            <pc:docMk/>
            <pc:sldMk cId="1730741612" sldId="2147472192"/>
            <ac:graphicFrameMk id="2" creationId="{0C3CD3F3-5C20-D4FF-95A8-A9BD6626DEEE}"/>
          </ac:graphicFrameMkLst>
        </pc:graphicFrameChg>
        <pc:picChg chg="del">
          <ac:chgData name="Alfawzan, Lujain" userId="5542ab1a-fb35-4379-8837-59a3729222cc" providerId="ADAL" clId="{3B8D064A-583E-44DC-B3B3-6387FA60473B}" dt="2024-01-02T06:06:37.424" v="2861" actId="478"/>
          <ac:picMkLst>
            <pc:docMk/>
            <pc:sldMk cId="1730741612" sldId="2147472192"/>
            <ac:picMk id="3" creationId="{CB61E4B8-20DF-5BA4-B6D8-5217E754EA64}"/>
          </ac:picMkLst>
        </pc:picChg>
      </pc:sldChg>
      <pc:sldChg chg="addSp delSp modSp mod">
        <pc:chgData name="Alfawzan, Lujain" userId="5542ab1a-fb35-4379-8837-59a3729222cc" providerId="ADAL" clId="{3B8D064A-583E-44DC-B3B3-6387FA60473B}" dt="2024-01-02T07:01:54.468" v="3506" actId="108"/>
        <pc:sldMkLst>
          <pc:docMk/>
          <pc:sldMk cId="470543264" sldId="2147472193"/>
        </pc:sldMkLst>
        <pc:spChg chg="del">
          <ac:chgData name="Alfawzan, Lujain" userId="5542ab1a-fb35-4379-8837-59a3729222cc" providerId="ADAL" clId="{3B8D064A-583E-44DC-B3B3-6387FA60473B}" dt="2024-01-02T06:10:03.729" v="2934" actId="478"/>
          <ac:spMkLst>
            <pc:docMk/>
            <pc:sldMk cId="470543264" sldId="2147472193"/>
            <ac:spMk id="4" creationId="{CB039CD5-D03A-8274-2527-D2A1D85FF17E}"/>
          </ac:spMkLst>
        </pc:spChg>
        <pc:spChg chg="mod">
          <ac:chgData name="Alfawzan, Lujain" userId="5542ab1a-fb35-4379-8837-59a3729222cc" providerId="ADAL" clId="{3B8D064A-583E-44DC-B3B3-6387FA60473B}" dt="2024-01-02T06:09:22.295" v="2924"/>
          <ac:spMkLst>
            <pc:docMk/>
            <pc:sldMk cId="470543264" sldId="2147472193"/>
            <ac:spMk id="5" creationId="{0564BCBE-C27C-921F-3AA9-34CD82D3BD67}"/>
          </ac:spMkLst>
        </pc:spChg>
        <pc:spChg chg="mod">
          <ac:chgData name="Alfawzan, Lujain" userId="5542ab1a-fb35-4379-8837-59a3729222cc" providerId="ADAL" clId="{3B8D064A-583E-44DC-B3B3-6387FA60473B}" dt="2024-01-02T06:10:54.937" v="2946" actId="20577"/>
          <ac:spMkLst>
            <pc:docMk/>
            <pc:sldMk cId="470543264" sldId="2147472193"/>
            <ac:spMk id="6" creationId="{6C6E46D1-9928-6F5D-9E42-D7E1F30C0432}"/>
          </ac:spMkLst>
        </pc:spChg>
        <pc:spChg chg="del">
          <ac:chgData name="Alfawzan, Lujain" userId="5542ab1a-fb35-4379-8837-59a3729222cc" providerId="ADAL" clId="{3B8D064A-583E-44DC-B3B3-6387FA60473B}" dt="2024-01-02T06:09:58.705" v="2932" actId="478"/>
          <ac:spMkLst>
            <pc:docMk/>
            <pc:sldMk cId="470543264" sldId="2147472193"/>
            <ac:spMk id="9" creationId="{8361C6A6-4C21-568A-B911-567519A6BDB2}"/>
          </ac:spMkLst>
        </pc:spChg>
        <pc:spChg chg="mod">
          <ac:chgData name="Alfawzan, Lujain" userId="5542ab1a-fb35-4379-8837-59a3729222cc" providerId="ADAL" clId="{3B8D064A-583E-44DC-B3B3-6387FA60473B}" dt="2024-01-02T06:09:53.439" v="2929"/>
          <ac:spMkLst>
            <pc:docMk/>
            <pc:sldMk cId="470543264" sldId="2147472193"/>
            <ac:spMk id="13" creationId="{33DDE945-E8CA-2113-0778-A7C5E1D6F168}"/>
          </ac:spMkLst>
        </pc:spChg>
        <pc:spChg chg="mod">
          <ac:chgData name="Alfawzan, Lujain" userId="5542ab1a-fb35-4379-8837-59a3729222cc" providerId="ADAL" clId="{3B8D064A-583E-44DC-B3B3-6387FA60473B}" dt="2024-01-02T07:01:54.468" v="3506" actId="108"/>
          <ac:spMkLst>
            <pc:docMk/>
            <pc:sldMk cId="470543264" sldId="2147472193"/>
            <ac:spMk id="14" creationId="{74E8D412-29B6-7CB8-793B-7E0D9E36ADE2}"/>
          </ac:spMkLst>
        </pc:spChg>
        <pc:spChg chg="mod ord">
          <ac:chgData name="Alfawzan, Lujain" userId="5542ab1a-fb35-4379-8837-59a3729222cc" providerId="ADAL" clId="{3B8D064A-583E-44DC-B3B3-6387FA60473B}" dt="2024-01-02T06:12:52.426" v="2973" actId="1076"/>
          <ac:spMkLst>
            <pc:docMk/>
            <pc:sldMk cId="470543264" sldId="2147472193"/>
            <ac:spMk id="18" creationId="{58B2E7CF-BAC7-A5AE-DD6A-68589EB1F0F8}"/>
          </ac:spMkLst>
        </pc:spChg>
        <pc:grpChg chg="add mod">
          <ac:chgData name="Alfawzan, Lujain" userId="5542ab1a-fb35-4379-8837-59a3729222cc" providerId="ADAL" clId="{3B8D064A-583E-44DC-B3B3-6387FA60473B}" dt="2024-01-02T06:12:41.402" v="2971" actId="1076"/>
          <ac:grpSpMkLst>
            <pc:docMk/>
            <pc:sldMk cId="470543264" sldId="2147472193"/>
            <ac:grpSpMk id="15" creationId="{182A4CE7-CB32-0AE1-97D9-A2B6E1DA2F51}"/>
          </ac:grpSpMkLst>
        </pc:grpChg>
        <pc:grpChg chg="mod">
          <ac:chgData name="Alfawzan, Lujain" userId="5542ab1a-fb35-4379-8837-59a3729222cc" providerId="ADAL" clId="{3B8D064A-583E-44DC-B3B3-6387FA60473B}" dt="2024-01-02T06:12:41.402" v="2971" actId="1076"/>
          <ac:grpSpMkLst>
            <pc:docMk/>
            <pc:sldMk cId="470543264" sldId="2147472193"/>
            <ac:grpSpMk id="17" creationId="{35D54EF0-F3ED-AF74-1A3C-A63E49ED3104}"/>
          </ac:grpSpMkLst>
        </pc:grpChg>
        <pc:picChg chg="del mod">
          <ac:chgData name="Alfawzan, Lujain" userId="5542ab1a-fb35-4379-8837-59a3729222cc" providerId="ADAL" clId="{3B8D064A-583E-44DC-B3B3-6387FA60473B}" dt="2024-01-02T06:09:55.873" v="2931" actId="478"/>
          <ac:picMkLst>
            <pc:docMk/>
            <pc:sldMk cId="470543264" sldId="2147472193"/>
            <ac:picMk id="8" creationId="{C9887FC6-D2FA-D993-7FCA-934033B9E90E}"/>
          </ac:picMkLst>
        </pc:picChg>
        <pc:picChg chg="del">
          <ac:chgData name="Alfawzan, Lujain" userId="5542ab1a-fb35-4379-8837-59a3729222cc" providerId="ADAL" clId="{3B8D064A-583E-44DC-B3B3-6387FA60473B}" dt="2024-01-02T06:10:00.202" v="2933" actId="478"/>
          <ac:picMkLst>
            <pc:docMk/>
            <pc:sldMk cId="470543264" sldId="2147472193"/>
            <ac:picMk id="16" creationId="{C1A71CEE-3D17-7BCC-1EA9-304BB9B6ACFC}"/>
          </ac:picMkLst>
        </pc:picChg>
        <pc:picChg chg="mod">
          <ac:chgData name="Alfawzan, Lujain" userId="5542ab1a-fb35-4379-8837-59a3729222cc" providerId="ADAL" clId="{3B8D064A-583E-44DC-B3B3-6387FA60473B}" dt="2024-01-02T06:12:59.064" v="2974" actId="1076"/>
          <ac:picMkLst>
            <pc:docMk/>
            <pc:sldMk cId="470543264" sldId="2147472193"/>
            <ac:picMk id="19" creationId="{0B14765C-AA48-9E7B-8500-B5B286426E06}"/>
          </ac:picMkLst>
        </pc:picChg>
        <pc:picChg chg="mod">
          <ac:chgData name="Alfawzan, Lujain" userId="5542ab1a-fb35-4379-8837-59a3729222cc" providerId="ADAL" clId="{3B8D064A-583E-44DC-B3B3-6387FA60473B}" dt="2024-01-02T06:12:41.402" v="2971" actId="1076"/>
          <ac:picMkLst>
            <pc:docMk/>
            <pc:sldMk cId="470543264" sldId="2147472193"/>
            <ac:picMk id="20" creationId="{C7A3A8DD-8EE1-B326-111E-1B9E4EB4ECE0}"/>
          </ac:picMkLst>
        </pc:picChg>
        <pc:picChg chg="mod">
          <ac:chgData name="Alfawzan, Lujain" userId="5542ab1a-fb35-4379-8837-59a3729222cc" providerId="ADAL" clId="{3B8D064A-583E-44DC-B3B3-6387FA60473B}" dt="2024-01-02T06:12:41.402" v="2971" actId="1076"/>
          <ac:picMkLst>
            <pc:docMk/>
            <pc:sldMk cId="470543264" sldId="2147472193"/>
            <ac:picMk id="21" creationId="{DBBA4238-9C35-86B2-8BD7-5E5CD1488922}"/>
          </ac:picMkLst>
        </pc:picChg>
        <pc:picChg chg="mod">
          <ac:chgData name="Alfawzan, Lujain" userId="5542ab1a-fb35-4379-8837-59a3729222cc" providerId="ADAL" clId="{3B8D064A-583E-44DC-B3B3-6387FA60473B}" dt="2024-01-02T06:12:41.402" v="2971" actId="1076"/>
          <ac:picMkLst>
            <pc:docMk/>
            <pc:sldMk cId="470543264" sldId="2147472193"/>
            <ac:picMk id="22" creationId="{EA1AFBA3-EC3F-77F7-9F57-4B91AF10B939}"/>
          </ac:picMkLst>
        </pc:picChg>
        <pc:picChg chg="mod">
          <ac:chgData name="Alfawzan, Lujain" userId="5542ab1a-fb35-4379-8837-59a3729222cc" providerId="ADAL" clId="{3B8D064A-583E-44DC-B3B3-6387FA60473B}" dt="2024-01-02T06:12:41.402" v="2971" actId="1076"/>
          <ac:picMkLst>
            <pc:docMk/>
            <pc:sldMk cId="470543264" sldId="2147472193"/>
            <ac:picMk id="23" creationId="{DEFCEC6B-A79A-1A6E-41D7-26911C0253C6}"/>
          </ac:picMkLst>
        </pc:picChg>
        <pc:picChg chg="mod">
          <ac:chgData name="Alfawzan, Lujain" userId="5542ab1a-fb35-4379-8837-59a3729222cc" providerId="ADAL" clId="{3B8D064A-583E-44DC-B3B3-6387FA60473B}" dt="2024-01-02T06:12:41.402" v="2971" actId="1076"/>
          <ac:picMkLst>
            <pc:docMk/>
            <pc:sldMk cId="470543264" sldId="2147472193"/>
            <ac:picMk id="24" creationId="{2C2993DE-C46C-FE16-CEA7-A82C69D13B91}"/>
          </ac:picMkLst>
        </pc:picChg>
      </pc:sldChg>
      <pc:sldChg chg="del">
        <pc:chgData name="Alfawzan, Lujain" userId="5542ab1a-fb35-4379-8837-59a3729222cc" providerId="ADAL" clId="{3B8D064A-583E-44DC-B3B3-6387FA60473B}" dt="2024-01-02T06:13:15.194" v="2975" actId="47"/>
        <pc:sldMkLst>
          <pc:docMk/>
          <pc:sldMk cId="3653975131" sldId="2147472194"/>
        </pc:sldMkLst>
      </pc:sldChg>
      <pc:sldChg chg="del">
        <pc:chgData name="Alfawzan, Lujain" userId="5542ab1a-fb35-4379-8837-59a3729222cc" providerId="ADAL" clId="{3B8D064A-583E-44DC-B3B3-6387FA60473B}" dt="2024-01-02T06:13:29.423" v="2976" actId="47"/>
        <pc:sldMkLst>
          <pc:docMk/>
          <pc:sldMk cId="500158311" sldId="2147472195"/>
        </pc:sldMkLst>
      </pc:sldChg>
      <pc:sldChg chg="modSp mod">
        <pc:chgData name="Alfawzan, Lujain" userId="5542ab1a-fb35-4379-8837-59a3729222cc" providerId="ADAL" clId="{3B8D064A-583E-44DC-B3B3-6387FA60473B}" dt="2024-01-02T07:07:56.022" v="3568" actId="20577"/>
        <pc:sldMkLst>
          <pc:docMk/>
          <pc:sldMk cId="1828999297" sldId="2147472197"/>
        </pc:sldMkLst>
        <pc:spChg chg="mod">
          <ac:chgData name="Alfawzan, Lujain" userId="5542ab1a-fb35-4379-8837-59a3729222cc" providerId="ADAL" clId="{3B8D064A-583E-44DC-B3B3-6387FA60473B}" dt="2024-01-02T07:06:44.643" v="3562"/>
          <ac:spMkLst>
            <pc:docMk/>
            <pc:sldMk cId="1828999297" sldId="2147472197"/>
            <ac:spMk id="10" creationId="{1F7DB244-02B0-10C9-FA3B-98DF03FB98E6}"/>
          </ac:spMkLst>
        </pc:spChg>
        <pc:spChg chg="mod">
          <ac:chgData name="Alfawzan, Lujain" userId="5542ab1a-fb35-4379-8837-59a3729222cc" providerId="ADAL" clId="{3B8D064A-583E-44DC-B3B3-6387FA60473B}" dt="2024-01-02T07:07:56.022" v="3568" actId="20577"/>
          <ac:spMkLst>
            <pc:docMk/>
            <pc:sldMk cId="1828999297" sldId="2147472197"/>
            <ac:spMk id="11" creationId="{58FB33F6-3268-2CDB-B922-209AE5D174A5}"/>
          </ac:spMkLst>
        </pc:spChg>
        <pc:spChg chg="mod">
          <ac:chgData name="Alfawzan, Lujain" userId="5542ab1a-fb35-4379-8837-59a3729222cc" providerId="ADAL" clId="{3B8D064A-583E-44DC-B3B3-6387FA60473B}" dt="2024-01-02T07:07:45.250" v="3567" actId="20577"/>
          <ac:spMkLst>
            <pc:docMk/>
            <pc:sldMk cId="1828999297" sldId="2147472197"/>
            <ac:spMk id="12" creationId="{42A96840-F8AA-87A4-B9EB-2ABA7D1655F9}"/>
          </ac:spMkLst>
        </pc:spChg>
      </pc:sldChg>
      <pc:sldChg chg="modSp mod">
        <pc:chgData name="Alfawzan, Lujain" userId="5542ab1a-fb35-4379-8837-59a3729222cc" providerId="ADAL" clId="{3B8D064A-583E-44DC-B3B3-6387FA60473B}" dt="2024-01-02T07:08:05.440" v="3571" actId="20577"/>
        <pc:sldMkLst>
          <pc:docMk/>
          <pc:sldMk cId="3234539576" sldId="2147472199"/>
        </pc:sldMkLst>
        <pc:spChg chg="mod">
          <ac:chgData name="Alfawzan, Lujain" userId="5542ab1a-fb35-4379-8837-59a3729222cc" providerId="ADAL" clId="{3B8D064A-583E-44DC-B3B3-6387FA60473B}" dt="2024-01-02T07:08:05.440" v="3571" actId="20577"/>
          <ac:spMkLst>
            <pc:docMk/>
            <pc:sldMk cId="3234539576" sldId="2147472199"/>
            <ac:spMk id="10" creationId="{AE4746F4-B724-2713-9FD3-C4C413941735}"/>
          </ac:spMkLst>
        </pc:spChg>
      </pc:sldChg>
      <pc:sldChg chg="modSp">
        <pc:chgData name="Alfawzan, Lujain" userId="5542ab1a-fb35-4379-8837-59a3729222cc" providerId="ADAL" clId="{3B8D064A-583E-44DC-B3B3-6387FA60473B}" dt="2024-01-02T07:06:44.643" v="3562"/>
        <pc:sldMkLst>
          <pc:docMk/>
          <pc:sldMk cId="3627460361" sldId="2147472200"/>
        </pc:sldMkLst>
        <pc:spChg chg="mod">
          <ac:chgData name="Alfawzan, Lujain" userId="5542ab1a-fb35-4379-8837-59a3729222cc" providerId="ADAL" clId="{3B8D064A-583E-44DC-B3B3-6387FA60473B}" dt="2024-01-02T07:06:44.643" v="3562"/>
          <ac:spMkLst>
            <pc:docMk/>
            <pc:sldMk cId="3627460361" sldId="2147472200"/>
            <ac:spMk id="11" creationId="{85F8F49E-8474-8A18-57F5-135FAD0E6B14}"/>
          </ac:spMkLst>
        </pc:spChg>
        <pc:spChg chg="mod">
          <ac:chgData name="Alfawzan, Lujain" userId="5542ab1a-fb35-4379-8837-59a3729222cc" providerId="ADAL" clId="{3B8D064A-583E-44DC-B3B3-6387FA60473B}" dt="2024-01-02T07:06:44.643" v="3562"/>
          <ac:spMkLst>
            <pc:docMk/>
            <pc:sldMk cId="3627460361" sldId="2147472200"/>
            <ac:spMk id="21" creationId="{F55C1565-307D-C071-4A5C-48C9F8D0C388}"/>
          </ac:spMkLst>
        </pc:spChg>
      </pc:sldChg>
      <pc:sldChg chg="modSp">
        <pc:chgData name="Alfawzan, Lujain" userId="5542ab1a-fb35-4379-8837-59a3729222cc" providerId="ADAL" clId="{3B8D064A-583E-44DC-B3B3-6387FA60473B}" dt="2024-01-02T07:06:44.643" v="3562"/>
        <pc:sldMkLst>
          <pc:docMk/>
          <pc:sldMk cId="3489560597" sldId="2147472201"/>
        </pc:sldMkLst>
        <pc:spChg chg="mod">
          <ac:chgData name="Alfawzan, Lujain" userId="5542ab1a-fb35-4379-8837-59a3729222cc" providerId="ADAL" clId="{3B8D064A-583E-44DC-B3B3-6387FA60473B}" dt="2024-01-02T07:06:44.643" v="3562"/>
          <ac:spMkLst>
            <pc:docMk/>
            <pc:sldMk cId="3489560597" sldId="2147472201"/>
            <ac:spMk id="11" creationId="{18316A99-F272-294B-2DDC-F696B1DD9C07}"/>
          </ac:spMkLst>
        </pc:spChg>
        <pc:spChg chg="mod">
          <ac:chgData name="Alfawzan, Lujain" userId="5542ab1a-fb35-4379-8837-59a3729222cc" providerId="ADAL" clId="{3B8D064A-583E-44DC-B3B3-6387FA60473B}" dt="2024-01-02T07:06:44.643" v="3562"/>
          <ac:spMkLst>
            <pc:docMk/>
            <pc:sldMk cId="3489560597" sldId="2147472201"/>
            <ac:spMk id="20" creationId="{64961E83-4FE9-D911-4217-D5680A3C7F81}"/>
          </ac:spMkLst>
        </pc:spChg>
      </pc:sldChg>
      <pc:sldChg chg="modSp mod">
        <pc:chgData name="Alfawzan, Lujain" userId="5542ab1a-fb35-4379-8837-59a3729222cc" providerId="ADAL" clId="{3B8D064A-583E-44DC-B3B3-6387FA60473B}" dt="2024-01-02T07:05:31.364" v="3548" actId="20577"/>
        <pc:sldMkLst>
          <pc:docMk/>
          <pc:sldMk cId="3106695573" sldId="2147479536"/>
        </pc:sldMkLst>
        <pc:spChg chg="mod">
          <ac:chgData name="Alfawzan, Lujain" userId="5542ab1a-fb35-4379-8837-59a3729222cc" providerId="ADAL" clId="{3B8D064A-583E-44DC-B3B3-6387FA60473B}" dt="2024-01-02T07:04:36.841" v="3530" actId="20577"/>
          <ac:spMkLst>
            <pc:docMk/>
            <pc:sldMk cId="3106695573" sldId="2147479536"/>
            <ac:spMk id="33" creationId="{228F53B1-FF0D-71E1-002C-C3E81070C97F}"/>
          </ac:spMkLst>
        </pc:spChg>
        <pc:spChg chg="mod">
          <ac:chgData name="Alfawzan, Lujain" userId="5542ab1a-fb35-4379-8837-59a3729222cc" providerId="ADAL" clId="{3B8D064A-583E-44DC-B3B3-6387FA60473B}" dt="2024-01-02T07:05:12.357" v="3538" actId="20577"/>
          <ac:spMkLst>
            <pc:docMk/>
            <pc:sldMk cId="3106695573" sldId="2147479536"/>
            <ac:spMk id="62" creationId="{A38C9148-6E4D-599B-4D15-39DB09BC144F}"/>
          </ac:spMkLst>
        </pc:spChg>
        <pc:spChg chg="mod">
          <ac:chgData name="Alfawzan, Lujain" userId="5542ab1a-fb35-4379-8837-59a3729222cc" providerId="ADAL" clId="{3B8D064A-583E-44DC-B3B3-6387FA60473B}" dt="2024-01-02T07:05:22.193" v="3543" actId="20577"/>
          <ac:spMkLst>
            <pc:docMk/>
            <pc:sldMk cId="3106695573" sldId="2147479536"/>
            <ac:spMk id="63" creationId="{748D6C60-899C-FB67-490D-49FCDF61C863}"/>
          </ac:spMkLst>
        </pc:spChg>
        <pc:spChg chg="mod">
          <ac:chgData name="Alfawzan, Lujain" userId="5542ab1a-fb35-4379-8837-59a3729222cc" providerId="ADAL" clId="{3B8D064A-583E-44DC-B3B3-6387FA60473B}" dt="2024-01-02T07:05:31.364" v="3548" actId="20577"/>
          <ac:spMkLst>
            <pc:docMk/>
            <pc:sldMk cId="3106695573" sldId="2147479536"/>
            <ac:spMk id="64" creationId="{43044D3B-5E2F-B177-0B8C-3B9A407D0A40}"/>
          </ac:spMkLst>
        </pc:spChg>
      </pc:sldChg>
      <pc:sldChg chg="modSp mod">
        <pc:chgData name="Alfawzan, Lujain" userId="5542ab1a-fb35-4379-8837-59a3729222cc" providerId="ADAL" clId="{3B8D064A-583E-44DC-B3B3-6387FA60473B}" dt="2024-01-02T06:57:55.028" v="3482" actId="20577"/>
        <pc:sldMkLst>
          <pc:docMk/>
          <pc:sldMk cId="4029893540" sldId="2147479537"/>
        </pc:sldMkLst>
        <pc:spChg chg="mod">
          <ac:chgData name="Alfawzan, Lujain" userId="5542ab1a-fb35-4379-8837-59a3729222cc" providerId="ADAL" clId="{3B8D064A-583E-44DC-B3B3-6387FA60473B}" dt="2024-01-02T06:57:55.028" v="3482" actId="20577"/>
          <ac:spMkLst>
            <pc:docMk/>
            <pc:sldMk cId="4029893540" sldId="2147479537"/>
            <ac:spMk id="2" creationId="{2E021508-94F7-22FA-5E40-A81C56062659}"/>
          </ac:spMkLst>
        </pc:spChg>
      </pc:sldChg>
      <pc:sldChg chg="modSp mod">
        <pc:chgData name="Alfawzan, Lujain" userId="5542ab1a-fb35-4379-8837-59a3729222cc" providerId="ADAL" clId="{3B8D064A-583E-44DC-B3B3-6387FA60473B}" dt="2024-01-02T06:57:15.278" v="3466" actId="20577"/>
        <pc:sldMkLst>
          <pc:docMk/>
          <pc:sldMk cId="1829617626" sldId="2147479538"/>
        </pc:sldMkLst>
        <pc:spChg chg="mod">
          <ac:chgData name="Alfawzan, Lujain" userId="5542ab1a-fb35-4379-8837-59a3729222cc" providerId="ADAL" clId="{3B8D064A-583E-44DC-B3B3-6387FA60473B}" dt="2024-01-02T06:57:15.278" v="3466" actId="20577"/>
          <ac:spMkLst>
            <pc:docMk/>
            <pc:sldMk cId="1829617626" sldId="2147479538"/>
            <ac:spMk id="2" creationId="{92BFE787-C89C-515D-0EF6-0B83A6890AE7}"/>
          </ac:spMkLst>
        </pc:spChg>
      </pc:sldChg>
      <pc:sldChg chg="del">
        <pc:chgData name="Alfawzan, Lujain" userId="5542ab1a-fb35-4379-8837-59a3729222cc" providerId="ADAL" clId="{3B8D064A-583E-44DC-B3B3-6387FA60473B}" dt="2024-01-02T06:30:55.026" v="3219" actId="47"/>
        <pc:sldMkLst>
          <pc:docMk/>
          <pc:sldMk cId="132118669" sldId="2147479540"/>
        </pc:sldMkLst>
      </pc:sldChg>
      <pc:sldChg chg="modSp mod">
        <pc:chgData name="Alfawzan, Lujain" userId="5542ab1a-fb35-4379-8837-59a3729222cc" providerId="ADAL" clId="{3B8D064A-583E-44DC-B3B3-6387FA60473B}" dt="2024-01-02T06:37:20.063" v="3324" actId="20577"/>
        <pc:sldMkLst>
          <pc:docMk/>
          <pc:sldMk cId="1218059526" sldId="2147479547"/>
        </pc:sldMkLst>
        <pc:spChg chg="mod">
          <ac:chgData name="Alfawzan, Lujain" userId="5542ab1a-fb35-4379-8837-59a3729222cc" providerId="ADAL" clId="{3B8D064A-583E-44DC-B3B3-6387FA60473B}" dt="2024-01-02T06:31:06.894" v="3236" actId="20577"/>
          <ac:spMkLst>
            <pc:docMk/>
            <pc:sldMk cId="1218059526" sldId="2147479547"/>
            <ac:spMk id="41" creationId="{759A0B1E-9D78-FFAD-0251-6A24DFE2F99E}"/>
          </ac:spMkLst>
        </pc:spChg>
        <pc:spChg chg="mod">
          <ac:chgData name="Alfawzan, Lujain" userId="5542ab1a-fb35-4379-8837-59a3729222cc" providerId="ADAL" clId="{3B8D064A-583E-44DC-B3B3-6387FA60473B}" dt="2024-01-02T06:37:13.568" v="3308"/>
          <ac:spMkLst>
            <pc:docMk/>
            <pc:sldMk cId="1218059526" sldId="2147479547"/>
            <ac:spMk id="74" creationId="{CA5C8E26-840E-4FBA-1B65-16254EB09359}"/>
          </ac:spMkLst>
        </pc:spChg>
        <pc:spChg chg="mod">
          <ac:chgData name="Alfawzan, Lujain" userId="5542ab1a-fb35-4379-8837-59a3729222cc" providerId="ADAL" clId="{3B8D064A-583E-44DC-B3B3-6387FA60473B}" dt="2024-01-02T06:37:20.063" v="3324" actId="20577"/>
          <ac:spMkLst>
            <pc:docMk/>
            <pc:sldMk cId="1218059526" sldId="2147479547"/>
            <ac:spMk id="77" creationId="{1D11AE9E-ED1C-FE3C-83AC-06422044C214}"/>
          </ac:spMkLst>
        </pc:spChg>
        <pc:spChg chg="mod">
          <ac:chgData name="Alfawzan, Lujain" userId="5542ab1a-fb35-4379-8837-59a3729222cc" providerId="ADAL" clId="{3B8D064A-583E-44DC-B3B3-6387FA60473B}" dt="2024-01-02T06:34:48.872" v="3307" actId="20577"/>
          <ac:spMkLst>
            <pc:docMk/>
            <pc:sldMk cId="1218059526" sldId="2147479547"/>
            <ac:spMk id="79" creationId="{30F3C000-B50F-6612-651A-D1E1D222E53F}"/>
          </ac:spMkLst>
        </pc:spChg>
        <pc:spChg chg="mod">
          <ac:chgData name="Alfawzan, Lujain" userId="5542ab1a-fb35-4379-8837-59a3729222cc" providerId="ADAL" clId="{3B8D064A-583E-44DC-B3B3-6387FA60473B}" dt="2024-01-02T06:33:11.924" v="3259" actId="20577"/>
          <ac:spMkLst>
            <pc:docMk/>
            <pc:sldMk cId="1218059526" sldId="2147479547"/>
            <ac:spMk id="81" creationId="{ED1851B0-F324-C706-D26B-3AC0FA21BB13}"/>
          </ac:spMkLst>
        </pc:spChg>
      </pc:sldChg>
      <pc:sldChg chg="modSp mod">
        <pc:chgData name="Alfawzan, Lujain" userId="5542ab1a-fb35-4379-8837-59a3729222cc" providerId="ADAL" clId="{3B8D064A-583E-44DC-B3B3-6387FA60473B}" dt="2024-01-02T06:56:13.013" v="3457"/>
        <pc:sldMkLst>
          <pc:docMk/>
          <pc:sldMk cId="963063207" sldId="2147479551"/>
        </pc:sldMkLst>
        <pc:spChg chg="mod">
          <ac:chgData name="Alfawzan, Lujain" userId="5542ab1a-fb35-4379-8837-59a3729222cc" providerId="ADAL" clId="{3B8D064A-583E-44DC-B3B3-6387FA60473B}" dt="2024-01-02T06:55:22.769" v="3440" actId="20577"/>
          <ac:spMkLst>
            <pc:docMk/>
            <pc:sldMk cId="963063207" sldId="2147479551"/>
            <ac:spMk id="31" creationId="{EB336CB1-F0AF-00B0-D7E1-DFC95C0695C1}"/>
          </ac:spMkLst>
        </pc:spChg>
        <pc:spChg chg="mod">
          <ac:chgData name="Alfawzan, Lujain" userId="5542ab1a-fb35-4379-8837-59a3729222cc" providerId="ADAL" clId="{3B8D064A-583E-44DC-B3B3-6387FA60473B}" dt="2024-01-02T06:56:13.013" v="3457"/>
          <ac:spMkLst>
            <pc:docMk/>
            <pc:sldMk cId="963063207" sldId="2147479551"/>
            <ac:spMk id="37" creationId="{F37D77EF-4DB8-F167-B83B-E52FD757D243}"/>
          </ac:spMkLst>
        </pc:spChg>
      </pc:sldChg>
      <pc:sldChg chg="modSp mod">
        <pc:chgData name="Alfawzan, Lujain" userId="5542ab1a-fb35-4379-8837-59a3729222cc" providerId="ADAL" clId="{3B8D064A-583E-44DC-B3B3-6387FA60473B}" dt="2024-01-01T11:41:04.348" v="1013" actId="20577"/>
        <pc:sldMkLst>
          <pc:docMk/>
          <pc:sldMk cId="3652616824" sldId="2147479553"/>
        </pc:sldMkLst>
        <pc:spChg chg="mod">
          <ac:chgData name="Alfawzan, Lujain" userId="5542ab1a-fb35-4379-8837-59a3729222cc" providerId="ADAL" clId="{3B8D064A-583E-44DC-B3B3-6387FA60473B}" dt="2024-01-01T11:41:04.348" v="1013" actId="20577"/>
          <ac:spMkLst>
            <pc:docMk/>
            <pc:sldMk cId="3652616824" sldId="2147479553"/>
            <ac:spMk id="5" creationId="{86BC2E49-06D8-135E-EAC7-9C5A173F147A}"/>
          </ac:spMkLst>
        </pc:spChg>
      </pc:sldChg>
      <pc:sldChg chg="modSp mod">
        <pc:chgData name="Alfawzan, Lujain" userId="5542ab1a-fb35-4379-8837-59a3729222cc" providerId="ADAL" clId="{3B8D064A-583E-44DC-B3B3-6387FA60473B}" dt="2024-01-01T11:43:32.127" v="1044" actId="20577"/>
        <pc:sldMkLst>
          <pc:docMk/>
          <pc:sldMk cId="256600027" sldId="2147479555"/>
        </pc:sldMkLst>
        <pc:spChg chg="mod">
          <ac:chgData name="Alfawzan, Lujain" userId="5542ab1a-fb35-4379-8837-59a3729222cc" providerId="ADAL" clId="{3B8D064A-583E-44DC-B3B3-6387FA60473B}" dt="2024-01-01T11:43:03.445" v="1039" actId="20577"/>
          <ac:spMkLst>
            <pc:docMk/>
            <pc:sldMk cId="256600027" sldId="2147479555"/>
            <ac:spMk id="43" creationId="{60D148AD-1661-0128-790F-7598C0E4E0DF}"/>
          </ac:spMkLst>
        </pc:spChg>
        <pc:spChg chg="mod">
          <ac:chgData name="Alfawzan, Lujain" userId="5542ab1a-fb35-4379-8837-59a3729222cc" providerId="ADAL" clId="{3B8D064A-583E-44DC-B3B3-6387FA60473B}" dt="2024-01-01T11:42:41.746" v="1018" actId="20577"/>
          <ac:spMkLst>
            <pc:docMk/>
            <pc:sldMk cId="256600027" sldId="2147479555"/>
            <ac:spMk id="45" creationId="{60AA774A-DBCD-FA2C-C4AC-F2043FAA9299}"/>
          </ac:spMkLst>
        </pc:spChg>
        <pc:spChg chg="mod">
          <ac:chgData name="Alfawzan, Lujain" userId="5542ab1a-fb35-4379-8837-59a3729222cc" providerId="ADAL" clId="{3B8D064A-583E-44DC-B3B3-6387FA60473B}" dt="2024-01-01T11:43:32.127" v="1044" actId="20577"/>
          <ac:spMkLst>
            <pc:docMk/>
            <pc:sldMk cId="256600027" sldId="2147479555"/>
            <ac:spMk id="52" creationId="{A264C1D1-7A5E-CD29-D991-701CE8F810FA}"/>
          </ac:spMkLst>
        </pc:spChg>
      </pc:sldChg>
      <pc:sldChg chg="modSp mod ord">
        <pc:chgData name="Alfawzan, Lujain" userId="5542ab1a-fb35-4379-8837-59a3729222cc" providerId="ADAL" clId="{3B8D064A-583E-44DC-B3B3-6387FA60473B}" dt="2024-01-02T07:03:58.010" v="3526" actId="20577"/>
        <pc:sldMkLst>
          <pc:docMk/>
          <pc:sldMk cId="4098489044" sldId="2147479556"/>
        </pc:sldMkLst>
        <pc:spChg chg="mod">
          <ac:chgData name="Alfawzan, Lujain" userId="5542ab1a-fb35-4379-8837-59a3729222cc" providerId="ADAL" clId="{3B8D064A-583E-44DC-B3B3-6387FA60473B}" dt="2024-01-02T07:03:53.500" v="3524" actId="20577"/>
          <ac:spMkLst>
            <pc:docMk/>
            <pc:sldMk cId="4098489044" sldId="2147479556"/>
            <ac:spMk id="5" creationId="{25CA3B3D-3FFD-6F65-4576-3A1F6AB62827}"/>
          </ac:spMkLst>
        </pc:spChg>
        <pc:spChg chg="mod">
          <ac:chgData name="Alfawzan, Lujain" userId="5542ab1a-fb35-4379-8837-59a3729222cc" providerId="ADAL" clId="{3B8D064A-583E-44DC-B3B3-6387FA60473B}" dt="2024-01-01T11:44:31.092" v="1051" actId="20577"/>
          <ac:spMkLst>
            <pc:docMk/>
            <pc:sldMk cId="4098489044" sldId="2147479556"/>
            <ac:spMk id="8" creationId="{1820D49A-44A7-3E39-AF6E-ACB5A10BDEF9}"/>
          </ac:spMkLst>
        </pc:spChg>
        <pc:spChg chg="mod">
          <ac:chgData name="Alfawzan, Lujain" userId="5542ab1a-fb35-4379-8837-59a3729222cc" providerId="ADAL" clId="{3B8D064A-583E-44DC-B3B3-6387FA60473B}" dt="2024-01-02T07:03:58.010" v="3526" actId="20577"/>
          <ac:spMkLst>
            <pc:docMk/>
            <pc:sldMk cId="4098489044" sldId="2147479556"/>
            <ac:spMk id="14" creationId="{922B792C-16FA-517B-DB65-2F5DBA64C44C}"/>
          </ac:spMkLst>
        </pc:spChg>
      </pc:sldChg>
      <pc:sldChg chg="modSp del mod">
        <pc:chgData name="Alfawzan, Lujain" userId="5542ab1a-fb35-4379-8837-59a3729222cc" providerId="ADAL" clId="{3B8D064A-583E-44DC-B3B3-6387FA60473B}" dt="2024-01-02T02:58:14.810" v="2170" actId="47"/>
        <pc:sldMkLst>
          <pc:docMk/>
          <pc:sldMk cId="1192362056" sldId="2147479558"/>
        </pc:sldMkLst>
        <pc:spChg chg="mod">
          <ac:chgData name="Alfawzan, Lujain" userId="5542ab1a-fb35-4379-8837-59a3729222cc" providerId="ADAL" clId="{3B8D064A-583E-44DC-B3B3-6387FA60473B}" dt="2024-01-02T02:19:18.051" v="1392" actId="1076"/>
          <ac:spMkLst>
            <pc:docMk/>
            <pc:sldMk cId="1192362056" sldId="2147479558"/>
            <ac:spMk id="5" creationId="{73BAA790-FE7B-E03B-2C71-7FAEFECCC5A0}"/>
          </ac:spMkLst>
        </pc:spChg>
        <pc:graphicFrameChg chg="mod modGraphic">
          <ac:chgData name="Alfawzan, Lujain" userId="5542ab1a-fb35-4379-8837-59a3729222cc" providerId="ADAL" clId="{3B8D064A-583E-44DC-B3B3-6387FA60473B}" dt="2024-01-02T02:27:54.030" v="1423" actId="20577"/>
          <ac:graphicFrameMkLst>
            <pc:docMk/>
            <pc:sldMk cId="1192362056" sldId="2147479558"/>
            <ac:graphicFrameMk id="6" creationId="{4174133B-583D-857D-2D4E-67C3A8DB6C43}"/>
          </ac:graphicFrameMkLst>
        </pc:graphicFrameChg>
      </pc:sldChg>
      <pc:sldChg chg="modSp">
        <pc:chgData name="Alfawzan, Lujain" userId="5542ab1a-fb35-4379-8837-59a3729222cc" providerId="ADAL" clId="{3B8D064A-583E-44DC-B3B3-6387FA60473B}" dt="2024-01-02T07:07:38.326" v="3564"/>
        <pc:sldMkLst>
          <pc:docMk/>
          <pc:sldMk cId="2395944440" sldId="2147479559"/>
        </pc:sldMkLst>
        <pc:spChg chg="mod">
          <ac:chgData name="Alfawzan, Lujain" userId="5542ab1a-fb35-4379-8837-59a3729222cc" providerId="ADAL" clId="{3B8D064A-583E-44DC-B3B3-6387FA60473B}" dt="2024-01-02T07:07:38.326" v="3564"/>
          <ac:spMkLst>
            <pc:docMk/>
            <pc:sldMk cId="2395944440" sldId="2147479559"/>
            <ac:spMk id="13" creationId="{885D406F-B2FE-4686-8A0B-47FC56065756}"/>
          </ac:spMkLst>
        </pc:spChg>
      </pc:sldChg>
      <pc:sldChg chg="addSp delSp modSp mod ord">
        <pc:chgData name="Alfawzan, Lujain" userId="5542ab1a-fb35-4379-8837-59a3729222cc" providerId="ADAL" clId="{3B8D064A-583E-44DC-B3B3-6387FA60473B}" dt="2024-01-02T07:03:18.988" v="3521" actId="108"/>
        <pc:sldMkLst>
          <pc:docMk/>
          <pc:sldMk cId="3663195277" sldId="2147479564"/>
        </pc:sldMkLst>
        <pc:spChg chg="mod">
          <ac:chgData name="Alfawzan, Lujain" userId="5542ab1a-fb35-4379-8837-59a3729222cc" providerId="ADAL" clId="{3B8D064A-583E-44DC-B3B3-6387FA60473B}" dt="2024-01-01T11:56:47.962" v="1137" actId="5793"/>
          <ac:spMkLst>
            <pc:docMk/>
            <pc:sldMk cId="3663195277" sldId="2147479564"/>
            <ac:spMk id="4" creationId="{C4ED0885-CD66-777A-B69A-7B47DBCD398F}"/>
          </ac:spMkLst>
        </pc:spChg>
        <pc:spChg chg="mod">
          <ac:chgData name="Alfawzan, Lujain" userId="5542ab1a-fb35-4379-8837-59a3729222cc" providerId="ADAL" clId="{3B8D064A-583E-44DC-B3B3-6387FA60473B}" dt="2024-01-01T11:45:27.630" v="1061"/>
          <ac:spMkLst>
            <pc:docMk/>
            <pc:sldMk cId="3663195277" sldId="2147479564"/>
            <ac:spMk id="5" creationId="{25CA3B3D-3FFD-6F65-4576-3A1F6AB62827}"/>
          </ac:spMkLst>
        </pc:spChg>
        <pc:spChg chg="mod">
          <ac:chgData name="Alfawzan, Lujain" userId="5542ab1a-fb35-4379-8837-59a3729222cc" providerId="ADAL" clId="{3B8D064A-583E-44DC-B3B3-6387FA60473B}" dt="2024-01-01T11:53:04.185" v="1123" actId="108"/>
          <ac:spMkLst>
            <pc:docMk/>
            <pc:sldMk cId="3663195277" sldId="2147479564"/>
            <ac:spMk id="8" creationId="{1820D49A-44A7-3E39-AF6E-ACB5A10BDEF9}"/>
          </ac:spMkLst>
        </pc:spChg>
        <pc:spChg chg="mod ord">
          <ac:chgData name="Alfawzan, Lujain" userId="5542ab1a-fb35-4379-8837-59a3729222cc" providerId="ADAL" clId="{3B8D064A-583E-44DC-B3B3-6387FA60473B}" dt="2024-01-01T11:57:25.736" v="1149" actId="1076"/>
          <ac:spMkLst>
            <pc:docMk/>
            <pc:sldMk cId="3663195277" sldId="2147479564"/>
            <ac:spMk id="13" creationId="{7D4695DD-C05C-C3D7-6564-0E7F2EA9DAEA}"/>
          </ac:spMkLst>
        </pc:spChg>
        <pc:spChg chg="mod">
          <ac:chgData name="Alfawzan, Lujain" userId="5542ab1a-fb35-4379-8837-59a3729222cc" providerId="ADAL" clId="{3B8D064A-583E-44DC-B3B3-6387FA60473B}" dt="2024-01-02T07:03:18.988" v="3521" actId="108"/>
          <ac:spMkLst>
            <pc:docMk/>
            <pc:sldMk cId="3663195277" sldId="2147479564"/>
            <ac:spMk id="14" creationId="{922B792C-16FA-517B-DB65-2F5DBA64C44C}"/>
          </ac:spMkLst>
        </pc:spChg>
        <pc:spChg chg="add del mod">
          <ac:chgData name="Alfawzan, Lujain" userId="5542ab1a-fb35-4379-8837-59a3729222cc" providerId="ADAL" clId="{3B8D064A-583E-44DC-B3B3-6387FA60473B}" dt="2024-01-01T11:49:23.148" v="1111" actId="478"/>
          <ac:spMkLst>
            <pc:docMk/>
            <pc:sldMk cId="3663195277" sldId="2147479564"/>
            <ac:spMk id="17" creationId="{F1EC8025-340C-65D4-89EF-45CFBBFB9E55}"/>
          </ac:spMkLst>
        </pc:spChg>
        <pc:picChg chg="del">
          <ac:chgData name="Alfawzan, Lujain" userId="5542ab1a-fb35-4379-8837-59a3729222cc" providerId="ADAL" clId="{3B8D064A-583E-44DC-B3B3-6387FA60473B}" dt="2024-01-01T11:49:10.982" v="1106" actId="478"/>
          <ac:picMkLst>
            <pc:docMk/>
            <pc:sldMk cId="3663195277" sldId="2147479564"/>
            <ac:picMk id="6" creationId="{81227BC1-D724-1A32-042E-4D5200A82451}"/>
          </ac:picMkLst>
        </pc:picChg>
        <pc:picChg chg="del mod">
          <ac:chgData name="Alfawzan, Lujain" userId="5542ab1a-fb35-4379-8837-59a3729222cc" providerId="ADAL" clId="{3B8D064A-583E-44DC-B3B3-6387FA60473B}" dt="2024-01-01T11:49:12.098" v="1108" actId="478"/>
          <ac:picMkLst>
            <pc:docMk/>
            <pc:sldMk cId="3663195277" sldId="2147479564"/>
            <ac:picMk id="9" creationId="{78DFFE79-40EF-15C6-CD2B-F8D8F7A4FE80}"/>
          </ac:picMkLst>
        </pc:picChg>
        <pc:picChg chg="add del mod">
          <ac:chgData name="Alfawzan, Lujain" userId="5542ab1a-fb35-4379-8837-59a3729222cc" providerId="ADAL" clId="{3B8D064A-583E-44DC-B3B3-6387FA60473B}" dt="2024-01-01T11:57:22.355" v="1148" actId="14100"/>
          <ac:picMkLst>
            <pc:docMk/>
            <pc:sldMk cId="3663195277" sldId="2147479564"/>
            <ac:picMk id="15" creationId="{A7EB42FC-C780-33B0-08BA-E502D9D24E5F}"/>
          </ac:picMkLst>
        </pc:picChg>
        <pc:picChg chg="add mod">
          <ac:chgData name="Alfawzan, Lujain" userId="5542ab1a-fb35-4379-8837-59a3729222cc" providerId="ADAL" clId="{3B8D064A-583E-44DC-B3B3-6387FA60473B}" dt="2024-01-01T11:57:14.069" v="1146" actId="14100"/>
          <ac:picMkLst>
            <pc:docMk/>
            <pc:sldMk cId="3663195277" sldId="2147479564"/>
            <ac:picMk id="16" creationId="{9B589E1C-E065-6E50-9453-8A8D032916D9}"/>
          </ac:picMkLst>
        </pc:picChg>
      </pc:sldChg>
      <pc:sldChg chg="addSp delSp modSp add mod">
        <pc:chgData name="Alfawzan, Lujain" userId="5542ab1a-fb35-4379-8837-59a3729222cc" providerId="ADAL" clId="{3B8D064A-583E-44DC-B3B3-6387FA60473B}" dt="2024-01-02T02:57:48.339" v="2169" actId="207"/>
        <pc:sldMkLst>
          <pc:docMk/>
          <pc:sldMk cId="4197928976" sldId="2147479566"/>
        </pc:sldMkLst>
        <pc:spChg chg="mod">
          <ac:chgData name="Alfawzan, Lujain" userId="5542ab1a-fb35-4379-8837-59a3729222cc" providerId="ADAL" clId="{3B8D064A-583E-44DC-B3B3-6387FA60473B}" dt="2024-01-01T09:34:13.640" v="412" actId="20577"/>
          <ac:spMkLst>
            <pc:docMk/>
            <pc:sldMk cId="4197928976" sldId="2147479566"/>
            <ac:spMk id="4" creationId="{CD537564-9393-DCB0-508C-A78BE497E15E}"/>
          </ac:spMkLst>
        </pc:spChg>
        <pc:spChg chg="mod">
          <ac:chgData name="Alfawzan, Lujain" userId="5542ab1a-fb35-4379-8837-59a3729222cc" providerId="ADAL" clId="{3B8D064A-583E-44DC-B3B3-6387FA60473B}" dt="2024-01-02T02:53:06.625" v="1935" actId="1035"/>
          <ac:spMkLst>
            <pc:docMk/>
            <pc:sldMk cId="4197928976" sldId="2147479566"/>
            <ac:spMk id="5" creationId="{73BAA790-FE7B-E03B-2C71-7FAEFECCC5A0}"/>
          </ac:spMkLst>
        </pc:spChg>
        <pc:spChg chg="add del">
          <ac:chgData name="Alfawzan, Lujain" userId="5542ab1a-fb35-4379-8837-59a3729222cc" providerId="ADAL" clId="{3B8D064A-583E-44DC-B3B3-6387FA60473B}" dt="2024-01-01T09:34:18.825" v="414" actId="22"/>
          <ac:spMkLst>
            <pc:docMk/>
            <pc:sldMk cId="4197928976" sldId="2147479566"/>
            <ac:spMk id="10" creationId="{DB5232D7-5EB5-EFC1-406A-F5BEF0446D25}"/>
          </ac:spMkLst>
        </pc:spChg>
        <pc:spChg chg="mod topLvl">
          <ac:chgData name="Alfawzan, Lujain" userId="5542ab1a-fb35-4379-8837-59a3729222cc" providerId="ADAL" clId="{3B8D064A-583E-44DC-B3B3-6387FA60473B}" dt="2024-01-02T02:57:12.388" v="2166" actId="207"/>
          <ac:spMkLst>
            <pc:docMk/>
            <pc:sldMk cId="4197928976" sldId="2147479566"/>
            <ac:spMk id="14" creationId="{5BD96137-8E4A-3E77-5AC1-028BD6FB8E79}"/>
          </ac:spMkLst>
        </pc:spChg>
        <pc:spChg chg="mod topLvl">
          <ac:chgData name="Alfawzan, Lujain" userId="5542ab1a-fb35-4379-8837-59a3729222cc" providerId="ADAL" clId="{3B8D064A-583E-44DC-B3B3-6387FA60473B}" dt="2024-01-02T02:57:12.388" v="2166" actId="207"/>
          <ac:spMkLst>
            <pc:docMk/>
            <pc:sldMk cId="4197928976" sldId="2147479566"/>
            <ac:spMk id="15" creationId="{5033307B-9D9B-5EDA-02D3-1DB2514666C8}"/>
          </ac:spMkLst>
        </pc:spChg>
        <pc:spChg chg="mod topLvl">
          <ac:chgData name="Alfawzan, Lujain" userId="5542ab1a-fb35-4379-8837-59a3729222cc" providerId="ADAL" clId="{3B8D064A-583E-44DC-B3B3-6387FA60473B}" dt="2024-01-02T02:57:12.388" v="2166" actId="207"/>
          <ac:spMkLst>
            <pc:docMk/>
            <pc:sldMk cId="4197928976" sldId="2147479566"/>
            <ac:spMk id="16" creationId="{22066664-4ED0-6D5B-43DF-D6E56BE84521}"/>
          </ac:spMkLst>
        </pc:spChg>
        <pc:spChg chg="mod topLvl">
          <ac:chgData name="Alfawzan, Lujain" userId="5542ab1a-fb35-4379-8837-59a3729222cc" providerId="ADAL" clId="{3B8D064A-583E-44DC-B3B3-6387FA60473B}" dt="2024-01-02T02:57:12.388" v="2166" actId="207"/>
          <ac:spMkLst>
            <pc:docMk/>
            <pc:sldMk cId="4197928976" sldId="2147479566"/>
            <ac:spMk id="17" creationId="{96887EC2-FA84-5ADD-B491-AD22214A9FB8}"/>
          </ac:spMkLst>
        </pc:spChg>
        <pc:spChg chg="mod topLvl">
          <ac:chgData name="Alfawzan, Lujain" userId="5542ab1a-fb35-4379-8837-59a3729222cc" providerId="ADAL" clId="{3B8D064A-583E-44DC-B3B3-6387FA60473B}" dt="2024-01-02T02:57:12.388" v="2166" actId="207"/>
          <ac:spMkLst>
            <pc:docMk/>
            <pc:sldMk cId="4197928976" sldId="2147479566"/>
            <ac:spMk id="18" creationId="{F3408A6F-BAB4-3348-2101-D103A797A6DD}"/>
          </ac:spMkLst>
        </pc:spChg>
        <pc:spChg chg="mod topLvl">
          <ac:chgData name="Alfawzan, Lujain" userId="5542ab1a-fb35-4379-8837-59a3729222cc" providerId="ADAL" clId="{3B8D064A-583E-44DC-B3B3-6387FA60473B}" dt="2024-01-02T02:57:12.388" v="2166" actId="207"/>
          <ac:spMkLst>
            <pc:docMk/>
            <pc:sldMk cId="4197928976" sldId="2147479566"/>
            <ac:spMk id="19" creationId="{02F0D5CD-28EF-9623-8D1C-A4B990CB50B2}"/>
          </ac:spMkLst>
        </pc:spChg>
        <pc:spChg chg="mod topLvl">
          <ac:chgData name="Alfawzan, Lujain" userId="5542ab1a-fb35-4379-8837-59a3729222cc" providerId="ADAL" clId="{3B8D064A-583E-44DC-B3B3-6387FA60473B}" dt="2024-01-02T02:57:12.388" v="2166" actId="207"/>
          <ac:spMkLst>
            <pc:docMk/>
            <pc:sldMk cId="4197928976" sldId="2147479566"/>
            <ac:spMk id="20" creationId="{5F533C60-5A09-511D-335A-36E575E02C92}"/>
          </ac:spMkLst>
        </pc:spChg>
        <pc:spChg chg="mod topLvl">
          <ac:chgData name="Alfawzan, Lujain" userId="5542ab1a-fb35-4379-8837-59a3729222cc" providerId="ADAL" clId="{3B8D064A-583E-44DC-B3B3-6387FA60473B}" dt="2024-01-02T02:57:12.388" v="2166" actId="207"/>
          <ac:spMkLst>
            <pc:docMk/>
            <pc:sldMk cId="4197928976" sldId="2147479566"/>
            <ac:spMk id="21" creationId="{C93A96FB-0AC9-F0F2-6BB0-6F3FAA6EABF5}"/>
          </ac:spMkLst>
        </pc:spChg>
        <pc:spChg chg="del mod topLvl">
          <ac:chgData name="Alfawzan, Lujain" userId="5542ab1a-fb35-4379-8837-59a3729222cc" providerId="ADAL" clId="{3B8D064A-583E-44DC-B3B3-6387FA60473B}" dt="2024-01-02T02:55:19.530" v="2046" actId="478"/>
          <ac:spMkLst>
            <pc:docMk/>
            <pc:sldMk cId="4197928976" sldId="2147479566"/>
            <ac:spMk id="22" creationId="{D58D1CC2-5CCB-1CF0-8177-2FA5B1544669}"/>
          </ac:spMkLst>
        </pc:spChg>
        <pc:spChg chg="mod topLvl">
          <ac:chgData name="Alfawzan, Lujain" userId="5542ab1a-fb35-4379-8837-59a3729222cc" providerId="ADAL" clId="{3B8D064A-583E-44DC-B3B3-6387FA60473B}" dt="2024-01-02T02:57:12.388" v="2166" actId="207"/>
          <ac:spMkLst>
            <pc:docMk/>
            <pc:sldMk cId="4197928976" sldId="2147479566"/>
            <ac:spMk id="23" creationId="{7B1A5AAA-FD30-4745-7522-C6C83B461FDA}"/>
          </ac:spMkLst>
        </pc:spChg>
        <pc:spChg chg="add mod">
          <ac:chgData name="Alfawzan, Lujain" userId="5542ab1a-fb35-4379-8837-59a3729222cc" providerId="ADAL" clId="{3B8D064A-583E-44DC-B3B3-6387FA60473B}" dt="2024-01-02T02:57:12.388" v="2166" actId="207"/>
          <ac:spMkLst>
            <pc:docMk/>
            <pc:sldMk cId="4197928976" sldId="2147479566"/>
            <ac:spMk id="24" creationId="{70650D72-37C0-06AD-6952-6C578B371E18}"/>
          </ac:spMkLst>
        </pc:spChg>
        <pc:grpChg chg="add del mod">
          <ac:chgData name="Alfawzan, Lujain" userId="5542ab1a-fb35-4379-8837-59a3729222cc" providerId="ADAL" clId="{3B8D064A-583E-44DC-B3B3-6387FA60473B}" dt="2024-01-02T02:54:09.738" v="1961" actId="165"/>
          <ac:grpSpMkLst>
            <pc:docMk/>
            <pc:sldMk cId="4197928976" sldId="2147479566"/>
            <ac:grpSpMk id="13" creationId="{55C56957-2711-683C-A4D1-443C6B82A073}"/>
          </ac:grpSpMkLst>
        </pc:grpChg>
        <pc:graphicFrameChg chg="del">
          <ac:chgData name="Alfawzan, Lujain" userId="5542ab1a-fb35-4379-8837-59a3729222cc" providerId="ADAL" clId="{3B8D064A-583E-44DC-B3B3-6387FA60473B}" dt="2024-01-01T08:17:06.745" v="193" actId="478"/>
          <ac:graphicFrameMkLst>
            <pc:docMk/>
            <pc:sldMk cId="4197928976" sldId="2147479566"/>
            <ac:graphicFrameMk id="6" creationId="{4174133B-583D-857D-2D4E-67C3A8DB6C43}"/>
          </ac:graphicFrameMkLst>
        </pc:graphicFrameChg>
        <pc:graphicFrameChg chg="add del mod modGraphic">
          <ac:chgData name="Alfawzan, Lujain" userId="5542ab1a-fb35-4379-8837-59a3729222cc" providerId="ADAL" clId="{3B8D064A-583E-44DC-B3B3-6387FA60473B}" dt="2024-01-01T09:32:07.114" v="379" actId="478"/>
          <ac:graphicFrameMkLst>
            <pc:docMk/>
            <pc:sldMk cId="4197928976" sldId="2147479566"/>
            <ac:graphicFrameMk id="7" creationId="{9EC2A1C7-D191-A908-F9D0-C8326A441DD2}"/>
          </ac:graphicFrameMkLst>
        </pc:graphicFrameChg>
        <pc:graphicFrameChg chg="add del mod">
          <ac:chgData name="Alfawzan, Lujain" userId="5542ab1a-fb35-4379-8837-59a3729222cc" providerId="ADAL" clId="{3B8D064A-583E-44DC-B3B3-6387FA60473B}" dt="2024-01-01T09:32:40.792" v="387"/>
          <ac:graphicFrameMkLst>
            <pc:docMk/>
            <pc:sldMk cId="4197928976" sldId="2147479566"/>
            <ac:graphicFrameMk id="8" creationId="{7413BC47-433B-EB55-9AEF-B9DFE6A1CE19}"/>
          </ac:graphicFrameMkLst>
        </pc:graphicFrameChg>
        <pc:graphicFrameChg chg="add del mod">
          <ac:chgData name="Alfawzan, Lujain" userId="5542ab1a-fb35-4379-8837-59a3729222cc" providerId="ADAL" clId="{3B8D064A-583E-44DC-B3B3-6387FA60473B}" dt="2024-01-01T09:34:36.784" v="416"/>
          <ac:graphicFrameMkLst>
            <pc:docMk/>
            <pc:sldMk cId="4197928976" sldId="2147479566"/>
            <ac:graphicFrameMk id="11" creationId="{01E57DF9-F171-AC04-EE3D-22C87E0BC51A}"/>
          </ac:graphicFrameMkLst>
        </pc:graphicFrameChg>
        <pc:graphicFrameChg chg="add mod modGraphic">
          <ac:chgData name="Alfawzan, Lujain" userId="5542ab1a-fb35-4379-8837-59a3729222cc" providerId="ADAL" clId="{3B8D064A-583E-44DC-B3B3-6387FA60473B}" dt="2024-01-02T02:57:48.339" v="2169" actId="207"/>
          <ac:graphicFrameMkLst>
            <pc:docMk/>
            <pc:sldMk cId="4197928976" sldId="2147479566"/>
            <ac:graphicFrameMk id="12" creationId="{D1C24D4A-34E8-8CE6-1234-DCFE6B606C4C}"/>
          </ac:graphicFrameMkLst>
        </pc:graphicFrameChg>
      </pc:sldChg>
      <pc:sldChg chg="addSp delSp modSp add del mod">
        <pc:chgData name="Alfawzan, Lujain" userId="5542ab1a-fb35-4379-8837-59a3729222cc" providerId="ADAL" clId="{3B8D064A-583E-44DC-B3B3-6387FA60473B}" dt="2024-01-02T02:58:22.620" v="2171" actId="47"/>
        <pc:sldMkLst>
          <pc:docMk/>
          <pc:sldMk cId="2695953967" sldId="2147479567"/>
        </pc:sldMkLst>
        <pc:spChg chg="add mod">
          <ac:chgData name="Alfawzan, Lujain" userId="5542ab1a-fb35-4379-8837-59a3729222cc" providerId="ADAL" clId="{3B8D064A-583E-44DC-B3B3-6387FA60473B}" dt="2024-01-01T09:51:43.685" v="653" actId="1076"/>
          <ac:spMkLst>
            <pc:docMk/>
            <pc:sldMk cId="2695953967" sldId="2147479567"/>
            <ac:spMk id="9" creationId="{17B0F15A-E8CB-DDA7-47CC-554E08C02485}"/>
          </ac:spMkLst>
        </pc:spChg>
        <pc:spChg chg="add mod">
          <ac:chgData name="Alfawzan, Lujain" userId="5542ab1a-fb35-4379-8837-59a3729222cc" providerId="ADAL" clId="{3B8D064A-583E-44DC-B3B3-6387FA60473B}" dt="2024-01-01T09:53:31.481" v="656" actId="14100"/>
          <ac:spMkLst>
            <pc:docMk/>
            <pc:sldMk cId="2695953967" sldId="2147479567"/>
            <ac:spMk id="10" creationId="{3B3D6DCC-9D16-5611-AE50-D74844C67540}"/>
          </ac:spMkLst>
        </pc:spChg>
        <pc:spChg chg="add mod">
          <ac:chgData name="Alfawzan, Lujain" userId="5542ab1a-fb35-4379-8837-59a3729222cc" providerId="ADAL" clId="{3B8D064A-583E-44DC-B3B3-6387FA60473B}" dt="2024-01-01T09:57:31.136" v="703" actId="1076"/>
          <ac:spMkLst>
            <pc:docMk/>
            <pc:sldMk cId="2695953967" sldId="2147479567"/>
            <ac:spMk id="11" creationId="{78D3201B-4873-1CD6-9BA3-926DA6924BC4}"/>
          </ac:spMkLst>
        </pc:spChg>
        <pc:graphicFrameChg chg="add del mod modGraphic">
          <ac:chgData name="Alfawzan, Lujain" userId="5542ab1a-fb35-4379-8837-59a3729222cc" providerId="ADAL" clId="{3B8D064A-583E-44DC-B3B3-6387FA60473B}" dt="2024-01-01T09:42:09.548" v="496" actId="478"/>
          <ac:graphicFrameMkLst>
            <pc:docMk/>
            <pc:sldMk cId="2695953967" sldId="2147479567"/>
            <ac:graphicFrameMk id="6" creationId="{B36E6CC5-AED4-C1A1-8C94-D7CEAB924A1A}"/>
          </ac:graphicFrameMkLst>
        </pc:graphicFrameChg>
        <pc:graphicFrameChg chg="del">
          <ac:chgData name="Alfawzan, Lujain" userId="5542ab1a-fb35-4379-8837-59a3729222cc" providerId="ADAL" clId="{3B8D064A-583E-44DC-B3B3-6387FA60473B}" dt="2024-01-01T08:25:42.271" v="314" actId="478"/>
          <ac:graphicFrameMkLst>
            <pc:docMk/>
            <pc:sldMk cId="2695953967" sldId="2147479567"/>
            <ac:graphicFrameMk id="7" creationId="{9EC2A1C7-D191-A908-F9D0-C8326A441DD2}"/>
          </ac:graphicFrameMkLst>
        </pc:graphicFrameChg>
        <pc:graphicFrameChg chg="add mod modGraphic">
          <ac:chgData name="Alfawzan, Lujain" userId="5542ab1a-fb35-4379-8837-59a3729222cc" providerId="ADAL" clId="{3B8D064A-583E-44DC-B3B3-6387FA60473B}" dt="2024-01-01T09:49:34.012" v="639" actId="798"/>
          <ac:graphicFrameMkLst>
            <pc:docMk/>
            <pc:sldMk cId="2695953967" sldId="2147479567"/>
            <ac:graphicFrameMk id="8" creationId="{DC873734-762F-A62F-A910-F4ABBB29F486}"/>
          </ac:graphicFrameMkLst>
        </pc:graphicFrameChg>
      </pc:sldChg>
      <pc:sldChg chg="addSp delSp modSp add del mod ord modClrScheme chgLayout">
        <pc:chgData name="Alfawzan, Lujain" userId="5542ab1a-fb35-4379-8837-59a3729222cc" providerId="ADAL" clId="{3B8D064A-583E-44DC-B3B3-6387FA60473B}" dt="2024-01-02T02:58:23.182" v="2172" actId="47"/>
        <pc:sldMkLst>
          <pc:docMk/>
          <pc:sldMk cId="3307768517" sldId="2147479568"/>
        </pc:sldMkLst>
        <pc:spChg chg="del">
          <ac:chgData name="Alfawzan, Lujain" userId="5542ab1a-fb35-4379-8837-59a3729222cc" providerId="ADAL" clId="{3B8D064A-583E-44DC-B3B3-6387FA60473B}" dt="2024-01-01T09:34:45.505" v="418" actId="478"/>
          <ac:spMkLst>
            <pc:docMk/>
            <pc:sldMk cId="3307768517" sldId="2147479568"/>
            <ac:spMk id="2" creationId="{CC93B7E7-8D0A-1A99-7EF2-95F71E057368}"/>
          </ac:spMkLst>
        </pc:spChg>
        <pc:spChg chg="del">
          <ac:chgData name="Alfawzan, Lujain" userId="5542ab1a-fb35-4379-8837-59a3729222cc" providerId="ADAL" clId="{3B8D064A-583E-44DC-B3B3-6387FA60473B}" dt="2024-01-01T09:34:45.505" v="418" actId="478"/>
          <ac:spMkLst>
            <pc:docMk/>
            <pc:sldMk cId="3307768517" sldId="2147479568"/>
            <ac:spMk id="3" creationId="{349E825D-7E80-8FCA-A82E-1A57A034F362}"/>
          </ac:spMkLst>
        </pc:spChg>
        <pc:spChg chg="del">
          <ac:chgData name="Alfawzan, Lujain" userId="5542ab1a-fb35-4379-8837-59a3729222cc" providerId="ADAL" clId="{3B8D064A-583E-44DC-B3B3-6387FA60473B}" dt="2024-01-01T09:34:45.505" v="418" actId="478"/>
          <ac:spMkLst>
            <pc:docMk/>
            <pc:sldMk cId="3307768517" sldId="2147479568"/>
            <ac:spMk id="4" creationId="{CD537564-9393-DCB0-508C-A78BE497E15E}"/>
          </ac:spMkLst>
        </pc:spChg>
        <pc:spChg chg="del">
          <ac:chgData name="Alfawzan, Lujain" userId="5542ab1a-fb35-4379-8837-59a3729222cc" providerId="ADAL" clId="{3B8D064A-583E-44DC-B3B3-6387FA60473B}" dt="2024-01-01T09:34:48.338" v="419" actId="478"/>
          <ac:spMkLst>
            <pc:docMk/>
            <pc:sldMk cId="3307768517" sldId="2147479568"/>
            <ac:spMk id="5" creationId="{73BAA790-FE7B-E03B-2C71-7FAEFECCC5A0}"/>
          </ac:spMkLst>
        </pc:spChg>
        <pc:spChg chg="add del mod">
          <ac:chgData name="Alfawzan, Lujain" userId="5542ab1a-fb35-4379-8837-59a3729222cc" providerId="ADAL" clId="{3B8D064A-583E-44DC-B3B3-6387FA60473B}" dt="2024-01-01T09:34:48.338" v="419" actId="478"/>
          <ac:spMkLst>
            <pc:docMk/>
            <pc:sldMk cId="3307768517" sldId="2147479568"/>
            <ac:spMk id="7" creationId="{D83F20C1-6AE6-8A6E-D2E5-49804F683A48}"/>
          </ac:spMkLst>
        </pc:spChg>
        <pc:spChg chg="add del mod">
          <ac:chgData name="Alfawzan, Lujain" userId="5542ab1a-fb35-4379-8837-59a3729222cc" providerId="ADAL" clId="{3B8D064A-583E-44DC-B3B3-6387FA60473B}" dt="2024-01-01T09:34:57.678" v="421" actId="478"/>
          <ac:spMkLst>
            <pc:docMk/>
            <pc:sldMk cId="3307768517" sldId="2147479568"/>
            <ac:spMk id="8" creationId="{B2E4F223-244F-5D26-CCA9-6F7C98D9D499}"/>
          </ac:spMkLst>
        </pc:spChg>
        <pc:spChg chg="add mod">
          <ac:chgData name="Alfawzan, Lujain" userId="5542ab1a-fb35-4379-8837-59a3729222cc" providerId="ADAL" clId="{3B8D064A-583E-44DC-B3B3-6387FA60473B}" dt="2024-01-02T02:45:28.784" v="1620" actId="164"/>
          <ac:spMkLst>
            <pc:docMk/>
            <pc:sldMk cId="3307768517" sldId="2147479568"/>
            <ac:spMk id="10" creationId="{9F7BE787-D718-E22B-9510-AE3DB42970B3}"/>
          </ac:spMkLst>
        </pc:spChg>
        <pc:spChg chg="add mod">
          <ac:chgData name="Alfawzan, Lujain" userId="5542ab1a-fb35-4379-8837-59a3729222cc" providerId="ADAL" clId="{3B8D064A-583E-44DC-B3B3-6387FA60473B}" dt="2024-01-02T02:45:28.784" v="1620" actId="164"/>
          <ac:spMkLst>
            <pc:docMk/>
            <pc:sldMk cId="3307768517" sldId="2147479568"/>
            <ac:spMk id="11" creationId="{9201EC17-D36D-10A7-AFD8-8374F06A7260}"/>
          </ac:spMkLst>
        </pc:spChg>
        <pc:spChg chg="add mod">
          <ac:chgData name="Alfawzan, Lujain" userId="5542ab1a-fb35-4379-8837-59a3729222cc" providerId="ADAL" clId="{3B8D064A-583E-44DC-B3B3-6387FA60473B}" dt="2024-01-02T02:45:28.784" v="1620" actId="164"/>
          <ac:spMkLst>
            <pc:docMk/>
            <pc:sldMk cId="3307768517" sldId="2147479568"/>
            <ac:spMk id="12" creationId="{2EC99084-9A58-6E5C-685F-35950B4A12F9}"/>
          </ac:spMkLst>
        </pc:spChg>
        <pc:spChg chg="add mod">
          <ac:chgData name="Alfawzan, Lujain" userId="5542ab1a-fb35-4379-8837-59a3729222cc" providerId="ADAL" clId="{3B8D064A-583E-44DC-B3B3-6387FA60473B}" dt="2024-01-02T02:45:28.784" v="1620" actId="164"/>
          <ac:spMkLst>
            <pc:docMk/>
            <pc:sldMk cId="3307768517" sldId="2147479568"/>
            <ac:spMk id="13" creationId="{F1ED3041-7E11-007A-ED94-834FB0FAA7F9}"/>
          </ac:spMkLst>
        </pc:spChg>
        <pc:spChg chg="add mod">
          <ac:chgData name="Alfawzan, Lujain" userId="5542ab1a-fb35-4379-8837-59a3729222cc" providerId="ADAL" clId="{3B8D064A-583E-44DC-B3B3-6387FA60473B}" dt="2024-01-02T02:45:28.784" v="1620" actId="164"/>
          <ac:spMkLst>
            <pc:docMk/>
            <pc:sldMk cId="3307768517" sldId="2147479568"/>
            <ac:spMk id="14" creationId="{952CF287-AFC4-C2C7-B656-3C0E0F11D2F0}"/>
          </ac:spMkLst>
        </pc:spChg>
        <pc:spChg chg="add mod">
          <ac:chgData name="Alfawzan, Lujain" userId="5542ab1a-fb35-4379-8837-59a3729222cc" providerId="ADAL" clId="{3B8D064A-583E-44DC-B3B3-6387FA60473B}" dt="2024-01-02T02:45:28.784" v="1620" actId="164"/>
          <ac:spMkLst>
            <pc:docMk/>
            <pc:sldMk cId="3307768517" sldId="2147479568"/>
            <ac:spMk id="15" creationId="{933996D1-E4F9-23CC-5CCE-2FE9B6529B94}"/>
          </ac:spMkLst>
        </pc:spChg>
        <pc:spChg chg="add mod">
          <ac:chgData name="Alfawzan, Lujain" userId="5542ab1a-fb35-4379-8837-59a3729222cc" providerId="ADAL" clId="{3B8D064A-583E-44DC-B3B3-6387FA60473B}" dt="2024-01-02T02:45:28.784" v="1620" actId="164"/>
          <ac:spMkLst>
            <pc:docMk/>
            <pc:sldMk cId="3307768517" sldId="2147479568"/>
            <ac:spMk id="16" creationId="{247985B2-875B-10BA-EDBE-41DD18A47E7B}"/>
          </ac:spMkLst>
        </pc:spChg>
        <pc:spChg chg="add mod">
          <ac:chgData name="Alfawzan, Lujain" userId="5542ab1a-fb35-4379-8837-59a3729222cc" providerId="ADAL" clId="{3B8D064A-583E-44DC-B3B3-6387FA60473B}" dt="2024-01-02T02:45:28.784" v="1620" actId="164"/>
          <ac:spMkLst>
            <pc:docMk/>
            <pc:sldMk cId="3307768517" sldId="2147479568"/>
            <ac:spMk id="17" creationId="{D48F5B7C-354E-688B-C264-C9F71D7F0B00}"/>
          </ac:spMkLst>
        </pc:spChg>
        <pc:spChg chg="add mod">
          <ac:chgData name="Alfawzan, Lujain" userId="5542ab1a-fb35-4379-8837-59a3729222cc" providerId="ADAL" clId="{3B8D064A-583E-44DC-B3B3-6387FA60473B}" dt="2024-01-02T02:45:28.784" v="1620" actId="164"/>
          <ac:spMkLst>
            <pc:docMk/>
            <pc:sldMk cId="3307768517" sldId="2147479568"/>
            <ac:spMk id="18" creationId="{E318C31E-A63F-DC63-CBC2-84665F565358}"/>
          </ac:spMkLst>
        </pc:spChg>
        <pc:spChg chg="add mod">
          <ac:chgData name="Alfawzan, Lujain" userId="5542ab1a-fb35-4379-8837-59a3729222cc" providerId="ADAL" clId="{3B8D064A-583E-44DC-B3B3-6387FA60473B}" dt="2024-01-02T02:45:28.784" v="1620" actId="164"/>
          <ac:spMkLst>
            <pc:docMk/>
            <pc:sldMk cId="3307768517" sldId="2147479568"/>
            <ac:spMk id="19" creationId="{45112CA7-DDC0-2289-5591-8F63AC28DFD0}"/>
          </ac:spMkLst>
        </pc:spChg>
        <pc:grpChg chg="add mod">
          <ac:chgData name="Alfawzan, Lujain" userId="5542ab1a-fb35-4379-8837-59a3729222cc" providerId="ADAL" clId="{3B8D064A-583E-44DC-B3B3-6387FA60473B}" dt="2024-01-02T02:45:25.106" v="1618" actId="164"/>
          <ac:grpSpMkLst>
            <pc:docMk/>
            <pc:sldMk cId="3307768517" sldId="2147479568"/>
            <ac:grpSpMk id="20" creationId="{6DBA2B6D-0B4F-1E30-E129-9576AB3362CA}"/>
          </ac:grpSpMkLst>
        </pc:grpChg>
        <pc:grpChg chg="add mod">
          <ac:chgData name="Alfawzan, Lujain" userId="5542ab1a-fb35-4379-8837-59a3729222cc" providerId="ADAL" clId="{3B8D064A-583E-44DC-B3B3-6387FA60473B}" dt="2024-01-02T02:45:28.784" v="1620" actId="164"/>
          <ac:grpSpMkLst>
            <pc:docMk/>
            <pc:sldMk cId="3307768517" sldId="2147479568"/>
            <ac:grpSpMk id="21" creationId="{E9D58653-A021-2619-85C6-05F0C8D41F58}"/>
          </ac:grpSpMkLst>
        </pc:grpChg>
        <pc:graphicFrameChg chg="add mod modGraphic">
          <ac:chgData name="Alfawzan, Lujain" userId="5542ab1a-fb35-4379-8837-59a3729222cc" providerId="ADAL" clId="{3B8D064A-583E-44DC-B3B3-6387FA60473B}" dt="2024-01-02T02:44:35.757" v="1613" actId="20577"/>
          <ac:graphicFrameMkLst>
            <pc:docMk/>
            <pc:sldMk cId="3307768517" sldId="2147479568"/>
            <ac:graphicFrameMk id="9" creationId="{591C2547-8417-F0B9-9051-B76D9ED29B32}"/>
          </ac:graphicFrameMkLst>
        </pc:graphicFrameChg>
      </pc:sldChg>
      <pc:sldChg chg="modSp add del mod ord">
        <pc:chgData name="Alfawzan, Lujain" userId="5542ab1a-fb35-4379-8837-59a3729222cc" providerId="ADAL" clId="{3B8D064A-583E-44DC-B3B3-6387FA60473B}" dt="2024-01-02T04:37:32.055" v="2451" actId="47"/>
        <pc:sldMkLst>
          <pc:docMk/>
          <pc:sldMk cId="35719660" sldId="2147479569"/>
        </pc:sldMkLst>
        <pc:graphicFrameChg chg="mod modGraphic">
          <ac:chgData name="Alfawzan, Lujain" userId="5542ab1a-fb35-4379-8837-59a3729222cc" providerId="ADAL" clId="{3B8D064A-583E-44DC-B3B3-6387FA60473B}" dt="2024-01-01T11:34:45.192" v="959" actId="14100"/>
          <ac:graphicFrameMkLst>
            <pc:docMk/>
            <pc:sldMk cId="35719660" sldId="2147479569"/>
            <ac:graphicFrameMk id="56" creationId="{ACB95954-27AB-4DD1-AEE7-608507D0D11D}"/>
          </ac:graphicFrameMkLst>
        </pc:graphicFrameChg>
      </pc:sldChg>
      <pc:sldChg chg="add del">
        <pc:chgData name="Alfawzan, Lujain" userId="5542ab1a-fb35-4379-8837-59a3729222cc" providerId="ADAL" clId="{3B8D064A-583E-44DC-B3B3-6387FA60473B}" dt="2024-01-01T11:34:27.292" v="956"/>
        <pc:sldMkLst>
          <pc:docMk/>
          <pc:sldMk cId="84574294" sldId="2147479569"/>
        </pc:sldMkLst>
      </pc:sldChg>
      <pc:sldChg chg="addSp delSp modSp add del mod">
        <pc:chgData name="Alfawzan, Lujain" userId="5542ab1a-fb35-4379-8837-59a3729222cc" providerId="ADAL" clId="{3B8D064A-583E-44DC-B3B3-6387FA60473B}" dt="2024-01-02T02:56:42.331" v="2165" actId="47"/>
        <pc:sldMkLst>
          <pc:docMk/>
          <pc:sldMk cId="1764675826" sldId="2147479570"/>
        </pc:sldMkLst>
        <pc:graphicFrameChg chg="del mod modGraphic">
          <ac:chgData name="Alfawzan, Lujain" userId="5542ab1a-fb35-4379-8837-59a3729222cc" providerId="ADAL" clId="{3B8D064A-583E-44DC-B3B3-6387FA60473B}" dt="2024-01-02T02:34:17.109" v="1459" actId="478"/>
          <ac:graphicFrameMkLst>
            <pc:docMk/>
            <pc:sldMk cId="1764675826" sldId="2147479570"/>
            <ac:graphicFrameMk id="6" creationId="{4174133B-583D-857D-2D4E-67C3A8DB6C43}"/>
          </ac:graphicFrameMkLst>
        </pc:graphicFrameChg>
        <pc:graphicFrameChg chg="add mod modGraphic">
          <ac:chgData name="Alfawzan, Lujain" userId="5542ab1a-fb35-4379-8837-59a3729222cc" providerId="ADAL" clId="{3B8D064A-583E-44DC-B3B3-6387FA60473B}" dt="2024-01-02T02:35:58.520" v="1468" actId="20577"/>
          <ac:graphicFrameMkLst>
            <pc:docMk/>
            <pc:sldMk cId="1764675826" sldId="2147479570"/>
            <ac:graphicFrameMk id="7" creationId="{9D2CF8CB-9926-76F6-D8D1-57C2E0CB3222}"/>
          </ac:graphicFrameMkLst>
        </pc:graphicFrameChg>
      </pc:sldChg>
      <pc:sldChg chg="addSp delSp modSp add mod">
        <pc:chgData name="Alfawzan, Lujain" userId="5542ab1a-fb35-4379-8837-59a3729222cc" providerId="ADAL" clId="{3B8D064A-583E-44DC-B3B3-6387FA60473B}" dt="2024-01-02T04:11:42.863" v="2302"/>
        <pc:sldMkLst>
          <pc:docMk/>
          <pc:sldMk cId="3367745848" sldId="2147479570"/>
        </pc:sldMkLst>
        <pc:spChg chg="del">
          <ac:chgData name="Alfawzan, Lujain" userId="5542ab1a-fb35-4379-8837-59a3729222cc" providerId="ADAL" clId="{3B8D064A-583E-44DC-B3B3-6387FA60473B}" dt="2024-01-02T04:07:35.992" v="2269" actId="478"/>
          <ac:spMkLst>
            <pc:docMk/>
            <pc:sldMk cId="3367745848" sldId="2147479570"/>
            <ac:spMk id="2" creationId="{31E8A70A-4E0A-509D-B297-9E66685D9B45}"/>
          </ac:spMkLst>
        </pc:spChg>
        <pc:spChg chg="add del mod">
          <ac:chgData name="Alfawzan, Lujain" userId="5542ab1a-fb35-4379-8837-59a3729222cc" providerId="ADAL" clId="{3B8D064A-583E-44DC-B3B3-6387FA60473B}" dt="2024-01-02T04:08:20.593" v="2276"/>
          <ac:spMkLst>
            <pc:docMk/>
            <pc:sldMk cId="3367745848" sldId="2147479570"/>
            <ac:spMk id="4" creationId="{B105285C-3D2E-5519-4F3C-2AD117D2150A}"/>
          </ac:spMkLst>
        </pc:spChg>
        <pc:spChg chg="mod">
          <ac:chgData name="Alfawzan, Lujain" userId="5542ab1a-fb35-4379-8837-59a3729222cc" providerId="ADAL" clId="{3B8D064A-583E-44DC-B3B3-6387FA60473B}" dt="2024-01-02T04:06:39.048" v="2268" actId="20577"/>
          <ac:spMkLst>
            <pc:docMk/>
            <pc:sldMk cId="3367745848" sldId="2147479570"/>
            <ac:spMk id="5" creationId="{7780C9A4-1B58-C7B4-8260-D1451030869D}"/>
          </ac:spMkLst>
        </pc:spChg>
        <pc:spChg chg="mod">
          <ac:chgData name="Alfawzan, Lujain" userId="5542ab1a-fb35-4379-8837-59a3729222cc" providerId="ADAL" clId="{3B8D064A-583E-44DC-B3B3-6387FA60473B}" dt="2024-01-02T04:10:37.180" v="2295" actId="1035"/>
          <ac:spMkLst>
            <pc:docMk/>
            <pc:sldMk cId="3367745848" sldId="2147479570"/>
            <ac:spMk id="6" creationId="{78AA14C8-C2E2-7EA7-474B-E4D8B5F6DC35}"/>
          </ac:spMkLst>
        </pc:spChg>
        <pc:spChg chg="del">
          <ac:chgData name="Alfawzan, Lujain" userId="5542ab1a-fb35-4379-8837-59a3729222cc" providerId="ADAL" clId="{3B8D064A-583E-44DC-B3B3-6387FA60473B}" dt="2024-01-02T04:07:40.661" v="2270" actId="478"/>
          <ac:spMkLst>
            <pc:docMk/>
            <pc:sldMk cId="3367745848" sldId="2147479570"/>
            <ac:spMk id="10" creationId="{DB954C8E-C1B7-4154-AD04-8F98C7352546}"/>
          </ac:spMkLst>
        </pc:spChg>
        <pc:spChg chg="del">
          <ac:chgData name="Alfawzan, Lujain" userId="5542ab1a-fb35-4379-8837-59a3729222cc" providerId="ADAL" clId="{3B8D064A-583E-44DC-B3B3-6387FA60473B}" dt="2024-01-02T04:07:54.239" v="2273" actId="478"/>
          <ac:spMkLst>
            <pc:docMk/>
            <pc:sldMk cId="3367745848" sldId="2147479570"/>
            <ac:spMk id="12" creationId="{224EC528-827F-B175-56C7-9160CC17FD82}"/>
          </ac:spMkLst>
        </pc:spChg>
        <pc:spChg chg="del">
          <ac:chgData name="Alfawzan, Lujain" userId="5542ab1a-fb35-4379-8837-59a3729222cc" providerId="ADAL" clId="{3B8D064A-583E-44DC-B3B3-6387FA60473B}" dt="2024-01-02T04:07:59.053" v="2274" actId="478"/>
          <ac:spMkLst>
            <pc:docMk/>
            <pc:sldMk cId="3367745848" sldId="2147479570"/>
            <ac:spMk id="13" creationId="{5DE7ECE1-8915-6B11-7F67-D4948106E1E1}"/>
          </ac:spMkLst>
        </pc:spChg>
        <pc:spChg chg="del">
          <ac:chgData name="Alfawzan, Lujain" userId="5542ab1a-fb35-4379-8837-59a3729222cc" providerId="ADAL" clId="{3B8D064A-583E-44DC-B3B3-6387FA60473B}" dt="2024-01-02T04:07:47.356" v="2272" actId="478"/>
          <ac:spMkLst>
            <pc:docMk/>
            <pc:sldMk cId="3367745848" sldId="2147479570"/>
            <ac:spMk id="14" creationId="{F10227DE-8C1F-199B-621C-AC0EA778471D}"/>
          </ac:spMkLst>
        </pc:spChg>
        <pc:spChg chg="del">
          <ac:chgData name="Alfawzan, Lujain" userId="5542ab1a-fb35-4379-8837-59a3729222cc" providerId="ADAL" clId="{3B8D064A-583E-44DC-B3B3-6387FA60473B}" dt="2024-01-02T04:07:44.951" v="2271" actId="478"/>
          <ac:spMkLst>
            <pc:docMk/>
            <pc:sldMk cId="3367745848" sldId="2147479570"/>
            <ac:spMk id="17" creationId="{CD7B7111-4404-6218-4309-1E41B2419399}"/>
          </ac:spMkLst>
        </pc:spChg>
        <pc:spChg chg="mod">
          <ac:chgData name="Alfawzan, Lujain" userId="5542ab1a-fb35-4379-8837-59a3729222cc" providerId="ADAL" clId="{3B8D064A-583E-44DC-B3B3-6387FA60473B}" dt="2024-01-02T04:08:19.035" v="2275"/>
          <ac:spMkLst>
            <pc:docMk/>
            <pc:sldMk cId="3367745848" sldId="2147479570"/>
            <ac:spMk id="24" creationId="{C166C1D9-6480-0F88-E6B4-5B2AB65F80BC}"/>
          </ac:spMkLst>
        </pc:spChg>
        <pc:spChg chg="mod">
          <ac:chgData name="Alfawzan, Lujain" userId="5542ab1a-fb35-4379-8837-59a3729222cc" providerId="ADAL" clId="{3B8D064A-583E-44DC-B3B3-6387FA60473B}" dt="2024-01-02T04:08:19.035" v="2275"/>
          <ac:spMkLst>
            <pc:docMk/>
            <pc:sldMk cId="3367745848" sldId="2147479570"/>
            <ac:spMk id="25" creationId="{463DB54D-E6D6-AF9E-8BF2-76B1B7112B50}"/>
          </ac:spMkLst>
        </pc:spChg>
        <pc:spChg chg="mod">
          <ac:chgData name="Alfawzan, Lujain" userId="5542ab1a-fb35-4379-8837-59a3729222cc" providerId="ADAL" clId="{3B8D064A-583E-44DC-B3B3-6387FA60473B}" dt="2024-01-02T04:08:19.035" v="2275"/>
          <ac:spMkLst>
            <pc:docMk/>
            <pc:sldMk cId="3367745848" sldId="2147479570"/>
            <ac:spMk id="26" creationId="{151BE247-A2AE-7CA6-8816-7AABA474BAF4}"/>
          </ac:spMkLst>
        </pc:spChg>
        <pc:spChg chg="mod">
          <ac:chgData name="Alfawzan, Lujain" userId="5542ab1a-fb35-4379-8837-59a3729222cc" providerId="ADAL" clId="{3B8D064A-583E-44DC-B3B3-6387FA60473B}" dt="2024-01-02T04:08:19.035" v="2275"/>
          <ac:spMkLst>
            <pc:docMk/>
            <pc:sldMk cId="3367745848" sldId="2147479570"/>
            <ac:spMk id="27" creationId="{405E71BF-F98D-A3C5-282D-EF03A0474459}"/>
          </ac:spMkLst>
        </pc:spChg>
        <pc:spChg chg="mod">
          <ac:chgData name="Alfawzan, Lujain" userId="5542ab1a-fb35-4379-8837-59a3729222cc" providerId="ADAL" clId="{3B8D064A-583E-44DC-B3B3-6387FA60473B}" dt="2024-01-02T04:08:19.035" v="2275"/>
          <ac:spMkLst>
            <pc:docMk/>
            <pc:sldMk cId="3367745848" sldId="2147479570"/>
            <ac:spMk id="28" creationId="{9C2C85FF-1B90-AF95-0BBC-9B38C2D36B2A}"/>
          </ac:spMkLst>
        </pc:spChg>
        <pc:spChg chg="mod">
          <ac:chgData name="Alfawzan, Lujain" userId="5542ab1a-fb35-4379-8837-59a3729222cc" providerId="ADAL" clId="{3B8D064A-583E-44DC-B3B3-6387FA60473B}" dt="2024-01-02T04:08:19.035" v="2275"/>
          <ac:spMkLst>
            <pc:docMk/>
            <pc:sldMk cId="3367745848" sldId="2147479570"/>
            <ac:spMk id="29" creationId="{75FF0730-5039-285E-412C-1240C68241FA}"/>
          </ac:spMkLst>
        </pc:spChg>
        <pc:spChg chg="mod">
          <ac:chgData name="Alfawzan, Lujain" userId="5542ab1a-fb35-4379-8837-59a3729222cc" providerId="ADAL" clId="{3B8D064A-583E-44DC-B3B3-6387FA60473B}" dt="2024-01-02T04:08:19.035" v="2275"/>
          <ac:spMkLst>
            <pc:docMk/>
            <pc:sldMk cId="3367745848" sldId="2147479570"/>
            <ac:spMk id="30" creationId="{D42C698A-59AB-0E48-73E3-24270350ACE4}"/>
          </ac:spMkLst>
        </pc:spChg>
        <pc:spChg chg="mod">
          <ac:chgData name="Alfawzan, Lujain" userId="5542ab1a-fb35-4379-8837-59a3729222cc" providerId="ADAL" clId="{3B8D064A-583E-44DC-B3B3-6387FA60473B}" dt="2024-01-02T04:08:19.035" v="2275"/>
          <ac:spMkLst>
            <pc:docMk/>
            <pc:sldMk cId="3367745848" sldId="2147479570"/>
            <ac:spMk id="31" creationId="{87D671AE-ABDA-C486-6431-3BD625F31245}"/>
          </ac:spMkLst>
        </pc:spChg>
        <pc:spChg chg="add del mod">
          <ac:chgData name="Alfawzan, Lujain" userId="5542ab1a-fb35-4379-8837-59a3729222cc" providerId="ADAL" clId="{3B8D064A-583E-44DC-B3B3-6387FA60473B}" dt="2024-01-02T04:08:51.892" v="2278" actId="478"/>
          <ac:spMkLst>
            <pc:docMk/>
            <pc:sldMk cId="3367745848" sldId="2147479570"/>
            <ac:spMk id="32" creationId="{1773F330-2D65-0394-F527-5700A7B716B1}"/>
          </ac:spMkLst>
        </pc:spChg>
        <pc:spChg chg="mod">
          <ac:chgData name="Alfawzan, Lujain" userId="5542ab1a-fb35-4379-8837-59a3729222cc" providerId="ADAL" clId="{3B8D064A-583E-44DC-B3B3-6387FA60473B}" dt="2024-01-02T04:09:02.523" v="2279" actId="207"/>
          <ac:spMkLst>
            <pc:docMk/>
            <pc:sldMk cId="3367745848" sldId="2147479570"/>
            <ac:spMk id="34" creationId="{4E2C6DFD-5237-7663-C8E6-C963C44E54FD}"/>
          </ac:spMkLst>
        </pc:spChg>
        <pc:spChg chg="mod">
          <ac:chgData name="Alfawzan, Lujain" userId="5542ab1a-fb35-4379-8837-59a3729222cc" providerId="ADAL" clId="{3B8D064A-583E-44DC-B3B3-6387FA60473B}" dt="2024-01-02T04:08:47.765" v="2277"/>
          <ac:spMkLst>
            <pc:docMk/>
            <pc:sldMk cId="3367745848" sldId="2147479570"/>
            <ac:spMk id="35" creationId="{8E325F37-0B3B-2FD4-2F28-7F1FB78EC6A9}"/>
          </ac:spMkLst>
        </pc:spChg>
        <pc:spChg chg="mod">
          <ac:chgData name="Alfawzan, Lujain" userId="5542ab1a-fb35-4379-8837-59a3729222cc" providerId="ADAL" clId="{3B8D064A-583E-44DC-B3B3-6387FA60473B}" dt="2024-01-02T04:08:47.765" v="2277"/>
          <ac:spMkLst>
            <pc:docMk/>
            <pc:sldMk cId="3367745848" sldId="2147479570"/>
            <ac:spMk id="37" creationId="{4524C829-1E8B-1B42-EE82-708FC54CE5DF}"/>
          </ac:spMkLst>
        </pc:spChg>
        <pc:spChg chg="mod">
          <ac:chgData name="Alfawzan, Lujain" userId="5542ab1a-fb35-4379-8837-59a3729222cc" providerId="ADAL" clId="{3B8D064A-583E-44DC-B3B3-6387FA60473B}" dt="2024-01-02T04:08:47.765" v="2277"/>
          <ac:spMkLst>
            <pc:docMk/>
            <pc:sldMk cId="3367745848" sldId="2147479570"/>
            <ac:spMk id="39" creationId="{BD9D5484-FAA7-1EAA-AA93-40D46C55BB17}"/>
          </ac:spMkLst>
        </pc:spChg>
        <pc:spChg chg="mod">
          <ac:chgData name="Alfawzan, Lujain" userId="5542ab1a-fb35-4379-8837-59a3729222cc" providerId="ADAL" clId="{3B8D064A-583E-44DC-B3B3-6387FA60473B}" dt="2024-01-02T04:11:27.271" v="2301" actId="108"/>
          <ac:spMkLst>
            <pc:docMk/>
            <pc:sldMk cId="3367745848" sldId="2147479570"/>
            <ac:spMk id="41" creationId="{86569FDC-11E2-EC61-8C91-9818DCFAB5D6}"/>
          </ac:spMkLst>
        </pc:spChg>
        <pc:spChg chg="mod">
          <ac:chgData name="Alfawzan, Lujain" userId="5542ab1a-fb35-4379-8837-59a3729222cc" providerId="ADAL" clId="{3B8D064A-583E-44DC-B3B3-6387FA60473B}" dt="2024-01-02T04:11:27.271" v="2301" actId="108"/>
          <ac:spMkLst>
            <pc:docMk/>
            <pc:sldMk cId="3367745848" sldId="2147479570"/>
            <ac:spMk id="42" creationId="{DB7E60B6-51E1-D2A0-CFBE-AFC268588B87}"/>
          </ac:spMkLst>
        </pc:spChg>
        <pc:spChg chg="mod">
          <ac:chgData name="Alfawzan, Lujain" userId="5542ab1a-fb35-4379-8837-59a3729222cc" providerId="ADAL" clId="{3B8D064A-583E-44DC-B3B3-6387FA60473B}" dt="2024-01-02T04:11:27.271" v="2301" actId="108"/>
          <ac:spMkLst>
            <pc:docMk/>
            <pc:sldMk cId="3367745848" sldId="2147479570"/>
            <ac:spMk id="43" creationId="{5073629A-FE05-3D5C-E004-1602A07DB8F7}"/>
          </ac:spMkLst>
        </pc:spChg>
        <pc:spChg chg="mod">
          <ac:chgData name="Alfawzan, Lujain" userId="5542ab1a-fb35-4379-8837-59a3729222cc" providerId="ADAL" clId="{3B8D064A-583E-44DC-B3B3-6387FA60473B}" dt="2024-01-02T04:08:47.765" v="2277"/>
          <ac:spMkLst>
            <pc:docMk/>
            <pc:sldMk cId="3367745848" sldId="2147479570"/>
            <ac:spMk id="45" creationId="{FB1C151C-D23E-94A5-BC81-2787D9598B13}"/>
          </ac:spMkLst>
        </pc:spChg>
        <pc:spChg chg="mod">
          <ac:chgData name="Alfawzan, Lujain" userId="5542ab1a-fb35-4379-8837-59a3729222cc" providerId="ADAL" clId="{3B8D064A-583E-44DC-B3B3-6387FA60473B}" dt="2024-01-02T04:11:27.271" v="2301" actId="108"/>
          <ac:spMkLst>
            <pc:docMk/>
            <pc:sldMk cId="3367745848" sldId="2147479570"/>
            <ac:spMk id="47" creationId="{C5CF8244-92B5-0AC1-D3A7-64551D419920}"/>
          </ac:spMkLst>
        </pc:spChg>
        <pc:spChg chg="mod">
          <ac:chgData name="Alfawzan, Lujain" userId="5542ab1a-fb35-4379-8837-59a3729222cc" providerId="ADAL" clId="{3B8D064A-583E-44DC-B3B3-6387FA60473B}" dt="2024-01-02T04:11:27.271" v="2301" actId="108"/>
          <ac:spMkLst>
            <pc:docMk/>
            <pc:sldMk cId="3367745848" sldId="2147479570"/>
            <ac:spMk id="50" creationId="{1988083D-C6AE-FBDE-2FF6-7F0EF12C7609}"/>
          </ac:spMkLst>
        </pc:spChg>
        <pc:spChg chg="mod">
          <ac:chgData name="Alfawzan, Lujain" userId="5542ab1a-fb35-4379-8837-59a3729222cc" providerId="ADAL" clId="{3B8D064A-583E-44DC-B3B3-6387FA60473B}" dt="2024-01-02T04:11:27.271" v="2301" actId="108"/>
          <ac:spMkLst>
            <pc:docMk/>
            <pc:sldMk cId="3367745848" sldId="2147479570"/>
            <ac:spMk id="52" creationId="{3683FC80-4A63-321B-2E1F-EDE47D3611DE}"/>
          </ac:spMkLst>
        </pc:spChg>
        <pc:spChg chg="mod">
          <ac:chgData name="Alfawzan, Lujain" userId="5542ab1a-fb35-4379-8837-59a3729222cc" providerId="ADAL" clId="{3B8D064A-583E-44DC-B3B3-6387FA60473B}" dt="2024-01-02T04:08:47.765" v="2277"/>
          <ac:spMkLst>
            <pc:docMk/>
            <pc:sldMk cId="3367745848" sldId="2147479570"/>
            <ac:spMk id="59" creationId="{40F43431-3F0A-420F-3763-D8C07814037C}"/>
          </ac:spMkLst>
        </pc:spChg>
        <pc:spChg chg="mod">
          <ac:chgData name="Alfawzan, Lujain" userId="5542ab1a-fb35-4379-8837-59a3729222cc" providerId="ADAL" clId="{3B8D064A-583E-44DC-B3B3-6387FA60473B}" dt="2024-01-02T04:08:47.765" v="2277"/>
          <ac:spMkLst>
            <pc:docMk/>
            <pc:sldMk cId="3367745848" sldId="2147479570"/>
            <ac:spMk id="60" creationId="{D2C2C922-ACE7-90D5-75A8-968AD5088A00}"/>
          </ac:spMkLst>
        </pc:spChg>
        <pc:spChg chg="mod">
          <ac:chgData name="Alfawzan, Lujain" userId="5542ab1a-fb35-4379-8837-59a3729222cc" providerId="ADAL" clId="{3B8D064A-583E-44DC-B3B3-6387FA60473B}" dt="2024-01-02T04:08:47.765" v="2277"/>
          <ac:spMkLst>
            <pc:docMk/>
            <pc:sldMk cId="3367745848" sldId="2147479570"/>
            <ac:spMk id="62" creationId="{55C79073-2980-6D2F-2731-A11A0469E055}"/>
          </ac:spMkLst>
        </pc:spChg>
        <pc:spChg chg="mod">
          <ac:chgData name="Alfawzan, Lujain" userId="5542ab1a-fb35-4379-8837-59a3729222cc" providerId="ADAL" clId="{3B8D064A-583E-44DC-B3B3-6387FA60473B}" dt="2024-01-02T04:08:47.765" v="2277"/>
          <ac:spMkLst>
            <pc:docMk/>
            <pc:sldMk cId="3367745848" sldId="2147479570"/>
            <ac:spMk id="63" creationId="{319CCBE9-8A7C-AC3E-C7AA-7C438D7E3D00}"/>
          </ac:spMkLst>
        </pc:spChg>
        <pc:spChg chg="mod">
          <ac:chgData name="Alfawzan, Lujain" userId="5542ab1a-fb35-4379-8837-59a3729222cc" providerId="ADAL" clId="{3B8D064A-583E-44DC-B3B3-6387FA60473B}" dt="2024-01-02T04:08:47.765" v="2277"/>
          <ac:spMkLst>
            <pc:docMk/>
            <pc:sldMk cId="3367745848" sldId="2147479570"/>
            <ac:spMk id="65" creationId="{70026426-CDAC-6176-2925-139428869366}"/>
          </ac:spMkLst>
        </pc:spChg>
        <pc:spChg chg="mod">
          <ac:chgData name="Alfawzan, Lujain" userId="5542ab1a-fb35-4379-8837-59a3729222cc" providerId="ADAL" clId="{3B8D064A-583E-44DC-B3B3-6387FA60473B}" dt="2024-01-02T04:08:47.765" v="2277"/>
          <ac:spMkLst>
            <pc:docMk/>
            <pc:sldMk cId="3367745848" sldId="2147479570"/>
            <ac:spMk id="66" creationId="{2932FE50-2A41-C17C-73D8-FB7DD94000E9}"/>
          </ac:spMkLst>
        </pc:spChg>
        <pc:spChg chg="mod">
          <ac:chgData name="Alfawzan, Lujain" userId="5542ab1a-fb35-4379-8837-59a3729222cc" providerId="ADAL" clId="{3B8D064A-583E-44DC-B3B3-6387FA60473B}" dt="2024-01-02T04:08:47.765" v="2277"/>
          <ac:spMkLst>
            <pc:docMk/>
            <pc:sldMk cId="3367745848" sldId="2147479570"/>
            <ac:spMk id="68" creationId="{4A85DEF0-8C1A-4A90-5496-72512079C34E}"/>
          </ac:spMkLst>
        </pc:spChg>
        <pc:spChg chg="mod">
          <ac:chgData name="Alfawzan, Lujain" userId="5542ab1a-fb35-4379-8837-59a3729222cc" providerId="ADAL" clId="{3B8D064A-583E-44DC-B3B3-6387FA60473B}" dt="2024-01-02T04:08:47.765" v="2277"/>
          <ac:spMkLst>
            <pc:docMk/>
            <pc:sldMk cId="3367745848" sldId="2147479570"/>
            <ac:spMk id="69" creationId="{F67E0FE7-4AC5-6302-AAAA-43777FCE3AC0}"/>
          </ac:spMkLst>
        </pc:spChg>
        <pc:spChg chg="mod">
          <ac:chgData name="Alfawzan, Lujain" userId="5542ab1a-fb35-4379-8837-59a3729222cc" providerId="ADAL" clId="{3B8D064A-583E-44DC-B3B3-6387FA60473B}" dt="2024-01-02T04:08:47.765" v="2277"/>
          <ac:spMkLst>
            <pc:docMk/>
            <pc:sldMk cId="3367745848" sldId="2147479570"/>
            <ac:spMk id="74" creationId="{9225B5E3-64B6-515F-7CB4-F9A59225FAA2}"/>
          </ac:spMkLst>
        </pc:spChg>
        <pc:spChg chg="mod">
          <ac:chgData name="Alfawzan, Lujain" userId="5542ab1a-fb35-4379-8837-59a3729222cc" providerId="ADAL" clId="{3B8D064A-583E-44DC-B3B3-6387FA60473B}" dt="2024-01-02T04:08:47.765" v="2277"/>
          <ac:spMkLst>
            <pc:docMk/>
            <pc:sldMk cId="3367745848" sldId="2147479570"/>
            <ac:spMk id="83" creationId="{8A309DDE-8252-F29F-249F-C2E2377C4FD5}"/>
          </ac:spMkLst>
        </pc:spChg>
        <pc:spChg chg="mod">
          <ac:chgData name="Alfawzan, Lujain" userId="5542ab1a-fb35-4379-8837-59a3729222cc" providerId="ADAL" clId="{3B8D064A-583E-44DC-B3B3-6387FA60473B}" dt="2024-01-02T04:08:47.765" v="2277"/>
          <ac:spMkLst>
            <pc:docMk/>
            <pc:sldMk cId="3367745848" sldId="2147479570"/>
            <ac:spMk id="84" creationId="{D3AC6DCC-AE19-168B-1161-4E35088129E0}"/>
          </ac:spMkLst>
        </pc:spChg>
        <pc:spChg chg="mod">
          <ac:chgData name="Alfawzan, Lujain" userId="5542ab1a-fb35-4379-8837-59a3729222cc" providerId="ADAL" clId="{3B8D064A-583E-44DC-B3B3-6387FA60473B}" dt="2024-01-02T04:08:47.765" v="2277"/>
          <ac:spMkLst>
            <pc:docMk/>
            <pc:sldMk cId="3367745848" sldId="2147479570"/>
            <ac:spMk id="85" creationId="{472E607B-891C-586F-C7AE-9D9C79F2E208}"/>
          </ac:spMkLst>
        </pc:spChg>
        <pc:spChg chg="mod">
          <ac:chgData name="Alfawzan, Lujain" userId="5542ab1a-fb35-4379-8837-59a3729222cc" providerId="ADAL" clId="{3B8D064A-583E-44DC-B3B3-6387FA60473B}" dt="2024-01-02T04:08:47.765" v="2277"/>
          <ac:spMkLst>
            <pc:docMk/>
            <pc:sldMk cId="3367745848" sldId="2147479570"/>
            <ac:spMk id="86" creationId="{4EFF67A7-EFE4-9981-3744-BE5190B7E997}"/>
          </ac:spMkLst>
        </pc:spChg>
        <pc:spChg chg="mod">
          <ac:chgData name="Alfawzan, Lujain" userId="5542ab1a-fb35-4379-8837-59a3729222cc" providerId="ADAL" clId="{3B8D064A-583E-44DC-B3B3-6387FA60473B}" dt="2024-01-02T04:08:47.765" v="2277"/>
          <ac:spMkLst>
            <pc:docMk/>
            <pc:sldMk cId="3367745848" sldId="2147479570"/>
            <ac:spMk id="87" creationId="{6952C289-12BD-AEF5-F80B-BCEAAF8CB673}"/>
          </ac:spMkLst>
        </pc:spChg>
        <pc:spChg chg="mod">
          <ac:chgData name="Alfawzan, Lujain" userId="5542ab1a-fb35-4379-8837-59a3729222cc" providerId="ADAL" clId="{3B8D064A-583E-44DC-B3B3-6387FA60473B}" dt="2024-01-02T04:08:47.765" v="2277"/>
          <ac:spMkLst>
            <pc:docMk/>
            <pc:sldMk cId="3367745848" sldId="2147479570"/>
            <ac:spMk id="88" creationId="{53D35C6E-43C2-CDAC-21B7-16E52DA7F846}"/>
          </ac:spMkLst>
        </pc:spChg>
        <pc:spChg chg="mod">
          <ac:chgData name="Alfawzan, Lujain" userId="5542ab1a-fb35-4379-8837-59a3729222cc" providerId="ADAL" clId="{3B8D064A-583E-44DC-B3B3-6387FA60473B}" dt="2024-01-02T04:08:47.765" v="2277"/>
          <ac:spMkLst>
            <pc:docMk/>
            <pc:sldMk cId="3367745848" sldId="2147479570"/>
            <ac:spMk id="89" creationId="{ED905F9D-D656-5D16-B19D-1777CD243F7C}"/>
          </ac:spMkLst>
        </pc:spChg>
        <pc:spChg chg="mod">
          <ac:chgData name="Alfawzan, Lujain" userId="5542ab1a-fb35-4379-8837-59a3729222cc" providerId="ADAL" clId="{3B8D064A-583E-44DC-B3B3-6387FA60473B}" dt="2024-01-02T04:08:47.765" v="2277"/>
          <ac:spMkLst>
            <pc:docMk/>
            <pc:sldMk cId="3367745848" sldId="2147479570"/>
            <ac:spMk id="90" creationId="{2B8939EF-AD71-C225-8832-77CF53C1769C}"/>
          </ac:spMkLst>
        </pc:spChg>
        <pc:grpChg chg="add del mod">
          <ac:chgData name="Alfawzan, Lujain" userId="5542ab1a-fb35-4379-8837-59a3729222cc" providerId="ADAL" clId="{3B8D064A-583E-44DC-B3B3-6387FA60473B}" dt="2024-01-02T04:08:20.593" v="2276"/>
          <ac:grpSpMkLst>
            <pc:docMk/>
            <pc:sldMk cId="3367745848" sldId="2147479570"/>
            <ac:grpSpMk id="8" creationId="{5D3F3A9F-4EDF-574B-6E89-F72F9B73B369}"/>
          </ac:grpSpMkLst>
        </pc:grpChg>
        <pc:grpChg chg="mod">
          <ac:chgData name="Alfawzan, Lujain" userId="5542ab1a-fb35-4379-8837-59a3729222cc" providerId="ADAL" clId="{3B8D064A-583E-44DC-B3B3-6387FA60473B}" dt="2024-01-02T04:08:19.035" v="2275"/>
          <ac:grpSpMkLst>
            <pc:docMk/>
            <pc:sldMk cId="3367745848" sldId="2147479570"/>
            <ac:grpSpMk id="16" creationId="{9B7D9502-10B8-EA1D-7211-D0FFD75BA464}"/>
          </ac:grpSpMkLst>
        </pc:grpChg>
        <pc:grpChg chg="add mod">
          <ac:chgData name="Alfawzan, Lujain" userId="5542ab1a-fb35-4379-8837-59a3729222cc" providerId="ADAL" clId="{3B8D064A-583E-44DC-B3B3-6387FA60473B}" dt="2024-01-02T04:08:47.765" v="2277"/>
          <ac:grpSpMkLst>
            <pc:docMk/>
            <pc:sldMk cId="3367745848" sldId="2147479570"/>
            <ac:grpSpMk id="33" creationId="{48880207-3EDD-4226-E308-BAAE3C1C106D}"/>
          </ac:grpSpMkLst>
        </pc:grpChg>
        <pc:grpChg chg="mod">
          <ac:chgData name="Alfawzan, Lujain" userId="5542ab1a-fb35-4379-8837-59a3729222cc" providerId="ADAL" clId="{3B8D064A-583E-44DC-B3B3-6387FA60473B}" dt="2024-01-02T04:08:47.765" v="2277"/>
          <ac:grpSpMkLst>
            <pc:docMk/>
            <pc:sldMk cId="3367745848" sldId="2147479570"/>
            <ac:grpSpMk id="53" creationId="{7C7128D0-906C-C4F3-C218-7AFCBA76D8FF}"/>
          </ac:grpSpMkLst>
        </pc:grpChg>
        <pc:grpChg chg="mod">
          <ac:chgData name="Alfawzan, Lujain" userId="5542ab1a-fb35-4379-8837-59a3729222cc" providerId="ADAL" clId="{3B8D064A-583E-44DC-B3B3-6387FA60473B}" dt="2024-01-02T04:08:47.765" v="2277"/>
          <ac:grpSpMkLst>
            <pc:docMk/>
            <pc:sldMk cId="3367745848" sldId="2147479570"/>
            <ac:grpSpMk id="54" creationId="{7AD4F05C-3B14-B291-34FD-AF3B48BCA061}"/>
          </ac:grpSpMkLst>
        </pc:grpChg>
        <pc:grpChg chg="mod">
          <ac:chgData name="Alfawzan, Lujain" userId="5542ab1a-fb35-4379-8837-59a3729222cc" providerId="ADAL" clId="{3B8D064A-583E-44DC-B3B3-6387FA60473B}" dt="2024-01-02T04:08:47.765" v="2277"/>
          <ac:grpSpMkLst>
            <pc:docMk/>
            <pc:sldMk cId="3367745848" sldId="2147479570"/>
            <ac:grpSpMk id="55" creationId="{73C50EAB-DA07-E683-BDAF-4596F72C301F}"/>
          </ac:grpSpMkLst>
        </pc:grpChg>
        <pc:grpChg chg="mod">
          <ac:chgData name="Alfawzan, Lujain" userId="5542ab1a-fb35-4379-8837-59a3729222cc" providerId="ADAL" clId="{3B8D064A-583E-44DC-B3B3-6387FA60473B}" dt="2024-01-02T04:08:47.765" v="2277"/>
          <ac:grpSpMkLst>
            <pc:docMk/>
            <pc:sldMk cId="3367745848" sldId="2147479570"/>
            <ac:grpSpMk id="56" creationId="{5A8764AE-BB74-218F-5356-83CE6B82BBE5}"/>
          </ac:grpSpMkLst>
        </pc:grpChg>
        <pc:grpChg chg="mod">
          <ac:chgData name="Alfawzan, Lujain" userId="5542ab1a-fb35-4379-8837-59a3729222cc" providerId="ADAL" clId="{3B8D064A-583E-44DC-B3B3-6387FA60473B}" dt="2024-01-02T04:08:47.765" v="2277"/>
          <ac:grpSpMkLst>
            <pc:docMk/>
            <pc:sldMk cId="3367745848" sldId="2147479570"/>
            <ac:grpSpMk id="57" creationId="{9EF5A73E-69B9-6F93-90AE-EAE56991FFCB}"/>
          </ac:grpSpMkLst>
        </pc:grpChg>
        <pc:grpChg chg="add mod">
          <ac:chgData name="Alfawzan, Lujain" userId="5542ab1a-fb35-4379-8837-59a3729222cc" providerId="ADAL" clId="{3B8D064A-583E-44DC-B3B3-6387FA60473B}" dt="2024-01-02T04:08:47.765" v="2277"/>
          <ac:grpSpMkLst>
            <pc:docMk/>
            <pc:sldMk cId="3367745848" sldId="2147479570"/>
            <ac:grpSpMk id="75" creationId="{161F0D60-CC05-E6F3-713C-7A0B8725BA8B}"/>
          </ac:grpSpMkLst>
        </pc:grpChg>
        <pc:grpChg chg="mod">
          <ac:chgData name="Alfawzan, Lujain" userId="5542ab1a-fb35-4379-8837-59a3729222cc" providerId="ADAL" clId="{3B8D064A-583E-44DC-B3B3-6387FA60473B}" dt="2024-01-02T04:08:47.765" v="2277"/>
          <ac:grpSpMkLst>
            <pc:docMk/>
            <pc:sldMk cId="3367745848" sldId="2147479570"/>
            <ac:grpSpMk id="76" creationId="{FE102D4F-D39F-1319-E78E-84AAC2378937}"/>
          </ac:grpSpMkLst>
        </pc:grpChg>
        <pc:picChg chg="add del">
          <ac:chgData name="Alfawzan, Lujain" userId="5542ab1a-fb35-4379-8837-59a3729222cc" providerId="ADAL" clId="{3B8D064A-583E-44DC-B3B3-6387FA60473B}" dt="2024-01-02T04:10:44.777" v="2298" actId="478"/>
          <ac:picMkLst>
            <pc:docMk/>
            <pc:sldMk cId="3367745848" sldId="2147479570"/>
            <ac:picMk id="7" creationId="{A562648B-8A00-D1F9-96BC-8D09DD599A77}"/>
          </ac:picMkLst>
        </pc:picChg>
        <pc:picChg chg="del">
          <ac:chgData name="Alfawzan, Lujain" userId="5542ab1a-fb35-4379-8837-59a3729222cc" providerId="ADAL" clId="{3B8D064A-583E-44DC-B3B3-6387FA60473B}" dt="2024-01-02T04:07:44.951" v="2271" actId="478"/>
          <ac:picMkLst>
            <pc:docMk/>
            <pc:sldMk cId="3367745848" sldId="2147479570"/>
            <ac:picMk id="9" creationId="{A4A17EDC-DB47-4561-DB8C-F0ED7AAE4E52}"/>
          </ac:picMkLst>
        </pc:picChg>
        <pc:picChg chg="del">
          <ac:chgData name="Alfawzan, Lujain" userId="5542ab1a-fb35-4379-8837-59a3729222cc" providerId="ADAL" clId="{3B8D064A-583E-44DC-B3B3-6387FA60473B}" dt="2024-01-02T04:07:44.951" v="2271" actId="478"/>
          <ac:picMkLst>
            <pc:docMk/>
            <pc:sldMk cId="3367745848" sldId="2147479570"/>
            <ac:picMk id="15" creationId="{5758733A-BD2E-B690-52B7-AC5DAC5F081C}"/>
          </ac:picMkLst>
        </pc:picChg>
        <pc:picChg chg="mod">
          <ac:chgData name="Alfawzan, Lujain" userId="5542ab1a-fb35-4379-8837-59a3729222cc" providerId="ADAL" clId="{3B8D064A-583E-44DC-B3B3-6387FA60473B}" dt="2024-01-02T04:08:19.035" v="2275"/>
          <ac:picMkLst>
            <pc:docMk/>
            <pc:sldMk cId="3367745848" sldId="2147479570"/>
            <ac:picMk id="18" creationId="{69F572A3-A4F5-F949-7B03-4F12B218BD6A}"/>
          </ac:picMkLst>
        </pc:picChg>
        <pc:picChg chg="mod">
          <ac:chgData name="Alfawzan, Lujain" userId="5542ab1a-fb35-4379-8837-59a3729222cc" providerId="ADAL" clId="{3B8D064A-583E-44DC-B3B3-6387FA60473B}" dt="2024-01-02T04:08:19.035" v="2275"/>
          <ac:picMkLst>
            <pc:docMk/>
            <pc:sldMk cId="3367745848" sldId="2147479570"/>
            <ac:picMk id="19" creationId="{8DBDA5C5-62A7-97AC-8B19-0B7E22B6A9FE}"/>
          </ac:picMkLst>
        </pc:picChg>
        <pc:picChg chg="mod">
          <ac:chgData name="Alfawzan, Lujain" userId="5542ab1a-fb35-4379-8837-59a3729222cc" providerId="ADAL" clId="{3B8D064A-583E-44DC-B3B3-6387FA60473B}" dt="2024-01-02T04:08:19.035" v="2275"/>
          <ac:picMkLst>
            <pc:docMk/>
            <pc:sldMk cId="3367745848" sldId="2147479570"/>
            <ac:picMk id="20" creationId="{FF64E838-AFB0-93E6-290F-E4A7B410F080}"/>
          </ac:picMkLst>
        </pc:picChg>
        <pc:picChg chg="mod">
          <ac:chgData name="Alfawzan, Lujain" userId="5542ab1a-fb35-4379-8837-59a3729222cc" providerId="ADAL" clId="{3B8D064A-583E-44DC-B3B3-6387FA60473B}" dt="2024-01-02T04:08:19.035" v="2275"/>
          <ac:picMkLst>
            <pc:docMk/>
            <pc:sldMk cId="3367745848" sldId="2147479570"/>
            <ac:picMk id="21" creationId="{C4E23CBE-71B2-203B-3977-882DCAD8B74A}"/>
          </ac:picMkLst>
        </pc:picChg>
        <pc:picChg chg="mod">
          <ac:chgData name="Alfawzan, Lujain" userId="5542ab1a-fb35-4379-8837-59a3729222cc" providerId="ADAL" clId="{3B8D064A-583E-44DC-B3B3-6387FA60473B}" dt="2024-01-02T04:08:19.035" v="2275"/>
          <ac:picMkLst>
            <pc:docMk/>
            <pc:sldMk cId="3367745848" sldId="2147479570"/>
            <ac:picMk id="22" creationId="{F39D3950-5CD9-5D60-C888-CDF95FBE2735}"/>
          </ac:picMkLst>
        </pc:picChg>
        <pc:picChg chg="mod">
          <ac:chgData name="Alfawzan, Lujain" userId="5542ab1a-fb35-4379-8837-59a3729222cc" providerId="ADAL" clId="{3B8D064A-583E-44DC-B3B3-6387FA60473B}" dt="2024-01-02T04:08:19.035" v="2275"/>
          <ac:picMkLst>
            <pc:docMk/>
            <pc:sldMk cId="3367745848" sldId="2147479570"/>
            <ac:picMk id="23" creationId="{D3493899-F43F-F0A2-CC16-50B5D322E3E2}"/>
          </ac:picMkLst>
        </pc:picChg>
        <pc:picChg chg="mod">
          <ac:chgData name="Alfawzan, Lujain" userId="5542ab1a-fb35-4379-8837-59a3729222cc" providerId="ADAL" clId="{3B8D064A-583E-44DC-B3B3-6387FA60473B}" dt="2024-01-02T04:08:47.765" v="2277"/>
          <ac:picMkLst>
            <pc:docMk/>
            <pc:sldMk cId="3367745848" sldId="2147479570"/>
            <ac:picMk id="36" creationId="{D446320B-2FCE-38DD-BBD1-1943FD52EDB6}"/>
          </ac:picMkLst>
        </pc:picChg>
        <pc:picChg chg="mod">
          <ac:chgData name="Alfawzan, Lujain" userId="5542ab1a-fb35-4379-8837-59a3729222cc" providerId="ADAL" clId="{3B8D064A-583E-44DC-B3B3-6387FA60473B}" dt="2024-01-02T04:11:42.863" v="2302"/>
          <ac:picMkLst>
            <pc:docMk/>
            <pc:sldMk cId="3367745848" sldId="2147479570"/>
            <ac:picMk id="38" creationId="{A4CF94A9-8F12-F8B6-CF3E-5E6C1A0A8D36}"/>
          </ac:picMkLst>
        </pc:picChg>
        <pc:picChg chg="mod">
          <ac:chgData name="Alfawzan, Lujain" userId="5542ab1a-fb35-4379-8837-59a3729222cc" providerId="ADAL" clId="{3B8D064A-583E-44DC-B3B3-6387FA60473B}" dt="2024-01-02T04:08:47.765" v="2277"/>
          <ac:picMkLst>
            <pc:docMk/>
            <pc:sldMk cId="3367745848" sldId="2147479570"/>
            <ac:picMk id="40" creationId="{23FDEBB2-85D4-040C-BC04-9BFB1727A6FC}"/>
          </ac:picMkLst>
        </pc:picChg>
        <pc:picChg chg="mod">
          <ac:chgData name="Alfawzan, Lujain" userId="5542ab1a-fb35-4379-8837-59a3729222cc" providerId="ADAL" clId="{3B8D064A-583E-44DC-B3B3-6387FA60473B}" dt="2024-01-02T04:08:47.765" v="2277"/>
          <ac:picMkLst>
            <pc:docMk/>
            <pc:sldMk cId="3367745848" sldId="2147479570"/>
            <ac:picMk id="44" creationId="{CABB5A2F-2491-BEAD-C4A9-2F6A94DDCB87}"/>
          </ac:picMkLst>
        </pc:picChg>
        <pc:picChg chg="mod">
          <ac:chgData name="Alfawzan, Lujain" userId="5542ab1a-fb35-4379-8837-59a3729222cc" providerId="ADAL" clId="{3B8D064A-583E-44DC-B3B3-6387FA60473B}" dt="2024-01-02T04:08:47.765" v="2277"/>
          <ac:picMkLst>
            <pc:docMk/>
            <pc:sldMk cId="3367745848" sldId="2147479570"/>
            <ac:picMk id="46" creationId="{83BF4E95-2967-8E33-F0F8-86B2DA23A51C}"/>
          </ac:picMkLst>
        </pc:picChg>
        <pc:picChg chg="mod">
          <ac:chgData name="Alfawzan, Lujain" userId="5542ab1a-fb35-4379-8837-59a3729222cc" providerId="ADAL" clId="{3B8D064A-583E-44DC-B3B3-6387FA60473B}" dt="2024-01-02T04:08:47.765" v="2277"/>
          <ac:picMkLst>
            <pc:docMk/>
            <pc:sldMk cId="3367745848" sldId="2147479570"/>
            <ac:picMk id="48" creationId="{6B1A53DC-9F7C-641F-118F-BC106CB35BE2}"/>
          </ac:picMkLst>
        </pc:picChg>
        <pc:picChg chg="mod">
          <ac:chgData name="Alfawzan, Lujain" userId="5542ab1a-fb35-4379-8837-59a3729222cc" providerId="ADAL" clId="{3B8D064A-583E-44DC-B3B3-6387FA60473B}" dt="2024-01-02T04:11:42.863" v="2302"/>
          <ac:picMkLst>
            <pc:docMk/>
            <pc:sldMk cId="3367745848" sldId="2147479570"/>
            <ac:picMk id="49" creationId="{49FE7B71-AEAE-F4FE-9032-F2AF1F68A15E}"/>
          </ac:picMkLst>
        </pc:picChg>
        <pc:picChg chg="mod">
          <ac:chgData name="Alfawzan, Lujain" userId="5542ab1a-fb35-4379-8837-59a3729222cc" providerId="ADAL" clId="{3B8D064A-583E-44DC-B3B3-6387FA60473B}" dt="2024-01-02T04:08:47.765" v="2277"/>
          <ac:picMkLst>
            <pc:docMk/>
            <pc:sldMk cId="3367745848" sldId="2147479570"/>
            <ac:picMk id="51" creationId="{651257C7-7FD0-2CBB-646D-62936D36D834}"/>
          </ac:picMkLst>
        </pc:picChg>
        <pc:picChg chg="mod">
          <ac:chgData name="Alfawzan, Lujain" userId="5542ab1a-fb35-4379-8837-59a3729222cc" providerId="ADAL" clId="{3B8D064A-583E-44DC-B3B3-6387FA60473B}" dt="2024-01-02T04:08:47.765" v="2277"/>
          <ac:picMkLst>
            <pc:docMk/>
            <pc:sldMk cId="3367745848" sldId="2147479570"/>
            <ac:picMk id="70" creationId="{46514D61-A97A-005F-F7C8-B5800AF652A1}"/>
          </ac:picMkLst>
        </pc:picChg>
        <pc:picChg chg="mod">
          <ac:chgData name="Alfawzan, Lujain" userId="5542ab1a-fb35-4379-8837-59a3729222cc" providerId="ADAL" clId="{3B8D064A-583E-44DC-B3B3-6387FA60473B}" dt="2024-01-02T04:08:47.765" v="2277"/>
          <ac:picMkLst>
            <pc:docMk/>
            <pc:sldMk cId="3367745848" sldId="2147479570"/>
            <ac:picMk id="71" creationId="{02820131-1569-47FB-8373-644246CFE6C2}"/>
          </ac:picMkLst>
        </pc:picChg>
        <pc:picChg chg="mod">
          <ac:chgData name="Alfawzan, Lujain" userId="5542ab1a-fb35-4379-8837-59a3729222cc" providerId="ADAL" clId="{3B8D064A-583E-44DC-B3B3-6387FA60473B}" dt="2024-01-02T04:08:47.765" v="2277"/>
          <ac:picMkLst>
            <pc:docMk/>
            <pc:sldMk cId="3367745848" sldId="2147479570"/>
            <ac:picMk id="72" creationId="{65812510-39DC-26BF-3075-9CD7D78EB7C6}"/>
          </ac:picMkLst>
        </pc:picChg>
        <pc:picChg chg="mod">
          <ac:chgData name="Alfawzan, Lujain" userId="5542ab1a-fb35-4379-8837-59a3729222cc" providerId="ADAL" clId="{3B8D064A-583E-44DC-B3B3-6387FA60473B}" dt="2024-01-02T04:08:47.765" v="2277"/>
          <ac:picMkLst>
            <pc:docMk/>
            <pc:sldMk cId="3367745848" sldId="2147479570"/>
            <ac:picMk id="73" creationId="{719D4929-2036-6D44-F7ED-61C86011FA60}"/>
          </ac:picMkLst>
        </pc:picChg>
        <pc:picChg chg="mod">
          <ac:chgData name="Alfawzan, Lujain" userId="5542ab1a-fb35-4379-8837-59a3729222cc" providerId="ADAL" clId="{3B8D064A-583E-44DC-B3B3-6387FA60473B}" dt="2024-01-02T04:08:47.765" v="2277"/>
          <ac:picMkLst>
            <pc:docMk/>
            <pc:sldMk cId="3367745848" sldId="2147479570"/>
            <ac:picMk id="77" creationId="{760F00DA-5262-3AD1-1AB8-DF3085D32C3B}"/>
          </ac:picMkLst>
        </pc:picChg>
        <pc:picChg chg="mod">
          <ac:chgData name="Alfawzan, Lujain" userId="5542ab1a-fb35-4379-8837-59a3729222cc" providerId="ADAL" clId="{3B8D064A-583E-44DC-B3B3-6387FA60473B}" dt="2024-01-02T04:08:47.765" v="2277"/>
          <ac:picMkLst>
            <pc:docMk/>
            <pc:sldMk cId="3367745848" sldId="2147479570"/>
            <ac:picMk id="78" creationId="{76C47480-FE34-6EC7-2559-D8045C7E43BC}"/>
          </ac:picMkLst>
        </pc:picChg>
        <pc:picChg chg="mod">
          <ac:chgData name="Alfawzan, Lujain" userId="5542ab1a-fb35-4379-8837-59a3729222cc" providerId="ADAL" clId="{3B8D064A-583E-44DC-B3B3-6387FA60473B}" dt="2024-01-02T04:08:47.765" v="2277"/>
          <ac:picMkLst>
            <pc:docMk/>
            <pc:sldMk cId="3367745848" sldId="2147479570"/>
            <ac:picMk id="79" creationId="{23B1B74E-84AC-1CC9-0E0D-954BE3ED2AF2}"/>
          </ac:picMkLst>
        </pc:picChg>
        <pc:picChg chg="mod">
          <ac:chgData name="Alfawzan, Lujain" userId="5542ab1a-fb35-4379-8837-59a3729222cc" providerId="ADAL" clId="{3B8D064A-583E-44DC-B3B3-6387FA60473B}" dt="2024-01-02T04:08:47.765" v="2277"/>
          <ac:picMkLst>
            <pc:docMk/>
            <pc:sldMk cId="3367745848" sldId="2147479570"/>
            <ac:picMk id="80" creationId="{8640B62D-06AD-3184-2BAB-3277A3EB1877}"/>
          </ac:picMkLst>
        </pc:picChg>
        <pc:picChg chg="mod">
          <ac:chgData name="Alfawzan, Lujain" userId="5542ab1a-fb35-4379-8837-59a3729222cc" providerId="ADAL" clId="{3B8D064A-583E-44DC-B3B3-6387FA60473B}" dt="2024-01-02T04:08:47.765" v="2277"/>
          <ac:picMkLst>
            <pc:docMk/>
            <pc:sldMk cId="3367745848" sldId="2147479570"/>
            <ac:picMk id="81" creationId="{0974A6EA-44B6-A6D9-B99D-97CD4FDCA3B9}"/>
          </ac:picMkLst>
        </pc:picChg>
        <pc:picChg chg="mod">
          <ac:chgData name="Alfawzan, Lujain" userId="5542ab1a-fb35-4379-8837-59a3729222cc" providerId="ADAL" clId="{3B8D064A-583E-44DC-B3B3-6387FA60473B}" dt="2024-01-02T04:08:47.765" v="2277"/>
          <ac:picMkLst>
            <pc:docMk/>
            <pc:sldMk cId="3367745848" sldId="2147479570"/>
            <ac:picMk id="82" creationId="{47DCC8ED-44FB-F78E-7E15-9F628384AEE8}"/>
          </ac:picMkLst>
        </pc:picChg>
        <pc:cxnChg chg="mod">
          <ac:chgData name="Alfawzan, Lujain" userId="5542ab1a-fb35-4379-8837-59a3729222cc" providerId="ADAL" clId="{3B8D064A-583E-44DC-B3B3-6387FA60473B}" dt="2024-01-02T04:08:47.765" v="2277"/>
          <ac:cxnSpMkLst>
            <pc:docMk/>
            <pc:sldMk cId="3367745848" sldId="2147479570"/>
            <ac:cxnSpMk id="58" creationId="{328C2B99-4F4C-4F5E-CAA1-1F686B9EF3CB}"/>
          </ac:cxnSpMkLst>
        </pc:cxnChg>
        <pc:cxnChg chg="mod">
          <ac:chgData name="Alfawzan, Lujain" userId="5542ab1a-fb35-4379-8837-59a3729222cc" providerId="ADAL" clId="{3B8D064A-583E-44DC-B3B3-6387FA60473B}" dt="2024-01-02T04:08:47.765" v="2277"/>
          <ac:cxnSpMkLst>
            <pc:docMk/>
            <pc:sldMk cId="3367745848" sldId="2147479570"/>
            <ac:cxnSpMk id="61" creationId="{EEF01441-7B74-3090-6572-FF555EF4F6EA}"/>
          </ac:cxnSpMkLst>
        </pc:cxnChg>
        <pc:cxnChg chg="mod">
          <ac:chgData name="Alfawzan, Lujain" userId="5542ab1a-fb35-4379-8837-59a3729222cc" providerId="ADAL" clId="{3B8D064A-583E-44DC-B3B3-6387FA60473B}" dt="2024-01-02T04:08:47.765" v="2277"/>
          <ac:cxnSpMkLst>
            <pc:docMk/>
            <pc:sldMk cId="3367745848" sldId="2147479570"/>
            <ac:cxnSpMk id="64" creationId="{80A091CA-613A-1EFE-3B20-8D4EC8B57105}"/>
          </ac:cxnSpMkLst>
        </pc:cxnChg>
        <pc:cxnChg chg="mod">
          <ac:chgData name="Alfawzan, Lujain" userId="5542ab1a-fb35-4379-8837-59a3729222cc" providerId="ADAL" clId="{3B8D064A-583E-44DC-B3B3-6387FA60473B}" dt="2024-01-02T04:08:47.765" v="2277"/>
          <ac:cxnSpMkLst>
            <pc:docMk/>
            <pc:sldMk cId="3367745848" sldId="2147479570"/>
            <ac:cxnSpMk id="67" creationId="{86D4303C-045A-1402-B2CD-8D509A7846EE}"/>
          </ac:cxnSpMkLst>
        </pc:cxnChg>
      </pc:sldChg>
      <pc:sldChg chg="addSp delSp modSp add mod">
        <pc:chgData name="Alfawzan, Lujain" userId="5542ab1a-fb35-4379-8837-59a3729222cc" providerId="ADAL" clId="{3B8D064A-583E-44DC-B3B3-6387FA60473B}" dt="2024-01-02T07:02:46.405" v="3516" actId="108"/>
        <pc:sldMkLst>
          <pc:docMk/>
          <pc:sldMk cId="1441388680" sldId="2147479571"/>
        </pc:sldMkLst>
        <pc:spChg chg="mod ord">
          <ac:chgData name="Alfawzan, Lujain" userId="5542ab1a-fb35-4379-8837-59a3729222cc" providerId="ADAL" clId="{3B8D064A-583E-44DC-B3B3-6387FA60473B}" dt="2024-01-02T05:38:25.706" v="2567" actId="1076"/>
          <ac:spMkLst>
            <pc:docMk/>
            <pc:sldMk cId="1441388680" sldId="2147479571"/>
            <ac:spMk id="6" creationId="{D9D278D7-ADAE-82D0-A1FB-A746FA41E3C5}"/>
          </ac:spMkLst>
        </pc:spChg>
        <pc:spChg chg="mod">
          <ac:chgData name="Alfawzan, Lujain" userId="5542ab1a-fb35-4379-8837-59a3729222cc" providerId="ADAL" clId="{3B8D064A-583E-44DC-B3B3-6387FA60473B}" dt="2024-01-02T05:35:50.466" v="2535" actId="20577"/>
          <ac:spMkLst>
            <pc:docMk/>
            <pc:sldMk cId="1441388680" sldId="2147479571"/>
            <ac:spMk id="16" creationId="{1F7028E4-7114-13C3-863A-35B6D9F1000C}"/>
          </ac:spMkLst>
        </pc:spChg>
        <pc:spChg chg="mod">
          <ac:chgData name="Alfawzan, Lujain" userId="5542ab1a-fb35-4379-8837-59a3729222cc" providerId="ADAL" clId="{3B8D064A-583E-44DC-B3B3-6387FA60473B}" dt="2024-01-02T05:37:01.415" v="2542" actId="20577"/>
          <ac:spMkLst>
            <pc:docMk/>
            <pc:sldMk cId="1441388680" sldId="2147479571"/>
            <ac:spMk id="18" creationId="{14C86E9B-D1A5-AFA2-682D-D010A63C7A75}"/>
          </ac:spMkLst>
        </pc:spChg>
        <pc:spChg chg="mod">
          <ac:chgData name="Alfawzan, Lujain" userId="5542ab1a-fb35-4379-8837-59a3729222cc" providerId="ADAL" clId="{3B8D064A-583E-44DC-B3B3-6387FA60473B}" dt="2024-01-02T05:39:06.204" v="2572"/>
          <ac:spMkLst>
            <pc:docMk/>
            <pc:sldMk cId="1441388680" sldId="2147479571"/>
            <ac:spMk id="21" creationId="{C99EE3AD-0681-40D2-7FD6-3E5954772208}"/>
          </ac:spMkLst>
        </pc:spChg>
        <pc:spChg chg="mod">
          <ac:chgData name="Alfawzan, Lujain" userId="5542ab1a-fb35-4379-8837-59a3729222cc" providerId="ADAL" clId="{3B8D064A-583E-44DC-B3B3-6387FA60473B}" dt="2024-01-02T07:02:46.405" v="3516" actId="108"/>
          <ac:spMkLst>
            <pc:docMk/>
            <pc:sldMk cId="1441388680" sldId="2147479571"/>
            <ac:spMk id="22" creationId="{E81AAF8B-CA6D-BA71-680D-9E0E2F0B4484}"/>
          </ac:spMkLst>
        </pc:spChg>
        <pc:grpChg chg="add mod">
          <ac:chgData name="Alfawzan, Lujain" userId="5542ab1a-fb35-4379-8837-59a3729222cc" providerId="ADAL" clId="{3B8D064A-583E-44DC-B3B3-6387FA60473B}" dt="2024-01-02T05:38:21.547" v="2566" actId="1076"/>
          <ac:grpSpMkLst>
            <pc:docMk/>
            <pc:sldMk cId="1441388680" sldId="2147479571"/>
            <ac:grpSpMk id="2" creationId="{23E4DC39-FEA8-5B6A-D390-7E1ED712FC5E}"/>
          </ac:grpSpMkLst>
        </pc:grpChg>
        <pc:picChg chg="mod">
          <ac:chgData name="Alfawzan, Lujain" userId="5542ab1a-fb35-4379-8837-59a3729222cc" providerId="ADAL" clId="{3B8D064A-583E-44DC-B3B3-6387FA60473B}" dt="2024-01-02T05:36:46.266" v="2537"/>
          <ac:picMkLst>
            <pc:docMk/>
            <pc:sldMk cId="1441388680" sldId="2147479571"/>
            <ac:picMk id="3" creationId="{8A85DA3D-F2D0-4489-8949-33AB0E635194}"/>
          </ac:picMkLst>
        </pc:picChg>
        <pc:picChg chg="del">
          <ac:chgData name="Alfawzan, Lujain" userId="5542ab1a-fb35-4379-8837-59a3729222cc" providerId="ADAL" clId="{3B8D064A-583E-44DC-B3B3-6387FA60473B}" dt="2024-01-02T05:36:45.298" v="2536" actId="478"/>
          <ac:picMkLst>
            <pc:docMk/>
            <pc:sldMk cId="1441388680" sldId="2147479571"/>
            <ac:picMk id="5" creationId="{F3F95F72-8CD0-AD66-A181-906787B59588}"/>
          </ac:picMkLst>
        </pc:picChg>
        <pc:picChg chg="mod">
          <ac:chgData name="Alfawzan, Lujain" userId="5542ab1a-fb35-4379-8837-59a3729222cc" providerId="ADAL" clId="{3B8D064A-583E-44DC-B3B3-6387FA60473B}" dt="2024-01-02T05:36:46.266" v="2537"/>
          <ac:picMkLst>
            <pc:docMk/>
            <pc:sldMk cId="1441388680" sldId="2147479571"/>
            <ac:picMk id="7" creationId="{CD5D246C-1F4F-8A7B-14F3-1D0ABDF96EC2}"/>
          </ac:picMkLst>
        </pc:picChg>
      </pc:sldChg>
      <pc:sldChg chg="addSp delSp modSp add del mod">
        <pc:chgData name="Alfawzan, Lujain" userId="5542ab1a-fb35-4379-8837-59a3729222cc" providerId="ADAL" clId="{3B8D064A-583E-44DC-B3B3-6387FA60473B}" dt="2024-01-02T02:58:23.795" v="2173" actId="47"/>
        <pc:sldMkLst>
          <pc:docMk/>
          <pc:sldMk cId="1692931358" sldId="2147479571"/>
        </pc:sldMkLst>
        <pc:spChg chg="add mod">
          <ac:chgData name="Alfawzan, Lujain" userId="5542ab1a-fb35-4379-8837-59a3729222cc" providerId="ADAL" clId="{3B8D064A-583E-44DC-B3B3-6387FA60473B}" dt="2024-01-02T02:52:07.591" v="1923" actId="164"/>
          <ac:spMkLst>
            <pc:docMk/>
            <pc:sldMk cId="1692931358" sldId="2147479571"/>
            <ac:spMk id="2" creationId="{9D0E24FB-6DE8-EC5E-534D-4612A620E58E}"/>
          </ac:spMkLst>
        </pc:spChg>
        <pc:spChg chg="add mod">
          <ac:chgData name="Alfawzan, Lujain" userId="5542ab1a-fb35-4379-8837-59a3729222cc" providerId="ADAL" clId="{3B8D064A-583E-44DC-B3B3-6387FA60473B}" dt="2024-01-02T02:52:07.591" v="1923" actId="164"/>
          <ac:spMkLst>
            <pc:docMk/>
            <pc:sldMk cId="1692931358" sldId="2147479571"/>
            <ac:spMk id="3" creationId="{E8838851-495A-3F8C-B789-E648FA1CD294}"/>
          </ac:spMkLst>
        </pc:spChg>
        <pc:spChg chg="mod">
          <ac:chgData name="Alfawzan, Lujain" userId="5542ab1a-fb35-4379-8837-59a3729222cc" providerId="ADAL" clId="{3B8D064A-583E-44DC-B3B3-6387FA60473B}" dt="2024-01-02T02:52:07.591" v="1923" actId="164"/>
          <ac:spMkLst>
            <pc:docMk/>
            <pc:sldMk cId="1692931358" sldId="2147479571"/>
            <ac:spMk id="10" creationId="{9F7BE787-D718-E22B-9510-AE3DB42970B3}"/>
          </ac:spMkLst>
        </pc:spChg>
        <pc:spChg chg="mod">
          <ac:chgData name="Alfawzan, Lujain" userId="5542ab1a-fb35-4379-8837-59a3729222cc" providerId="ADAL" clId="{3B8D064A-583E-44DC-B3B3-6387FA60473B}" dt="2024-01-02T02:52:07.591" v="1923" actId="164"/>
          <ac:spMkLst>
            <pc:docMk/>
            <pc:sldMk cId="1692931358" sldId="2147479571"/>
            <ac:spMk id="11" creationId="{9201EC17-D36D-10A7-AFD8-8374F06A7260}"/>
          </ac:spMkLst>
        </pc:spChg>
        <pc:spChg chg="mod">
          <ac:chgData name="Alfawzan, Lujain" userId="5542ab1a-fb35-4379-8837-59a3729222cc" providerId="ADAL" clId="{3B8D064A-583E-44DC-B3B3-6387FA60473B}" dt="2024-01-02T02:52:07.591" v="1923" actId="164"/>
          <ac:spMkLst>
            <pc:docMk/>
            <pc:sldMk cId="1692931358" sldId="2147479571"/>
            <ac:spMk id="12" creationId="{2EC99084-9A58-6E5C-685F-35950B4A12F9}"/>
          </ac:spMkLst>
        </pc:spChg>
        <pc:spChg chg="mod">
          <ac:chgData name="Alfawzan, Lujain" userId="5542ab1a-fb35-4379-8837-59a3729222cc" providerId="ADAL" clId="{3B8D064A-583E-44DC-B3B3-6387FA60473B}" dt="2024-01-02T02:52:07.591" v="1923" actId="164"/>
          <ac:spMkLst>
            <pc:docMk/>
            <pc:sldMk cId="1692931358" sldId="2147479571"/>
            <ac:spMk id="13" creationId="{F1ED3041-7E11-007A-ED94-834FB0FAA7F9}"/>
          </ac:spMkLst>
        </pc:spChg>
        <pc:spChg chg="mod">
          <ac:chgData name="Alfawzan, Lujain" userId="5542ab1a-fb35-4379-8837-59a3729222cc" providerId="ADAL" clId="{3B8D064A-583E-44DC-B3B3-6387FA60473B}" dt="2024-01-02T02:52:07.591" v="1923" actId="164"/>
          <ac:spMkLst>
            <pc:docMk/>
            <pc:sldMk cId="1692931358" sldId="2147479571"/>
            <ac:spMk id="14" creationId="{952CF287-AFC4-C2C7-B656-3C0E0F11D2F0}"/>
          </ac:spMkLst>
        </pc:spChg>
        <pc:spChg chg="mod">
          <ac:chgData name="Alfawzan, Lujain" userId="5542ab1a-fb35-4379-8837-59a3729222cc" providerId="ADAL" clId="{3B8D064A-583E-44DC-B3B3-6387FA60473B}" dt="2024-01-02T02:52:07.591" v="1923" actId="164"/>
          <ac:spMkLst>
            <pc:docMk/>
            <pc:sldMk cId="1692931358" sldId="2147479571"/>
            <ac:spMk id="15" creationId="{933996D1-E4F9-23CC-5CCE-2FE9B6529B94}"/>
          </ac:spMkLst>
        </pc:spChg>
        <pc:spChg chg="mod">
          <ac:chgData name="Alfawzan, Lujain" userId="5542ab1a-fb35-4379-8837-59a3729222cc" providerId="ADAL" clId="{3B8D064A-583E-44DC-B3B3-6387FA60473B}" dt="2024-01-02T02:52:07.591" v="1923" actId="164"/>
          <ac:spMkLst>
            <pc:docMk/>
            <pc:sldMk cId="1692931358" sldId="2147479571"/>
            <ac:spMk id="16" creationId="{247985B2-875B-10BA-EDBE-41DD18A47E7B}"/>
          </ac:spMkLst>
        </pc:spChg>
        <pc:spChg chg="mod">
          <ac:chgData name="Alfawzan, Lujain" userId="5542ab1a-fb35-4379-8837-59a3729222cc" providerId="ADAL" clId="{3B8D064A-583E-44DC-B3B3-6387FA60473B}" dt="2024-01-02T02:52:07.591" v="1923" actId="164"/>
          <ac:spMkLst>
            <pc:docMk/>
            <pc:sldMk cId="1692931358" sldId="2147479571"/>
            <ac:spMk id="17" creationId="{D48F5B7C-354E-688B-C264-C9F71D7F0B00}"/>
          </ac:spMkLst>
        </pc:spChg>
        <pc:spChg chg="del mod">
          <ac:chgData name="Alfawzan, Lujain" userId="5542ab1a-fb35-4379-8837-59a3729222cc" providerId="ADAL" clId="{3B8D064A-583E-44DC-B3B3-6387FA60473B}" dt="2024-01-02T02:50:12.442" v="1758" actId="478"/>
          <ac:spMkLst>
            <pc:docMk/>
            <pc:sldMk cId="1692931358" sldId="2147479571"/>
            <ac:spMk id="18" creationId="{E318C31E-A63F-DC63-CBC2-84665F565358}"/>
          </ac:spMkLst>
        </pc:spChg>
        <pc:spChg chg="del mod">
          <ac:chgData name="Alfawzan, Lujain" userId="5542ab1a-fb35-4379-8837-59a3729222cc" providerId="ADAL" clId="{3B8D064A-583E-44DC-B3B3-6387FA60473B}" dt="2024-01-02T02:51:47.545" v="1922" actId="478"/>
          <ac:spMkLst>
            <pc:docMk/>
            <pc:sldMk cId="1692931358" sldId="2147479571"/>
            <ac:spMk id="19" creationId="{45112CA7-DDC0-2289-5591-8F63AC28DFD0}"/>
          </ac:spMkLst>
        </pc:spChg>
        <pc:grpChg chg="add mod">
          <ac:chgData name="Alfawzan, Lujain" userId="5542ab1a-fb35-4379-8837-59a3729222cc" providerId="ADAL" clId="{3B8D064A-583E-44DC-B3B3-6387FA60473B}" dt="2024-01-02T02:52:07.591" v="1923" actId="164"/>
          <ac:grpSpMkLst>
            <pc:docMk/>
            <pc:sldMk cId="1692931358" sldId="2147479571"/>
            <ac:grpSpMk id="4" creationId="{CDBE6098-2C71-0267-E37F-35527423C398}"/>
          </ac:grpSpMkLst>
        </pc:grpChg>
        <pc:graphicFrameChg chg="mod modGraphic">
          <ac:chgData name="Alfawzan, Lujain" userId="5542ab1a-fb35-4379-8837-59a3729222cc" providerId="ADAL" clId="{3B8D064A-583E-44DC-B3B3-6387FA60473B}" dt="2024-01-02T02:48:37.390" v="1647" actId="14100"/>
          <ac:graphicFrameMkLst>
            <pc:docMk/>
            <pc:sldMk cId="1692931358" sldId="2147479571"/>
            <ac:graphicFrameMk id="9" creationId="{591C2547-8417-F0B9-9051-B76D9ED29B32}"/>
          </ac:graphicFrameMkLst>
        </pc:graphicFrameChg>
      </pc:sldChg>
      <pc:sldChg chg="addSp delSp modSp add del mod">
        <pc:chgData name="Alfawzan, Lujain" userId="5542ab1a-fb35-4379-8837-59a3729222cc" providerId="ADAL" clId="{3B8D064A-583E-44DC-B3B3-6387FA60473B}" dt="2024-01-02T07:02:40.053" v="3515" actId="108"/>
        <pc:sldMkLst>
          <pc:docMk/>
          <pc:sldMk cId="3468693418" sldId="2147479572"/>
        </pc:sldMkLst>
        <pc:spChg chg="mod">
          <ac:chgData name="Alfawzan, Lujain" userId="5542ab1a-fb35-4379-8837-59a3729222cc" providerId="ADAL" clId="{3B8D064A-583E-44DC-B3B3-6387FA60473B}" dt="2024-01-02T05:43:35.420" v="2637" actId="1076"/>
          <ac:spMkLst>
            <pc:docMk/>
            <pc:sldMk cId="3468693418" sldId="2147479572"/>
            <ac:spMk id="6" creationId="{D9D278D7-ADAE-82D0-A1FB-A746FA41E3C5}"/>
          </ac:spMkLst>
        </pc:spChg>
        <pc:spChg chg="mod">
          <ac:chgData name="Alfawzan, Lujain" userId="5542ab1a-fb35-4379-8837-59a3729222cc" providerId="ADAL" clId="{3B8D064A-583E-44DC-B3B3-6387FA60473B}" dt="2024-01-02T05:43:16.079" v="2630"/>
          <ac:spMkLst>
            <pc:docMk/>
            <pc:sldMk cId="3468693418" sldId="2147479572"/>
            <ac:spMk id="11" creationId="{4537888B-0FAD-3B5A-209F-0EB812CD1BDD}"/>
          </ac:spMkLst>
        </pc:spChg>
        <pc:spChg chg="mod">
          <ac:chgData name="Alfawzan, Lujain" userId="5542ab1a-fb35-4379-8837-59a3729222cc" providerId="ADAL" clId="{3B8D064A-583E-44DC-B3B3-6387FA60473B}" dt="2024-01-02T05:43:21.983" v="2634"/>
          <ac:spMkLst>
            <pc:docMk/>
            <pc:sldMk cId="3468693418" sldId="2147479572"/>
            <ac:spMk id="14" creationId="{AAB2C502-0293-EA10-E63C-92A46CE472CB}"/>
          </ac:spMkLst>
        </pc:spChg>
        <pc:spChg chg="mod">
          <ac:chgData name="Alfawzan, Lujain" userId="5542ab1a-fb35-4379-8837-59a3729222cc" providerId="ADAL" clId="{3B8D064A-583E-44DC-B3B3-6387FA60473B}" dt="2024-01-02T05:39:19.169" v="2575" actId="20577"/>
          <ac:spMkLst>
            <pc:docMk/>
            <pc:sldMk cId="3468693418" sldId="2147479572"/>
            <ac:spMk id="16" creationId="{1F7028E4-7114-13C3-863A-35B6D9F1000C}"/>
          </ac:spMkLst>
        </pc:spChg>
        <pc:spChg chg="mod">
          <ac:chgData name="Alfawzan, Lujain" userId="5542ab1a-fb35-4379-8837-59a3729222cc" providerId="ADAL" clId="{3B8D064A-583E-44DC-B3B3-6387FA60473B}" dt="2024-01-02T05:40:11.989" v="2588"/>
          <ac:spMkLst>
            <pc:docMk/>
            <pc:sldMk cId="3468693418" sldId="2147479572"/>
            <ac:spMk id="18" creationId="{14C86E9B-D1A5-AFA2-682D-D010A63C7A75}"/>
          </ac:spMkLst>
        </pc:spChg>
        <pc:spChg chg="mod">
          <ac:chgData name="Alfawzan, Lujain" userId="5542ab1a-fb35-4379-8837-59a3729222cc" providerId="ADAL" clId="{3B8D064A-583E-44DC-B3B3-6387FA60473B}" dt="2024-01-02T05:44:18.695" v="2657" actId="20577"/>
          <ac:spMkLst>
            <pc:docMk/>
            <pc:sldMk cId="3468693418" sldId="2147479572"/>
            <ac:spMk id="21" creationId="{C99EE3AD-0681-40D2-7FD6-3E5954772208}"/>
          </ac:spMkLst>
        </pc:spChg>
        <pc:spChg chg="mod">
          <ac:chgData name="Alfawzan, Lujain" userId="5542ab1a-fb35-4379-8837-59a3729222cc" providerId="ADAL" clId="{3B8D064A-583E-44DC-B3B3-6387FA60473B}" dt="2024-01-02T07:02:40.053" v="3515" actId="108"/>
          <ac:spMkLst>
            <pc:docMk/>
            <pc:sldMk cId="3468693418" sldId="2147479572"/>
            <ac:spMk id="22" creationId="{E81AAF8B-CA6D-BA71-680D-9E0E2F0B4484}"/>
          </ac:spMkLst>
        </pc:spChg>
        <pc:spChg chg="mod">
          <ac:chgData name="Alfawzan, Lujain" userId="5542ab1a-fb35-4379-8837-59a3729222cc" providerId="ADAL" clId="{3B8D064A-583E-44DC-B3B3-6387FA60473B}" dt="2024-01-02T05:43:43.672" v="2638"/>
          <ac:spMkLst>
            <pc:docMk/>
            <pc:sldMk cId="3468693418" sldId="2147479572"/>
            <ac:spMk id="24" creationId="{AF956E3A-B334-0FFC-76C6-ADBFE481710B}"/>
          </ac:spMkLst>
        </pc:spChg>
        <pc:grpChg chg="del">
          <ac:chgData name="Alfawzan, Lujain" userId="5542ab1a-fb35-4379-8837-59a3729222cc" providerId="ADAL" clId="{3B8D064A-583E-44DC-B3B3-6387FA60473B}" dt="2024-01-02T05:43:15.795" v="2629" actId="478"/>
          <ac:grpSpMkLst>
            <pc:docMk/>
            <pc:sldMk cId="3468693418" sldId="2147479572"/>
            <ac:grpSpMk id="2" creationId="{23E4DC39-FEA8-5B6A-D390-7E1ED712FC5E}"/>
          </ac:grpSpMkLst>
        </pc:grpChg>
        <pc:grpChg chg="add del mod">
          <ac:chgData name="Alfawzan, Lujain" userId="5542ab1a-fb35-4379-8837-59a3729222cc" providerId="ADAL" clId="{3B8D064A-583E-44DC-B3B3-6387FA60473B}" dt="2024-01-02T05:43:21.970" v="2633"/>
          <ac:grpSpMkLst>
            <pc:docMk/>
            <pc:sldMk cId="3468693418" sldId="2147479572"/>
            <ac:grpSpMk id="5" creationId="{5E4D4F2B-E414-DAF3-7C72-406FEF040087}"/>
          </ac:grpSpMkLst>
        </pc:grpChg>
        <pc:grpChg chg="add mod ord">
          <ac:chgData name="Alfawzan, Lujain" userId="5542ab1a-fb35-4379-8837-59a3729222cc" providerId="ADAL" clId="{3B8D064A-583E-44DC-B3B3-6387FA60473B}" dt="2024-01-02T05:43:27.380" v="2636" actId="167"/>
          <ac:grpSpMkLst>
            <pc:docMk/>
            <pc:sldMk cId="3468693418" sldId="2147479572"/>
            <ac:grpSpMk id="12" creationId="{492CAE36-7FB3-8359-3FAB-A0A72E98871A}"/>
          </ac:grpSpMkLst>
        </pc:grpChg>
        <pc:grpChg chg="add del mod">
          <ac:chgData name="Alfawzan, Lujain" userId="5542ab1a-fb35-4379-8837-59a3729222cc" providerId="ADAL" clId="{3B8D064A-583E-44DC-B3B3-6387FA60473B}" dt="2024-01-02T05:43:49.646" v="2639"/>
          <ac:grpSpMkLst>
            <pc:docMk/>
            <pc:sldMk cId="3468693418" sldId="2147479572"/>
            <ac:grpSpMk id="15" creationId="{47AFA070-09D8-37A0-CF32-5082A87A9EC0}"/>
          </ac:grpSpMkLst>
        </pc:grpChg>
        <pc:picChg chg="mod">
          <ac:chgData name="Alfawzan, Lujain" userId="5542ab1a-fb35-4379-8837-59a3729222cc" providerId="ADAL" clId="{3B8D064A-583E-44DC-B3B3-6387FA60473B}" dt="2024-01-02T05:43:16.079" v="2630"/>
          <ac:picMkLst>
            <pc:docMk/>
            <pc:sldMk cId="3468693418" sldId="2147479572"/>
            <ac:picMk id="10" creationId="{DF59832A-F178-F195-6089-57975329919F}"/>
          </ac:picMkLst>
        </pc:picChg>
        <pc:picChg chg="mod">
          <ac:chgData name="Alfawzan, Lujain" userId="5542ab1a-fb35-4379-8837-59a3729222cc" providerId="ADAL" clId="{3B8D064A-583E-44DC-B3B3-6387FA60473B}" dt="2024-01-02T05:43:21.983" v="2634"/>
          <ac:picMkLst>
            <pc:docMk/>
            <pc:sldMk cId="3468693418" sldId="2147479572"/>
            <ac:picMk id="13" creationId="{770AB8B9-8016-5100-77B2-016DA7FC9E26}"/>
          </ac:picMkLst>
        </pc:picChg>
        <pc:picChg chg="mod">
          <ac:chgData name="Alfawzan, Lujain" userId="5542ab1a-fb35-4379-8837-59a3729222cc" providerId="ADAL" clId="{3B8D064A-583E-44DC-B3B3-6387FA60473B}" dt="2024-01-02T05:43:43.672" v="2638"/>
          <ac:picMkLst>
            <pc:docMk/>
            <pc:sldMk cId="3468693418" sldId="2147479572"/>
            <ac:picMk id="23" creationId="{52EF4D11-64AC-5EA4-D08A-B60818660D50}"/>
          </ac:picMkLst>
        </pc:picChg>
      </pc:sldChg>
      <pc:sldChg chg="addSp delSp modSp add mod">
        <pc:chgData name="Alfawzan, Lujain" userId="5542ab1a-fb35-4379-8837-59a3729222cc" providerId="ADAL" clId="{3B8D064A-583E-44DC-B3B3-6387FA60473B}" dt="2024-01-02T07:02:35.183" v="3514" actId="108"/>
        <pc:sldMkLst>
          <pc:docMk/>
          <pc:sldMk cId="209046808" sldId="2147479573"/>
        </pc:sldMkLst>
        <pc:spChg chg="mod">
          <ac:chgData name="Alfawzan, Lujain" userId="5542ab1a-fb35-4379-8837-59a3729222cc" providerId="ADAL" clId="{3B8D064A-583E-44DC-B3B3-6387FA60473B}" dt="2024-01-02T05:46:24.480" v="2675" actId="1076"/>
          <ac:spMkLst>
            <pc:docMk/>
            <pc:sldMk cId="209046808" sldId="2147479573"/>
            <ac:spMk id="6" creationId="{D9D278D7-ADAE-82D0-A1FB-A746FA41E3C5}"/>
          </ac:spMkLst>
        </pc:spChg>
        <pc:spChg chg="mod">
          <ac:chgData name="Alfawzan, Lujain" userId="5542ab1a-fb35-4379-8837-59a3729222cc" providerId="ADAL" clId="{3B8D064A-583E-44DC-B3B3-6387FA60473B}" dt="2024-01-02T05:45:23.098" v="2669" actId="20577"/>
          <ac:spMkLst>
            <pc:docMk/>
            <pc:sldMk cId="209046808" sldId="2147479573"/>
            <ac:spMk id="16" creationId="{1F7028E4-7114-13C3-863A-35B6D9F1000C}"/>
          </ac:spMkLst>
        </pc:spChg>
        <pc:spChg chg="mod">
          <ac:chgData name="Alfawzan, Lujain" userId="5542ab1a-fb35-4379-8837-59a3729222cc" providerId="ADAL" clId="{3B8D064A-583E-44DC-B3B3-6387FA60473B}" dt="2024-01-02T05:45:16.940" v="2667"/>
          <ac:spMkLst>
            <pc:docMk/>
            <pc:sldMk cId="209046808" sldId="2147479573"/>
            <ac:spMk id="18" creationId="{14C86E9B-D1A5-AFA2-682D-D010A63C7A75}"/>
          </ac:spMkLst>
        </pc:spChg>
        <pc:spChg chg="mod">
          <ac:chgData name="Alfawzan, Lujain" userId="5542ab1a-fb35-4379-8837-59a3729222cc" providerId="ADAL" clId="{3B8D064A-583E-44DC-B3B3-6387FA60473B}" dt="2024-01-02T05:46:56.184" v="2688" actId="20577"/>
          <ac:spMkLst>
            <pc:docMk/>
            <pc:sldMk cId="209046808" sldId="2147479573"/>
            <ac:spMk id="21" creationId="{C99EE3AD-0681-40D2-7FD6-3E5954772208}"/>
          </ac:spMkLst>
        </pc:spChg>
        <pc:spChg chg="mod">
          <ac:chgData name="Alfawzan, Lujain" userId="5542ab1a-fb35-4379-8837-59a3729222cc" providerId="ADAL" clId="{3B8D064A-583E-44DC-B3B3-6387FA60473B}" dt="2024-01-02T07:02:35.183" v="3514" actId="108"/>
          <ac:spMkLst>
            <pc:docMk/>
            <pc:sldMk cId="209046808" sldId="2147479573"/>
            <ac:spMk id="22" creationId="{E81AAF8B-CA6D-BA71-680D-9E0E2F0B4484}"/>
          </ac:spMkLst>
        </pc:spChg>
        <pc:grpChg chg="del">
          <ac:chgData name="Alfawzan, Lujain" userId="5542ab1a-fb35-4379-8837-59a3729222cc" providerId="ADAL" clId="{3B8D064A-583E-44DC-B3B3-6387FA60473B}" dt="2024-01-02T05:46:13.285" v="2671" actId="478"/>
          <ac:grpSpMkLst>
            <pc:docMk/>
            <pc:sldMk cId="209046808" sldId="2147479573"/>
            <ac:grpSpMk id="12" creationId="{492CAE36-7FB3-8359-3FAB-A0A72E98871A}"/>
          </ac:grpSpMkLst>
        </pc:grpChg>
        <pc:picChg chg="add mod ord">
          <ac:chgData name="Alfawzan, Lujain" userId="5542ab1a-fb35-4379-8837-59a3729222cc" providerId="ADAL" clId="{3B8D064A-583E-44DC-B3B3-6387FA60473B}" dt="2024-01-02T05:46:20.686" v="2674" actId="1076"/>
          <ac:picMkLst>
            <pc:docMk/>
            <pc:sldMk cId="209046808" sldId="2147479573"/>
            <ac:picMk id="2" creationId="{F1B2986B-6150-9F44-7FD9-FF5DBD120E70}"/>
          </ac:picMkLst>
        </pc:picChg>
        <pc:picChg chg="add mod ord">
          <ac:chgData name="Alfawzan, Lujain" userId="5542ab1a-fb35-4379-8837-59a3729222cc" providerId="ADAL" clId="{3B8D064A-583E-44DC-B3B3-6387FA60473B}" dt="2024-01-02T05:46:20.686" v="2674" actId="1076"/>
          <ac:picMkLst>
            <pc:docMk/>
            <pc:sldMk cId="209046808" sldId="2147479573"/>
            <ac:picMk id="3" creationId="{CDD3E1C2-B435-34AC-3314-6191A8505683}"/>
          </ac:picMkLst>
        </pc:picChg>
      </pc:sldChg>
      <pc:sldChg chg="addSp delSp modSp add mod">
        <pc:chgData name="Alfawzan, Lujain" userId="5542ab1a-fb35-4379-8837-59a3729222cc" providerId="ADAL" clId="{3B8D064A-583E-44DC-B3B3-6387FA60473B}" dt="2024-01-02T07:02:25.555" v="3513" actId="5793"/>
        <pc:sldMkLst>
          <pc:docMk/>
          <pc:sldMk cId="1843332973" sldId="2147479574"/>
        </pc:sldMkLst>
        <pc:spChg chg="mod">
          <ac:chgData name="Alfawzan, Lujain" userId="5542ab1a-fb35-4379-8837-59a3729222cc" providerId="ADAL" clId="{3B8D064A-583E-44DC-B3B3-6387FA60473B}" dt="2024-01-02T05:49:06.837" v="2713" actId="1076"/>
          <ac:spMkLst>
            <pc:docMk/>
            <pc:sldMk cId="1843332973" sldId="2147479574"/>
            <ac:spMk id="6" creationId="{D9D278D7-ADAE-82D0-A1FB-A746FA41E3C5}"/>
          </ac:spMkLst>
        </pc:spChg>
        <pc:spChg chg="mod">
          <ac:chgData name="Alfawzan, Lujain" userId="5542ab1a-fb35-4379-8837-59a3729222cc" providerId="ADAL" clId="{3B8D064A-583E-44DC-B3B3-6387FA60473B}" dt="2024-01-02T06:02:49.663" v="2803"/>
          <ac:spMkLst>
            <pc:docMk/>
            <pc:sldMk cId="1843332973" sldId="2147479574"/>
            <ac:spMk id="12" creationId="{3C278897-4E20-044C-1A8C-4AB98A427D0F}"/>
          </ac:spMkLst>
        </pc:spChg>
        <pc:spChg chg="mod">
          <ac:chgData name="Alfawzan, Lujain" userId="5542ab1a-fb35-4379-8837-59a3729222cc" providerId="ADAL" clId="{3B8D064A-583E-44DC-B3B3-6387FA60473B}" dt="2024-01-02T06:02:49.663" v="2803"/>
          <ac:spMkLst>
            <pc:docMk/>
            <pc:sldMk cId="1843332973" sldId="2147479574"/>
            <ac:spMk id="13" creationId="{DF8E5FD6-464B-C798-15F8-1EA58A0D7C5B}"/>
          </ac:spMkLst>
        </pc:spChg>
        <pc:spChg chg="mod">
          <ac:chgData name="Alfawzan, Lujain" userId="5542ab1a-fb35-4379-8837-59a3729222cc" providerId="ADAL" clId="{3B8D064A-583E-44DC-B3B3-6387FA60473B}" dt="2024-01-02T06:02:49.663" v="2803"/>
          <ac:spMkLst>
            <pc:docMk/>
            <pc:sldMk cId="1843332973" sldId="2147479574"/>
            <ac:spMk id="14" creationId="{22BD41E6-5B03-DFCD-3C6E-7CCA05F0D942}"/>
          </ac:spMkLst>
        </pc:spChg>
        <pc:spChg chg="mod">
          <ac:chgData name="Alfawzan, Lujain" userId="5542ab1a-fb35-4379-8837-59a3729222cc" providerId="ADAL" clId="{3B8D064A-583E-44DC-B3B3-6387FA60473B}" dt="2024-01-02T06:02:49.663" v="2803"/>
          <ac:spMkLst>
            <pc:docMk/>
            <pc:sldMk cId="1843332973" sldId="2147479574"/>
            <ac:spMk id="15" creationId="{EF4B2DB1-278E-4EF9-9EAC-4A1744DF34BD}"/>
          </ac:spMkLst>
        </pc:spChg>
        <pc:spChg chg="mod">
          <ac:chgData name="Alfawzan, Lujain" userId="5542ab1a-fb35-4379-8837-59a3729222cc" providerId="ADAL" clId="{3B8D064A-583E-44DC-B3B3-6387FA60473B}" dt="2024-01-02T05:48:07.946" v="2702" actId="20577"/>
          <ac:spMkLst>
            <pc:docMk/>
            <pc:sldMk cId="1843332973" sldId="2147479574"/>
            <ac:spMk id="16" creationId="{1F7028E4-7114-13C3-863A-35B6D9F1000C}"/>
          </ac:spMkLst>
        </pc:spChg>
        <pc:spChg chg="mod">
          <ac:chgData name="Alfawzan, Lujain" userId="5542ab1a-fb35-4379-8837-59a3729222cc" providerId="ADAL" clId="{3B8D064A-583E-44DC-B3B3-6387FA60473B}" dt="2024-01-02T05:53:28.231" v="2791" actId="20577"/>
          <ac:spMkLst>
            <pc:docMk/>
            <pc:sldMk cId="1843332973" sldId="2147479574"/>
            <ac:spMk id="18" creationId="{14C86E9B-D1A5-AFA2-682D-D010A63C7A75}"/>
          </ac:spMkLst>
        </pc:spChg>
        <pc:spChg chg="mod">
          <ac:chgData name="Alfawzan, Lujain" userId="5542ab1a-fb35-4379-8837-59a3729222cc" providerId="ADAL" clId="{3B8D064A-583E-44DC-B3B3-6387FA60473B}" dt="2024-01-02T06:01:46.634" v="2799" actId="20577"/>
          <ac:spMkLst>
            <pc:docMk/>
            <pc:sldMk cId="1843332973" sldId="2147479574"/>
            <ac:spMk id="21" creationId="{C99EE3AD-0681-40D2-7FD6-3E5954772208}"/>
          </ac:spMkLst>
        </pc:spChg>
        <pc:spChg chg="mod">
          <ac:chgData name="Alfawzan, Lujain" userId="5542ab1a-fb35-4379-8837-59a3729222cc" providerId="ADAL" clId="{3B8D064A-583E-44DC-B3B3-6387FA60473B}" dt="2024-01-02T07:02:25.555" v="3513" actId="5793"/>
          <ac:spMkLst>
            <pc:docMk/>
            <pc:sldMk cId="1843332973" sldId="2147479574"/>
            <ac:spMk id="22" creationId="{E81AAF8B-CA6D-BA71-680D-9E0E2F0B4484}"/>
          </ac:spMkLst>
        </pc:spChg>
        <pc:spChg chg="mod">
          <ac:chgData name="Alfawzan, Lujain" userId="5542ab1a-fb35-4379-8837-59a3729222cc" providerId="ADAL" clId="{3B8D064A-583E-44DC-B3B3-6387FA60473B}" dt="2024-01-02T06:02:49.663" v="2803"/>
          <ac:spMkLst>
            <pc:docMk/>
            <pc:sldMk cId="1843332973" sldId="2147479574"/>
            <ac:spMk id="23" creationId="{12072B60-07C2-4135-1B43-DE3AD9878618}"/>
          </ac:spMkLst>
        </pc:spChg>
        <pc:grpChg chg="add mod ord">
          <ac:chgData name="Alfawzan, Lujain" userId="5542ab1a-fb35-4379-8837-59a3729222cc" providerId="ADAL" clId="{3B8D064A-583E-44DC-B3B3-6387FA60473B}" dt="2024-01-02T06:02:54.027" v="2805" actId="167"/>
          <ac:grpSpMkLst>
            <pc:docMk/>
            <pc:sldMk cId="1843332973" sldId="2147479574"/>
            <ac:grpSpMk id="7" creationId="{DB87F5D1-BF4B-217C-DCC5-C91275AFD17C}"/>
          </ac:grpSpMkLst>
        </pc:grpChg>
        <pc:grpChg chg="mod">
          <ac:chgData name="Alfawzan, Lujain" userId="5542ab1a-fb35-4379-8837-59a3729222cc" providerId="ADAL" clId="{3B8D064A-583E-44DC-B3B3-6387FA60473B}" dt="2024-01-02T06:02:49.663" v="2803"/>
          <ac:grpSpMkLst>
            <pc:docMk/>
            <pc:sldMk cId="1843332973" sldId="2147479574"/>
            <ac:grpSpMk id="10" creationId="{A06B7BA4-118B-A053-A3A0-9FF2D086E8B0}"/>
          </ac:grpSpMkLst>
        </pc:grpChg>
        <pc:grpChg chg="mod">
          <ac:chgData name="Alfawzan, Lujain" userId="5542ab1a-fb35-4379-8837-59a3729222cc" providerId="ADAL" clId="{3B8D064A-583E-44DC-B3B3-6387FA60473B}" dt="2024-01-02T06:02:49.663" v="2803"/>
          <ac:grpSpMkLst>
            <pc:docMk/>
            <pc:sldMk cId="1843332973" sldId="2147479574"/>
            <ac:grpSpMk id="11" creationId="{8B97DB5D-B7F3-23AB-1922-EC2B5947773D}"/>
          </ac:grpSpMkLst>
        </pc:grpChg>
        <pc:picChg chg="del">
          <ac:chgData name="Alfawzan, Lujain" userId="5542ab1a-fb35-4379-8837-59a3729222cc" providerId="ADAL" clId="{3B8D064A-583E-44DC-B3B3-6387FA60473B}" dt="2024-01-02T05:48:53.387" v="2707" actId="478"/>
          <ac:picMkLst>
            <pc:docMk/>
            <pc:sldMk cId="1843332973" sldId="2147479574"/>
            <ac:picMk id="2" creationId="{F1B2986B-6150-9F44-7FD9-FF5DBD120E70}"/>
          </ac:picMkLst>
        </pc:picChg>
        <pc:picChg chg="del">
          <ac:chgData name="Alfawzan, Lujain" userId="5542ab1a-fb35-4379-8837-59a3729222cc" providerId="ADAL" clId="{3B8D064A-583E-44DC-B3B3-6387FA60473B}" dt="2024-01-02T05:48:51.912" v="2706" actId="478"/>
          <ac:picMkLst>
            <pc:docMk/>
            <pc:sldMk cId="1843332973" sldId="2147479574"/>
            <ac:picMk id="3" creationId="{CDD3E1C2-B435-34AC-3314-6191A8505683}"/>
          </ac:picMkLst>
        </pc:picChg>
        <pc:picChg chg="add del mod ord">
          <ac:chgData name="Alfawzan, Lujain" userId="5542ab1a-fb35-4379-8837-59a3729222cc" providerId="ADAL" clId="{3B8D064A-583E-44DC-B3B3-6387FA60473B}" dt="2024-01-02T06:02:35.272" v="2802" actId="478"/>
          <ac:picMkLst>
            <pc:docMk/>
            <pc:sldMk cId="1843332973" sldId="2147479574"/>
            <ac:picMk id="5" creationId="{41D9807F-293B-C19F-BA50-73DA2EF145C2}"/>
          </ac:picMkLst>
        </pc:picChg>
        <pc:picChg chg="mod">
          <ac:chgData name="Alfawzan, Lujain" userId="5542ab1a-fb35-4379-8837-59a3729222cc" providerId="ADAL" clId="{3B8D064A-583E-44DC-B3B3-6387FA60473B}" dt="2024-01-02T06:02:49.663" v="2803"/>
          <ac:picMkLst>
            <pc:docMk/>
            <pc:sldMk cId="1843332973" sldId="2147479574"/>
            <ac:picMk id="24" creationId="{4E038E65-7B54-B4A4-C15B-500C467903CD}"/>
          </ac:picMkLst>
        </pc:picChg>
        <pc:picChg chg="mod">
          <ac:chgData name="Alfawzan, Lujain" userId="5542ab1a-fb35-4379-8837-59a3729222cc" providerId="ADAL" clId="{3B8D064A-583E-44DC-B3B3-6387FA60473B}" dt="2024-01-02T06:02:49.663" v="2803"/>
          <ac:picMkLst>
            <pc:docMk/>
            <pc:sldMk cId="1843332973" sldId="2147479574"/>
            <ac:picMk id="25" creationId="{38F482DA-A89C-C6C8-6C0B-100F3EAEE494}"/>
          </ac:picMkLst>
        </pc:picChg>
      </pc:sldChg>
      <pc:sldChg chg="addSp delSp modSp add mod">
        <pc:chgData name="Alfawzan, Lujain" userId="5542ab1a-fb35-4379-8837-59a3729222cc" providerId="ADAL" clId="{3B8D064A-583E-44DC-B3B3-6387FA60473B}" dt="2024-01-02T06:21:26.782" v="3012"/>
        <pc:sldMkLst>
          <pc:docMk/>
          <pc:sldMk cId="1818102993" sldId="2147479575"/>
        </pc:sldMkLst>
        <pc:spChg chg="add mod">
          <ac:chgData name="Alfawzan, Lujain" userId="5542ab1a-fb35-4379-8837-59a3729222cc" providerId="ADAL" clId="{3B8D064A-583E-44DC-B3B3-6387FA60473B}" dt="2024-01-02T06:20:53.930" v="3008" actId="1076"/>
          <ac:spMkLst>
            <pc:docMk/>
            <pc:sldMk cId="1818102993" sldId="2147479575"/>
            <ac:spMk id="4" creationId="{28A346D3-AA0E-88C7-49EA-C7AB03F68197}"/>
          </ac:spMkLst>
        </pc:spChg>
        <pc:spChg chg="mod">
          <ac:chgData name="Alfawzan, Lujain" userId="5542ab1a-fb35-4379-8837-59a3729222cc" providerId="ADAL" clId="{3B8D064A-583E-44DC-B3B3-6387FA60473B}" dt="2024-01-02T06:21:26.782" v="3012"/>
          <ac:spMkLst>
            <pc:docMk/>
            <pc:sldMk cId="1818102993" sldId="2147479575"/>
            <ac:spMk id="5" creationId="{0564BCBE-C27C-921F-3AA9-34CD82D3BD67}"/>
          </ac:spMkLst>
        </pc:spChg>
        <pc:spChg chg="mod">
          <ac:chgData name="Alfawzan, Lujain" userId="5542ab1a-fb35-4379-8837-59a3729222cc" providerId="ADAL" clId="{3B8D064A-583E-44DC-B3B3-6387FA60473B}" dt="2024-01-02T06:20:00.556" v="3000" actId="20577"/>
          <ac:spMkLst>
            <pc:docMk/>
            <pc:sldMk cId="1818102993" sldId="2147479575"/>
            <ac:spMk id="6" creationId="{6C6E46D1-9928-6F5D-9E42-D7E1F30C0432}"/>
          </ac:spMkLst>
        </pc:spChg>
        <pc:spChg chg="add mod">
          <ac:chgData name="Alfawzan, Lujain" userId="5542ab1a-fb35-4379-8837-59a3729222cc" providerId="ADAL" clId="{3B8D064A-583E-44DC-B3B3-6387FA60473B}" dt="2024-01-02T06:20:53.930" v="3008" actId="1076"/>
          <ac:spMkLst>
            <pc:docMk/>
            <pc:sldMk cId="1818102993" sldId="2147479575"/>
            <ac:spMk id="9" creationId="{D8F82CFD-A23A-F9CF-B686-5E34E577D893}"/>
          </ac:spMkLst>
        </pc:spChg>
        <pc:spChg chg="mod">
          <ac:chgData name="Alfawzan, Lujain" userId="5542ab1a-fb35-4379-8837-59a3729222cc" providerId="ADAL" clId="{3B8D064A-583E-44DC-B3B3-6387FA60473B}" dt="2024-01-02T06:16:59.133" v="2986" actId="20577"/>
          <ac:spMkLst>
            <pc:docMk/>
            <pc:sldMk cId="1818102993" sldId="2147479575"/>
            <ac:spMk id="13" creationId="{33DDE945-E8CA-2113-0778-A7C5E1D6F168}"/>
          </ac:spMkLst>
        </pc:spChg>
        <pc:spChg chg="mod">
          <ac:chgData name="Alfawzan, Lujain" userId="5542ab1a-fb35-4379-8837-59a3729222cc" providerId="ADAL" clId="{3B8D064A-583E-44DC-B3B3-6387FA60473B}" dt="2024-01-02T06:20:27.113" v="3006" actId="20577"/>
          <ac:spMkLst>
            <pc:docMk/>
            <pc:sldMk cId="1818102993" sldId="2147479575"/>
            <ac:spMk id="14" creationId="{74E8D412-29B6-7CB8-793B-7E0D9E36ADE2}"/>
          </ac:spMkLst>
        </pc:spChg>
        <pc:spChg chg="ord">
          <ac:chgData name="Alfawzan, Lujain" userId="5542ab1a-fb35-4379-8837-59a3729222cc" providerId="ADAL" clId="{3B8D064A-583E-44DC-B3B3-6387FA60473B}" dt="2024-01-02T06:21:00.044" v="3009" actId="166"/>
          <ac:spMkLst>
            <pc:docMk/>
            <pc:sldMk cId="1818102993" sldId="2147479575"/>
            <ac:spMk id="18" creationId="{58B2E7CF-BAC7-A5AE-DD6A-68589EB1F0F8}"/>
          </ac:spMkLst>
        </pc:spChg>
        <pc:grpChg chg="del">
          <ac:chgData name="Alfawzan, Lujain" userId="5542ab1a-fb35-4379-8837-59a3729222cc" providerId="ADAL" clId="{3B8D064A-583E-44DC-B3B3-6387FA60473B}" dt="2024-01-02T06:16:53.711" v="2981" actId="478"/>
          <ac:grpSpMkLst>
            <pc:docMk/>
            <pc:sldMk cId="1818102993" sldId="2147479575"/>
            <ac:grpSpMk id="15" creationId="{182A4CE7-CB32-0AE1-97D9-A2B6E1DA2F51}"/>
          </ac:grpSpMkLst>
        </pc:grpChg>
        <pc:picChg chg="add mod">
          <ac:chgData name="Alfawzan, Lujain" userId="5542ab1a-fb35-4379-8837-59a3729222cc" providerId="ADAL" clId="{3B8D064A-583E-44DC-B3B3-6387FA60473B}" dt="2024-01-02T06:20:53.930" v="3008" actId="1076"/>
          <ac:picMkLst>
            <pc:docMk/>
            <pc:sldMk cId="1818102993" sldId="2147479575"/>
            <ac:picMk id="8" creationId="{531E45F6-FC67-C51A-9801-72EFF3B303A5}"/>
          </ac:picMkLst>
        </pc:picChg>
        <pc:picChg chg="add mod">
          <ac:chgData name="Alfawzan, Lujain" userId="5542ab1a-fb35-4379-8837-59a3729222cc" providerId="ADAL" clId="{3B8D064A-583E-44DC-B3B3-6387FA60473B}" dt="2024-01-02T06:20:53.930" v="3008" actId="1076"/>
          <ac:picMkLst>
            <pc:docMk/>
            <pc:sldMk cId="1818102993" sldId="2147479575"/>
            <ac:picMk id="16" creationId="{522F67A9-525B-C233-4B7B-D22737E635A6}"/>
          </ac:picMkLst>
        </pc:picChg>
      </pc:sldChg>
      <pc:sldChg chg="addSp delSp modSp add mod">
        <pc:chgData name="Alfawzan, Lujain" userId="5542ab1a-fb35-4379-8837-59a3729222cc" providerId="ADAL" clId="{3B8D064A-583E-44DC-B3B3-6387FA60473B}" dt="2024-01-02T06:48:16.849" v="3414" actId="20577"/>
        <pc:sldMkLst>
          <pc:docMk/>
          <pc:sldMk cId="4038553599" sldId="2147479576"/>
        </pc:sldMkLst>
        <pc:spChg chg="del">
          <ac:chgData name="Alfawzan, Lujain" userId="5542ab1a-fb35-4379-8837-59a3729222cc" providerId="ADAL" clId="{3B8D064A-583E-44DC-B3B3-6387FA60473B}" dt="2024-01-02T06:46:44.463" v="3380" actId="478"/>
          <ac:spMkLst>
            <pc:docMk/>
            <pc:sldMk cId="4038553599" sldId="2147479576"/>
            <ac:spMk id="2" creationId="{2E021508-94F7-22FA-5E40-A81C56062659}"/>
          </ac:spMkLst>
        </pc:spChg>
        <pc:spChg chg="del">
          <ac:chgData name="Alfawzan, Lujain" userId="5542ab1a-fb35-4379-8837-59a3729222cc" providerId="ADAL" clId="{3B8D064A-583E-44DC-B3B3-6387FA60473B}" dt="2024-01-02T06:46:44.463" v="3380" actId="478"/>
          <ac:spMkLst>
            <pc:docMk/>
            <pc:sldMk cId="4038553599" sldId="2147479576"/>
            <ac:spMk id="3" creationId="{CB921BC6-E533-24E9-3CF3-327F017D4AD6}"/>
          </ac:spMkLst>
        </pc:spChg>
        <pc:spChg chg="del">
          <ac:chgData name="Alfawzan, Lujain" userId="5542ab1a-fb35-4379-8837-59a3729222cc" providerId="ADAL" clId="{3B8D064A-583E-44DC-B3B3-6387FA60473B}" dt="2024-01-02T06:46:44.463" v="3380" actId="478"/>
          <ac:spMkLst>
            <pc:docMk/>
            <pc:sldMk cId="4038553599" sldId="2147479576"/>
            <ac:spMk id="6" creationId="{ECB8CD6E-2A28-81CF-E6A2-0EB9F10BD51E}"/>
          </ac:spMkLst>
        </pc:spChg>
        <pc:spChg chg="del">
          <ac:chgData name="Alfawzan, Lujain" userId="5542ab1a-fb35-4379-8837-59a3729222cc" providerId="ADAL" clId="{3B8D064A-583E-44DC-B3B3-6387FA60473B}" dt="2024-01-02T06:46:44.463" v="3380" actId="478"/>
          <ac:spMkLst>
            <pc:docMk/>
            <pc:sldMk cId="4038553599" sldId="2147479576"/>
            <ac:spMk id="8" creationId="{5F37E36D-DC3E-801E-6EC8-D2A6E6367D3C}"/>
          </ac:spMkLst>
        </pc:spChg>
        <pc:spChg chg="del">
          <ac:chgData name="Alfawzan, Lujain" userId="5542ab1a-fb35-4379-8837-59a3729222cc" providerId="ADAL" clId="{3B8D064A-583E-44DC-B3B3-6387FA60473B}" dt="2024-01-02T06:46:44.463" v="3380" actId="478"/>
          <ac:spMkLst>
            <pc:docMk/>
            <pc:sldMk cId="4038553599" sldId="2147479576"/>
            <ac:spMk id="9" creationId="{C28C6D4A-3E98-4777-1525-51F4FA0742C0}"/>
          </ac:spMkLst>
        </pc:spChg>
        <pc:spChg chg="del">
          <ac:chgData name="Alfawzan, Lujain" userId="5542ab1a-fb35-4379-8837-59a3729222cc" providerId="ADAL" clId="{3B8D064A-583E-44DC-B3B3-6387FA60473B}" dt="2024-01-02T06:46:46.677" v="3381" actId="478"/>
          <ac:spMkLst>
            <pc:docMk/>
            <pc:sldMk cId="4038553599" sldId="2147479576"/>
            <ac:spMk id="10" creationId="{477C4FA3-89DE-B2E1-16AF-C47A8B815F71}"/>
          </ac:spMkLst>
        </pc:spChg>
        <pc:spChg chg="del">
          <ac:chgData name="Alfawzan, Lujain" userId="5542ab1a-fb35-4379-8837-59a3729222cc" providerId="ADAL" clId="{3B8D064A-583E-44DC-B3B3-6387FA60473B}" dt="2024-01-02T06:46:44.463" v="3380" actId="478"/>
          <ac:spMkLst>
            <pc:docMk/>
            <pc:sldMk cId="4038553599" sldId="2147479576"/>
            <ac:spMk id="11" creationId="{3D8C2F92-D4FF-2A2A-A936-8983E7C27B3B}"/>
          </ac:spMkLst>
        </pc:spChg>
        <pc:spChg chg="del">
          <ac:chgData name="Alfawzan, Lujain" userId="5542ab1a-fb35-4379-8837-59a3729222cc" providerId="ADAL" clId="{3B8D064A-583E-44DC-B3B3-6387FA60473B}" dt="2024-01-02T06:46:44.463" v="3380" actId="478"/>
          <ac:spMkLst>
            <pc:docMk/>
            <pc:sldMk cId="4038553599" sldId="2147479576"/>
            <ac:spMk id="13" creationId="{7A099613-4435-68E9-F040-4F8A1904C46D}"/>
          </ac:spMkLst>
        </pc:spChg>
        <pc:spChg chg="add del mod">
          <ac:chgData name="Alfawzan, Lujain" userId="5542ab1a-fb35-4379-8837-59a3729222cc" providerId="ADAL" clId="{3B8D064A-583E-44DC-B3B3-6387FA60473B}" dt="2024-01-02T06:47:39.197" v="3385"/>
          <ac:spMkLst>
            <pc:docMk/>
            <pc:sldMk cId="4038553599" sldId="2147479576"/>
            <ac:spMk id="15" creationId="{BA08D852-E4E8-C82A-1841-044A263A5DFF}"/>
          </ac:spMkLst>
        </pc:spChg>
        <pc:spChg chg="del">
          <ac:chgData name="Alfawzan, Lujain" userId="5542ab1a-fb35-4379-8837-59a3729222cc" providerId="ADAL" clId="{3B8D064A-583E-44DC-B3B3-6387FA60473B}" dt="2024-01-02T06:46:44.463" v="3380" actId="478"/>
          <ac:spMkLst>
            <pc:docMk/>
            <pc:sldMk cId="4038553599" sldId="2147479576"/>
            <ac:spMk id="16" creationId="{7BFC4527-98F0-51AF-ACD3-169BB5B78CD4}"/>
          </ac:spMkLst>
        </pc:spChg>
        <pc:spChg chg="del">
          <ac:chgData name="Alfawzan, Lujain" userId="5542ab1a-fb35-4379-8837-59a3729222cc" providerId="ADAL" clId="{3B8D064A-583E-44DC-B3B3-6387FA60473B}" dt="2024-01-02T06:46:44.463" v="3380" actId="478"/>
          <ac:spMkLst>
            <pc:docMk/>
            <pc:sldMk cId="4038553599" sldId="2147479576"/>
            <ac:spMk id="18" creationId="{1C4C9C0E-9859-C4BC-6149-F65292BA5BE8}"/>
          </ac:spMkLst>
        </pc:spChg>
        <pc:spChg chg="add del mod">
          <ac:chgData name="Alfawzan, Lujain" userId="5542ab1a-fb35-4379-8837-59a3729222cc" providerId="ADAL" clId="{3B8D064A-583E-44DC-B3B3-6387FA60473B}" dt="2024-01-02T06:47:39.197" v="3385"/>
          <ac:spMkLst>
            <pc:docMk/>
            <pc:sldMk cId="4038553599" sldId="2147479576"/>
            <ac:spMk id="20" creationId="{C8860ED9-C89E-87AD-FADD-35695492062B}"/>
          </ac:spMkLst>
        </pc:spChg>
        <pc:spChg chg="add del mod">
          <ac:chgData name="Alfawzan, Lujain" userId="5542ab1a-fb35-4379-8837-59a3729222cc" providerId="ADAL" clId="{3B8D064A-583E-44DC-B3B3-6387FA60473B}" dt="2024-01-02T06:47:39.197" v="3385"/>
          <ac:spMkLst>
            <pc:docMk/>
            <pc:sldMk cId="4038553599" sldId="2147479576"/>
            <ac:spMk id="21" creationId="{1A3F1DF3-EA88-9D5D-C962-ACB8A097CEE1}"/>
          </ac:spMkLst>
        </pc:spChg>
        <pc:spChg chg="add del mod">
          <ac:chgData name="Alfawzan, Lujain" userId="5542ab1a-fb35-4379-8837-59a3729222cc" providerId="ADAL" clId="{3B8D064A-583E-44DC-B3B3-6387FA60473B}" dt="2024-01-02T06:47:39.197" v="3385"/>
          <ac:spMkLst>
            <pc:docMk/>
            <pc:sldMk cId="4038553599" sldId="2147479576"/>
            <ac:spMk id="23" creationId="{8D78CCC9-2803-1C0B-B23F-272B2CCAE5DF}"/>
          </ac:spMkLst>
        </pc:spChg>
        <pc:spChg chg="add del mod">
          <ac:chgData name="Alfawzan, Lujain" userId="5542ab1a-fb35-4379-8837-59a3729222cc" providerId="ADAL" clId="{3B8D064A-583E-44DC-B3B3-6387FA60473B}" dt="2024-01-02T06:47:39.197" v="3385"/>
          <ac:spMkLst>
            <pc:docMk/>
            <pc:sldMk cId="4038553599" sldId="2147479576"/>
            <ac:spMk id="24" creationId="{FB5FCF8F-9C97-C357-3C92-F2A66E90D111}"/>
          </ac:spMkLst>
        </pc:spChg>
        <pc:spChg chg="add del mod">
          <ac:chgData name="Alfawzan, Lujain" userId="5542ab1a-fb35-4379-8837-59a3729222cc" providerId="ADAL" clId="{3B8D064A-583E-44DC-B3B3-6387FA60473B}" dt="2024-01-02T06:47:39.197" v="3385"/>
          <ac:spMkLst>
            <pc:docMk/>
            <pc:sldMk cId="4038553599" sldId="2147479576"/>
            <ac:spMk id="25" creationId="{F01AF7E9-EBD5-1D67-68B7-D9A684329952}"/>
          </ac:spMkLst>
        </pc:spChg>
        <pc:spChg chg="add del mod">
          <ac:chgData name="Alfawzan, Lujain" userId="5542ab1a-fb35-4379-8837-59a3729222cc" providerId="ADAL" clId="{3B8D064A-583E-44DC-B3B3-6387FA60473B}" dt="2024-01-02T06:47:39.197" v="3385"/>
          <ac:spMkLst>
            <pc:docMk/>
            <pc:sldMk cId="4038553599" sldId="2147479576"/>
            <ac:spMk id="27" creationId="{35D0CCD2-4257-C3EB-8CF2-252D600C051E}"/>
          </ac:spMkLst>
        </pc:spChg>
        <pc:spChg chg="add del mod">
          <ac:chgData name="Alfawzan, Lujain" userId="5542ab1a-fb35-4379-8837-59a3729222cc" providerId="ADAL" clId="{3B8D064A-583E-44DC-B3B3-6387FA60473B}" dt="2024-01-02T06:47:39.197" v="3385"/>
          <ac:spMkLst>
            <pc:docMk/>
            <pc:sldMk cId="4038553599" sldId="2147479576"/>
            <ac:spMk id="28" creationId="{B71B1C72-8819-A3B9-40A7-08593020E3C0}"/>
          </ac:spMkLst>
        </pc:spChg>
        <pc:spChg chg="add del mod">
          <ac:chgData name="Alfawzan, Lujain" userId="5542ab1a-fb35-4379-8837-59a3729222cc" providerId="ADAL" clId="{3B8D064A-583E-44DC-B3B3-6387FA60473B}" dt="2024-01-02T06:47:39.197" v="3385"/>
          <ac:spMkLst>
            <pc:docMk/>
            <pc:sldMk cId="4038553599" sldId="2147479576"/>
            <ac:spMk id="29" creationId="{7A8962F5-7A9F-4442-6A80-F9CB98607ACA}"/>
          </ac:spMkLst>
        </pc:spChg>
        <pc:spChg chg="add del mod">
          <ac:chgData name="Alfawzan, Lujain" userId="5542ab1a-fb35-4379-8837-59a3729222cc" providerId="ADAL" clId="{3B8D064A-583E-44DC-B3B3-6387FA60473B}" dt="2024-01-02T06:47:39.197" v="3385"/>
          <ac:spMkLst>
            <pc:docMk/>
            <pc:sldMk cId="4038553599" sldId="2147479576"/>
            <ac:spMk id="31" creationId="{5C9BBF17-5BAE-5D8F-C8CE-9FC1BC3C3B6E}"/>
          </ac:spMkLst>
        </pc:spChg>
        <pc:spChg chg="add del mod">
          <ac:chgData name="Alfawzan, Lujain" userId="5542ab1a-fb35-4379-8837-59a3729222cc" providerId="ADAL" clId="{3B8D064A-583E-44DC-B3B3-6387FA60473B}" dt="2024-01-02T06:47:39.197" v="3385"/>
          <ac:spMkLst>
            <pc:docMk/>
            <pc:sldMk cId="4038553599" sldId="2147479576"/>
            <ac:spMk id="32" creationId="{BF8F0524-E458-17EC-E429-44CA6A6DE5F7}"/>
          </ac:spMkLst>
        </pc:spChg>
        <pc:spChg chg="add del mod">
          <ac:chgData name="Alfawzan, Lujain" userId="5542ab1a-fb35-4379-8837-59a3729222cc" providerId="ADAL" clId="{3B8D064A-583E-44DC-B3B3-6387FA60473B}" dt="2024-01-02T06:47:39.197" v="3385"/>
          <ac:spMkLst>
            <pc:docMk/>
            <pc:sldMk cId="4038553599" sldId="2147479576"/>
            <ac:spMk id="33" creationId="{62148822-0FB4-5870-2438-8EF8D45E5853}"/>
          </ac:spMkLst>
        </pc:spChg>
        <pc:spChg chg="add del mod">
          <ac:chgData name="Alfawzan, Lujain" userId="5542ab1a-fb35-4379-8837-59a3729222cc" providerId="ADAL" clId="{3B8D064A-583E-44DC-B3B3-6387FA60473B}" dt="2024-01-02T06:47:39.197" v="3385"/>
          <ac:spMkLst>
            <pc:docMk/>
            <pc:sldMk cId="4038553599" sldId="2147479576"/>
            <ac:spMk id="35" creationId="{36E2712F-E50A-8F9E-AEA1-A3AACF11344C}"/>
          </ac:spMkLst>
        </pc:spChg>
        <pc:spChg chg="add del mod">
          <ac:chgData name="Alfawzan, Lujain" userId="5542ab1a-fb35-4379-8837-59a3729222cc" providerId="ADAL" clId="{3B8D064A-583E-44DC-B3B3-6387FA60473B}" dt="2024-01-02T06:47:39.197" v="3385"/>
          <ac:spMkLst>
            <pc:docMk/>
            <pc:sldMk cId="4038553599" sldId="2147479576"/>
            <ac:spMk id="36" creationId="{80E26E86-5F1C-885E-8634-D401EA789181}"/>
          </ac:spMkLst>
        </pc:spChg>
        <pc:spChg chg="add del mod">
          <ac:chgData name="Alfawzan, Lujain" userId="5542ab1a-fb35-4379-8837-59a3729222cc" providerId="ADAL" clId="{3B8D064A-583E-44DC-B3B3-6387FA60473B}" dt="2024-01-02T06:47:39.197" v="3385"/>
          <ac:spMkLst>
            <pc:docMk/>
            <pc:sldMk cId="4038553599" sldId="2147479576"/>
            <ac:spMk id="37" creationId="{0DA9C523-25EB-37E4-DD22-D120D242435B}"/>
          </ac:spMkLst>
        </pc:spChg>
        <pc:spChg chg="add del mod">
          <ac:chgData name="Alfawzan, Lujain" userId="5542ab1a-fb35-4379-8837-59a3729222cc" providerId="ADAL" clId="{3B8D064A-583E-44DC-B3B3-6387FA60473B}" dt="2024-01-02T06:47:39.197" v="3385"/>
          <ac:spMkLst>
            <pc:docMk/>
            <pc:sldMk cId="4038553599" sldId="2147479576"/>
            <ac:spMk id="39" creationId="{49A86517-1B82-4E60-F485-C953623754A5}"/>
          </ac:spMkLst>
        </pc:spChg>
        <pc:spChg chg="add del mod">
          <ac:chgData name="Alfawzan, Lujain" userId="5542ab1a-fb35-4379-8837-59a3729222cc" providerId="ADAL" clId="{3B8D064A-583E-44DC-B3B3-6387FA60473B}" dt="2024-01-02T06:47:39.197" v="3385"/>
          <ac:spMkLst>
            <pc:docMk/>
            <pc:sldMk cId="4038553599" sldId="2147479576"/>
            <ac:spMk id="40" creationId="{FA1A0BBC-CB6B-2E92-D3CA-C1D2A0E6654D}"/>
          </ac:spMkLst>
        </pc:spChg>
        <pc:spChg chg="add del mod">
          <ac:chgData name="Alfawzan, Lujain" userId="5542ab1a-fb35-4379-8837-59a3729222cc" providerId="ADAL" clId="{3B8D064A-583E-44DC-B3B3-6387FA60473B}" dt="2024-01-02T06:47:39.197" v="3385"/>
          <ac:spMkLst>
            <pc:docMk/>
            <pc:sldMk cId="4038553599" sldId="2147479576"/>
            <ac:spMk id="41" creationId="{753DFF8B-B509-AB5F-57C6-38E610BA1D4B}"/>
          </ac:spMkLst>
        </pc:spChg>
        <pc:spChg chg="add del mod">
          <ac:chgData name="Alfawzan, Lujain" userId="5542ab1a-fb35-4379-8837-59a3729222cc" providerId="ADAL" clId="{3B8D064A-583E-44DC-B3B3-6387FA60473B}" dt="2024-01-02T06:47:39.197" v="3385"/>
          <ac:spMkLst>
            <pc:docMk/>
            <pc:sldMk cId="4038553599" sldId="2147479576"/>
            <ac:spMk id="43" creationId="{53C5CB22-1C27-D143-C3B4-226D5DAA7DB9}"/>
          </ac:spMkLst>
        </pc:spChg>
        <pc:spChg chg="add del mod">
          <ac:chgData name="Alfawzan, Lujain" userId="5542ab1a-fb35-4379-8837-59a3729222cc" providerId="ADAL" clId="{3B8D064A-583E-44DC-B3B3-6387FA60473B}" dt="2024-01-02T06:47:39.197" v="3385"/>
          <ac:spMkLst>
            <pc:docMk/>
            <pc:sldMk cId="4038553599" sldId="2147479576"/>
            <ac:spMk id="44" creationId="{20670A16-4D1A-8972-6C86-B4008BB38192}"/>
          </ac:spMkLst>
        </pc:spChg>
        <pc:spChg chg="add del mod">
          <ac:chgData name="Alfawzan, Lujain" userId="5542ab1a-fb35-4379-8837-59a3729222cc" providerId="ADAL" clId="{3B8D064A-583E-44DC-B3B3-6387FA60473B}" dt="2024-01-02T06:47:39.197" v="3385"/>
          <ac:spMkLst>
            <pc:docMk/>
            <pc:sldMk cId="4038553599" sldId="2147479576"/>
            <ac:spMk id="45" creationId="{F17C90F4-0B80-F26F-9FE2-06BDA231CDEB}"/>
          </ac:spMkLst>
        </pc:spChg>
        <pc:spChg chg="add del mod">
          <ac:chgData name="Alfawzan, Lujain" userId="5542ab1a-fb35-4379-8837-59a3729222cc" providerId="ADAL" clId="{3B8D064A-583E-44DC-B3B3-6387FA60473B}" dt="2024-01-02T06:47:39.197" v="3385"/>
          <ac:spMkLst>
            <pc:docMk/>
            <pc:sldMk cId="4038553599" sldId="2147479576"/>
            <ac:spMk id="46" creationId="{053D4831-FFD4-9DE8-D40E-33F6CB6B542A}"/>
          </ac:spMkLst>
        </pc:spChg>
        <pc:spChg chg="add del mod">
          <ac:chgData name="Alfawzan, Lujain" userId="5542ab1a-fb35-4379-8837-59a3729222cc" providerId="ADAL" clId="{3B8D064A-583E-44DC-B3B3-6387FA60473B}" dt="2024-01-02T06:47:39.197" v="3385"/>
          <ac:spMkLst>
            <pc:docMk/>
            <pc:sldMk cId="4038553599" sldId="2147479576"/>
            <ac:spMk id="47" creationId="{19AC6C9A-9D27-4B19-176F-E8CB8F893310}"/>
          </ac:spMkLst>
        </pc:spChg>
        <pc:spChg chg="add del mod">
          <ac:chgData name="Alfawzan, Lujain" userId="5542ab1a-fb35-4379-8837-59a3729222cc" providerId="ADAL" clId="{3B8D064A-583E-44DC-B3B3-6387FA60473B}" dt="2024-01-02T06:47:39.197" v="3385"/>
          <ac:spMkLst>
            <pc:docMk/>
            <pc:sldMk cId="4038553599" sldId="2147479576"/>
            <ac:spMk id="48" creationId="{CD9D100D-5D7E-FC3D-A7D0-37C423A4560C}"/>
          </ac:spMkLst>
        </pc:spChg>
        <pc:spChg chg="add del mod">
          <ac:chgData name="Alfawzan, Lujain" userId="5542ab1a-fb35-4379-8837-59a3729222cc" providerId="ADAL" clId="{3B8D064A-583E-44DC-B3B3-6387FA60473B}" dt="2024-01-02T06:47:39.197" v="3385"/>
          <ac:spMkLst>
            <pc:docMk/>
            <pc:sldMk cId="4038553599" sldId="2147479576"/>
            <ac:spMk id="54" creationId="{829E4327-CB8A-B0DE-071B-9F8908577475}"/>
          </ac:spMkLst>
        </pc:spChg>
        <pc:spChg chg="add del mod">
          <ac:chgData name="Alfawzan, Lujain" userId="5542ab1a-fb35-4379-8837-59a3729222cc" providerId="ADAL" clId="{3B8D064A-583E-44DC-B3B3-6387FA60473B}" dt="2024-01-02T06:47:39.197" v="3385"/>
          <ac:spMkLst>
            <pc:docMk/>
            <pc:sldMk cId="4038553599" sldId="2147479576"/>
            <ac:spMk id="55" creationId="{DF3309E9-F7AC-A107-1CD3-61AF625FF87B}"/>
          </ac:spMkLst>
        </pc:spChg>
        <pc:spChg chg="add del mod">
          <ac:chgData name="Alfawzan, Lujain" userId="5542ab1a-fb35-4379-8837-59a3729222cc" providerId="ADAL" clId="{3B8D064A-583E-44DC-B3B3-6387FA60473B}" dt="2024-01-02T06:47:39.197" v="3385"/>
          <ac:spMkLst>
            <pc:docMk/>
            <pc:sldMk cId="4038553599" sldId="2147479576"/>
            <ac:spMk id="57" creationId="{9B5517E9-E861-1BD5-3474-655242AB5C5F}"/>
          </ac:spMkLst>
        </pc:spChg>
        <pc:spChg chg="add del mod">
          <ac:chgData name="Alfawzan, Lujain" userId="5542ab1a-fb35-4379-8837-59a3729222cc" providerId="ADAL" clId="{3B8D064A-583E-44DC-B3B3-6387FA60473B}" dt="2024-01-02T06:47:39.197" v="3385"/>
          <ac:spMkLst>
            <pc:docMk/>
            <pc:sldMk cId="4038553599" sldId="2147479576"/>
            <ac:spMk id="58" creationId="{5EAFA5C8-3FE0-461F-8680-8EE660FE604C}"/>
          </ac:spMkLst>
        </pc:spChg>
        <pc:spChg chg="add del mod">
          <ac:chgData name="Alfawzan, Lujain" userId="5542ab1a-fb35-4379-8837-59a3729222cc" providerId="ADAL" clId="{3B8D064A-583E-44DC-B3B3-6387FA60473B}" dt="2024-01-02T06:47:39.197" v="3385"/>
          <ac:spMkLst>
            <pc:docMk/>
            <pc:sldMk cId="4038553599" sldId="2147479576"/>
            <ac:spMk id="59" creationId="{275C8DDE-D2B2-98A1-AE15-33E051192B5E}"/>
          </ac:spMkLst>
        </pc:spChg>
        <pc:spChg chg="add del mod">
          <ac:chgData name="Alfawzan, Lujain" userId="5542ab1a-fb35-4379-8837-59a3729222cc" providerId="ADAL" clId="{3B8D064A-583E-44DC-B3B3-6387FA60473B}" dt="2024-01-02T06:47:39.197" v="3385"/>
          <ac:spMkLst>
            <pc:docMk/>
            <pc:sldMk cId="4038553599" sldId="2147479576"/>
            <ac:spMk id="61" creationId="{E8F38FA7-6EE8-4794-1993-E1D456A9A6D0}"/>
          </ac:spMkLst>
        </pc:spChg>
        <pc:spChg chg="add del mod">
          <ac:chgData name="Alfawzan, Lujain" userId="5542ab1a-fb35-4379-8837-59a3729222cc" providerId="ADAL" clId="{3B8D064A-583E-44DC-B3B3-6387FA60473B}" dt="2024-01-02T06:47:39.197" v="3385"/>
          <ac:spMkLst>
            <pc:docMk/>
            <pc:sldMk cId="4038553599" sldId="2147479576"/>
            <ac:spMk id="62" creationId="{51D1BC1F-9153-A613-829E-D63061D3608A}"/>
          </ac:spMkLst>
        </pc:spChg>
        <pc:spChg chg="add del mod">
          <ac:chgData name="Alfawzan, Lujain" userId="5542ab1a-fb35-4379-8837-59a3729222cc" providerId="ADAL" clId="{3B8D064A-583E-44DC-B3B3-6387FA60473B}" dt="2024-01-02T06:47:39.197" v="3385"/>
          <ac:spMkLst>
            <pc:docMk/>
            <pc:sldMk cId="4038553599" sldId="2147479576"/>
            <ac:spMk id="63" creationId="{DB0370AD-1CD3-B14E-E739-B1A8C0578E43}"/>
          </ac:spMkLst>
        </pc:spChg>
        <pc:spChg chg="add del mod">
          <ac:chgData name="Alfawzan, Lujain" userId="5542ab1a-fb35-4379-8837-59a3729222cc" providerId="ADAL" clId="{3B8D064A-583E-44DC-B3B3-6387FA60473B}" dt="2024-01-02T06:47:39.197" v="3385"/>
          <ac:spMkLst>
            <pc:docMk/>
            <pc:sldMk cId="4038553599" sldId="2147479576"/>
            <ac:spMk id="65" creationId="{77ECDDC7-5003-FE51-19EB-7E44F74671AC}"/>
          </ac:spMkLst>
        </pc:spChg>
        <pc:spChg chg="add del mod">
          <ac:chgData name="Alfawzan, Lujain" userId="5542ab1a-fb35-4379-8837-59a3729222cc" providerId="ADAL" clId="{3B8D064A-583E-44DC-B3B3-6387FA60473B}" dt="2024-01-02T06:47:39.197" v="3385"/>
          <ac:spMkLst>
            <pc:docMk/>
            <pc:sldMk cId="4038553599" sldId="2147479576"/>
            <ac:spMk id="67" creationId="{65C80DB8-A206-34D0-0144-C7A050473A18}"/>
          </ac:spMkLst>
        </pc:spChg>
        <pc:spChg chg="add del mod">
          <ac:chgData name="Alfawzan, Lujain" userId="5542ab1a-fb35-4379-8837-59a3729222cc" providerId="ADAL" clId="{3B8D064A-583E-44DC-B3B3-6387FA60473B}" dt="2024-01-02T06:47:39.197" v="3385"/>
          <ac:spMkLst>
            <pc:docMk/>
            <pc:sldMk cId="4038553599" sldId="2147479576"/>
            <ac:spMk id="68" creationId="{A1FD0CCD-AB2E-D506-8441-E062B16578DD}"/>
          </ac:spMkLst>
        </pc:spChg>
        <pc:spChg chg="add del mod">
          <ac:chgData name="Alfawzan, Lujain" userId="5542ab1a-fb35-4379-8837-59a3729222cc" providerId="ADAL" clId="{3B8D064A-583E-44DC-B3B3-6387FA60473B}" dt="2024-01-02T06:47:39.197" v="3385"/>
          <ac:spMkLst>
            <pc:docMk/>
            <pc:sldMk cId="4038553599" sldId="2147479576"/>
            <ac:spMk id="69" creationId="{D443A815-7048-DEC7-D958-238D12572231}"/>
          </ac:spMkLst>
        </pc:spChg>
        <pc:spChg chg="add del mod">
          <ac:chgData name="Alfawzan, Lujain" userId="5542ab1a-fb35-4379-8837-59a3729222cc" providerId="ADAL" clId="{3B8D064A-583E-44DC-B3B3-6387FA60473B}" dt="2024-01-02T06:47:39.197" v="3385"/>
          <ac:spMkLst>
            <pc:docMk/>
            <pc:sldMk cId="4038553599" sldId="2147479576"/>
            <ac:spMk id="70" creationId="{35ADA4E8-620F-BD2B-BE35-4E394F49D0A2}"/>
          </ac:spMkLst>
        </pc:spChg>
        <pc:spChg chg="add del mod">
          <ac:chgData name="Alfawzan, Lujain" userId="5542ab1a-fb35-4379-8837-59a3729222cc" providerId="ADAL" clId="{3B8D064A-583E-44DC-B3B3-6387FA60473B}" dt="2024-01-02T06:47:39.197" v="3385"/>
          <ac:spMkLst>
            <pc:docMk/>
            <pc:sldMk cId="4038553599" sldId="2147479576"/>
            <ac:spMk id="71" creationId="{E4FAB951-8693-7CD9-DF5B-7AEB5811DC01}"/>
          </ac:spMkLst>
        </pc:spChg>
        <pc:spChg chg="add del mod">
          <ac:chgData name="Alfawzan, Lujain" userId="5542ab1a-fb35-4379-8837-59a3729222cc" providerId="ADAL" clId="{3B8D064A-583E-44DC-B3B3-6387FA60473B}" dt="2024-01-02T06:47:39.197" v="3385"/>
          <ac:spMkLst>
            <pc:docMk/>
            <pc:sldMk cId="4038553599" sldId="2147479576"/>
            <ac:spMk id="73" creationId="{0C18D235-4A0F-0C83-91B4-8C850F6E84E0}"/>
          </ac:spMkLst>
        </pc:spChg>
        <pc:spChg chg="add del mod">
          <ac:chgData name="Alfawzan, Lujain" userId="5542ab1a-fb35-4379-8837-59a3729222cc" providerId="ADAL" clId="{3B8D064A-583E-44DC-B3B3-6387FA60473B}" dt="2024-01-02T06:47:39.197" v="3385"/>
          <ac:spMkLst>
            <pc:docMk/>
            <pc:sldMk cId="4038553599" sldId="2147479576"/>
            <ac:spMk id="74" creationId="{A3A6182D-3AA3-B8B7-56BE-506B1C35D80E}"/>
          </ac:spMkLst>
        </pc:spChg>
        <pc:spChg chg="mod">
          <ac:chgData name="Alfawzan, Lujain" userId="5542ab1a-fb35-4379-8837-59a3729222cc" providerId="ADAL" clId="{3B8D064A-583E-44DC-B3B3-6387FA60473B}" dt="2024-01-02T06:48:03.053" v="3413" actId="20577"/>
          <ac:spMkLst>
            <pc:docMk/>
            <pc:sldMk cId="4038553599" sldId="2147479576"/>
            <ac:spMk id="75" creationId="{0B00487E-9A8E-46E0-B60F-BB884C23310C}"/>
          </ac:spMkLst>
        </pc:spChg>
        <pc:spChg chg="add mod">
          <ac:chgData name="Alfawzan, Lujain" userId="5542ab1a-fb35-4379-8837-59a3729222cc" providerId="ADAL" clId="{3B8D064A-583E-44DC-B3B3-6387FA60473B}" dt="2024-01-02T06:47:39.249" v="3386"/>
          <ac:spMkLst>
            <pc:docMk/>
            <pc:sldMk cId="4038553599" sldId="2147479576"/>
            <ac:spMk id="82" creationId="{C24CD248-18D4-C4B3-ED68-639521563FF9}"/>
          </ac:spMkLst>
        </pc:spChg>
        <pc:spChg chg="add mod">
          <ac:chgData name="Alfawzan, Lujain" userId="5542ab1a-fb35-4379-8837-59a3729222cc" providerId="ADAL" clId="{3B8D064A-583E-44DC-B3B3-6387FA60473B}" dt="2024-01-02T06:47:39.249" v="3386"/>
          <ac:spMkLst>
            <pc:docMk/>
            <pc:sldMk cId="4038553599" sldId="2147479576"/>
            <ac:spMk id="83" creationId="{9D970363-03D1-119E-7A9D-7DF94D3B7C8F}"/>
          </ac:spMkLst>
        </pc:spChg>
        <pc:spChg chg="add mod">
          <ac:chgData name="Alfawzan, Lujain" userId="5542ab1a-fb35-4379-8837-59a3729222cc" providerId="ADAL" clId="{3B8D064A-583E-44DC-B3B3-6387FA60473B}" dt="2024-01-02T06:47:39.249" v="3386"/>
          <ac:spMkLst>
            <pc:docMk/>
            <pc:sldMk cId="4038553599" sldId="2147479576"/>
            <ac:spMk id="84" creationId="{54ACB6B5-1ADC-ADC5-ECFE-B0886D8B0D82}"/>
          </ac:spMkLst>
        </pc:spChg>
        <pc:spChg chg="add mod">
          <ac:chgData name="Alfawzan, Lujain" userId="5542ab1a-fb35-4379-8837-59a3729222cc" providerId="ADAL" clId="{3B8D064A-583E-44DC-B3B3-6387FA60473B}" dt="2024-01-02T06:47:39.249" v="3386"/>
          <ac:spMkLst>
            <pc:docMk/>
            <pc:sldMk cId="4038553599" sldId="2147479576"/>
            <ac:spMk id="86" creationId="{B815F141-CF4E-96A4-B0EB-CDCBF42950BB}"/>
          </ac:spMkLst>
        </pc:spChg>
        <pc:spChg chg="add mod">
          <ac:chgData name="Alfawzan, Lujain" userId="5542ab1a-fb35-4379-8837-59a3729222cc" providerId="ADAL" clId="{3B8D064A-583E-44DC-B3B3-6387FA60473B}" dt="2024-01-02T06:47:39.249" v="3386"/>
          <ac:spMkLst>
            <pc:docMk/>
            <pc:sldMk cId="4038553599" sldId="2147479576"/>
            <ac:spMk id="87" creationId="{0D6DFC3A-5809-0E98-08E3-E4683452E6DC}"/>
          </ac:spMkLst>
        </pc:spChg>
        <pc:spChg chg="add mod">
          <ac:chgData name="Alfawzan, Lujain" userId="5542ab1a-fb35-4379-8837-59a3729222cc" providerId="ADAL" clId="{3B8D064A-583E-44DC-B3B3-6387FA60473B}" dt="2024-01-02T06:47:39.249" v="3386"/>
          <ac:spMkLst>
            <pc:docMk/>
            <pc:sldMk cId="4038553599" sldId="2147479576"/>
            <ac:spMk id="88" creationId="{454A2217-01C4-B98F-B5B5-7B1889BFC116}"/>
          </ac:spMkLst>
        </pc:spChg>
        <pc:spChg chg="add mod">
          <ac:chgData name="Alfawzan, Lujain" userId="5542ab1a-fb35-4379-8837-59a3729222cc" providerId="ADAL" clId="{3B8D064A-583E-44DC-B3B3-6387FA60473B}" dt="2024-01-02T06:47:39.249" v="3386"/>
          <ac:spMkLst>
            <pc:docMk/>
            <pc:sldMk cId="4038553599" sldId="2147479576"/>
            <ac:spMk id="90" creationId="{708F2C38-4C9A-C8AB-302F-A840C03BD27F}"/>
          </ac:spMkLst>
        </pc:spChg>
        <pc:spChg chg="add mod">
          <ac:chgData name="Alfawzan, Lujain" userId="5542ab1a-fb35-4379-8837-59a3729222cc" providerId="ADAL" clId="{3B8D064A-583E-44DC-B3B3-6387FA60473B}" dt="2024-01-02T06:47:39.249" v="3386"/>
          <ac:spMkLst>
            <pc:docMk/>
            <pc:sldMk cId="4038553599" sldId="2147479576"/>
            <ac:spMk id="91" creationId="{F440EDD0-8711-C058-A704-07B65454709B}"/>
          </ac:spMkLst>
        </pc:spChg>
        <pc:spChg chg="add mod">
          <ac:chgData name="Alfawzan, Lujain" userId="5542ab1a-fb35-4379-8837-59a3729222cc" providerId="ADAL" clId="{3B8D064A-583E-44DC-B3B3-6387FA60473B}" dt="2024-01-02T06:47:39.249" v="3386"/>
          <ac:spMkLst>
            <pc:docMk/>
            <pc:sldMk cId="4038553599" sldId="2147479576"/>
            <ac:spMk id="92" creationId="{C9F637ED-4B10-3BF8-9FD8-43E8A2B7CB8A}"/>
          </ac:spMkLst>
        </pc:spChg>
        <pc:spChg chg="add mod">
          <ac:chgData name="Alfawzan, Lujain" userId="5542ab1a-fb35-4379-8837-59a3729222cc" providerId="ADAL" clId="{3B8D064A-583E-44DC-B3B3-6387FA60473B}" dt="2024-01-02T06:47:39.249" v="3386"/>
          <ac:spMkLst>
            <pc:docMk/>
            <pc:sldMk cId="4038553599" sldId="2147479576"/>
            <ac:spMk id="94" creationId="{E14AE8BE-D268-AC79-69A5-B88EB5500BEB}"/>
          </ac:spMkLst>
        </pc:spChg>
        <pc:spChg chg="add mod">
          <ac:chgData name="Alfawzan, Lujain" userId="5542ab1a-fb35-4379-8837-59a3729222cc" providerId="ADAL" clId="{3B8D064A-583E-44DC-B3B3-6387FA60473B}" dt="2024-01-02T06:47:39.249" v="3386"/>
          <ac:spMkLst>
            <pc:docMk/>
            <pc:sldMk cId="4038553599" sldId="2147479576"/>
            <ac:spMk id="95" creationId="{FDABBA99-5B9B-92A0-27C0-F537112C685F}"/>
          </ac:spMkLst>
        </pc:spChg>
        <pc:spChg chg="add mod">
          <ac:chgData name="Alfawzan, Lujain" userId="5542ab1a-fb35-4379-8837-59a3729222cc" providerId="ADAL" clId="{3B8D064A-583E-44DC-B3B3-6387FA60473B}" dt="2024-01-02T06:47:39.249" v="3386"/>
          <ac:spMkLst>
            <pc:docMk/>
            <pc:sldMk cId="4038553599" sldId="2147479576"/>
            <ac:spMk id="96" creationId="{528DA222-56C3-2CA1-11E0-66559B1F1815}"/>
          </ac:spMkLst>
        </pc:spChg>
        <pc:spChg chg="add mod">
          <ac:chgData name="Alfawzan, Lujain" userId="5542ab1a-fb35-4379-8837-59a3729222cc" providerId="ADAL" clId="{3B8D064A-583E-44DC-B3B3-6387FA60473B}" dt="2024-01-02T06:47:39.249" v="3386"/>
          <ac:spMkLst>
            <pc:docMk/>
            <pc:sldMk cId="4038553599" sldId="2147479576"/>
            <ac:spMk id="98" creationId="{6F9CC662-B6F4-621C-99E6-98EAC7B7D046}"/>
          </ac:spMkLst>
        </pc:spChg>
        <pc:spChg chg="add mod">
          <ac:chgData name="Alfawzan, Lujain" userId="5542ab1a-fb35-4379-8837-59a3729222cc" providerId="ADAL" clId="{3B8D064A-583E-44DC-B3B3-6387FA60473B}" dt="2024-01-02T06:47:39.249" v="3386"/>
          <ac:spMkLst>
            <pc:docMk/>
            <pc:sldMk cId="4038553599" sldId="2147479576"/>
            <ac:spMk id="99" creationId="{8D4F094F-C521-8C98-1BB2-7987A834CA5C}"/>
          </ac:spMkLst>
        </pc:spChg>
        <pc:spChg chg="add mod">
          <ac:chgData name="Alfawzan, Lujain" userId="5542ab1a-fb35-4379-8837-59a3729222cc" providerId="ADAL" clId="{3B8D064A-583E-44DC-B3B3-6387FA60473B}" dt="2024-01-02T06:47:39.249" v="3386"/>
          <ac:spMkLst>
            <pc:docMk/>
            <pc:sldMk cId="4038553599" sldId="2147479576"/>
            <ac:spMk id="100" creationId="{C74DD552-D347-3235-9170-C40480FE35C6}"/>
          </ac:spMkLst>
        </pc:spChg>
        <pc:spChg chg="add mod">
          <ac:chgData name="Alfawzan, Lujain" userId="5542ab1a-fb35-4379-8837-59a3729222cc" providerId="ADAL" clId="{3B8D064A-583E-44DC-B3B3-6387FA60473B}" dt="2024-01-02T06:47:39.249" v="3386"/>
          <ac:spMkLst>
            <pc:docMk/>
            <pc:sldMk cId="4038553599" sldId="2147479576"/>
            <ac:spMk id="102" creationId="{366D7B52-9B74-200B-249F-43878BD1C2A0}"/>
          </ac:spMkLst>
        </pc:spChg>
        <pc:spChg chg="add mod">
          <ac:chgData name="Alfawzan, Lujain" userId="5542ab1a-fb35-4379-8837-59a3729222cc" providerId="ADAL" clId="{3B8D064A-583E-44DC-B3B3-6387FA60473B}" dt="2024-01-02T06:47:39.249" v="3386"/>
          <ac:spMkLst>
            <pc:docMk/>
            <pc:sldMk cId="4038553599" sldId="2147479576"/>
            <ac:spMk id="103" creationId="{C1AD78D8-C90C-4352-D846-026BF867844C}"/>
          </ac:spMkLst>
        </pc:spChg>
        <pc:spChg chg="add mod">
          <ac:chgData name="Alfawzan, Lujain" userId="5542ab1a-fb35-4379-8837-59a3729222cc" providerId="ADAL" clId="{3B8D064A-583E-44DC-B3B3-6387FA60473B}" dt="2024-01-02T06:47:39.249" v="3386"/>
          <ac:spMkLst>
            <pc:docMk/>
            <pc:sldMk cId="4038553599" sldId="2147479576"/>
            <ac:spMk id="104" creationId="{03F2965C-2AB0-22DD-DAA6-789621F97839}"/>
          </ac:spMkLst>
        </pc:spChg>
        <pc:spChg chg="add mod">
          <ac:chgData name="Alfawzan, Lujain" userId="5542ab1a-fb35-4379-8837-59a3729222cc" providerId="ADAL" clId="{3B8D064A-583E-44DC-B3B3-6387FA60473B}" dt="2024-01-02T06:47:39.249" v="3386"/>
          <ac:spMkLst>
            <pc:docMk/>
            <pc:sldMk cId="4038553599" sldId="2147479576"/>
            <ac:spMk id="106" creationId="{4A449C69-53C8-1092-AA22-60E1905E4E94}"/>
          </ac:spMkLst>
        </pc:spChg>
        <pc:spChg chg="add mod">
          <ac:chgData name="Alfawzan, Lujain" userId="5542ab1a-fb35-4379-8837-59a3729222cc" providerId="ADAL" clId="{3B8D064A-583E-44DC-B3B3-6387FA60473B}" dt="2024-01-02T06:47:39.249" v="3386"/>
          <ac:spMkLst>
            <pc:docMk/>
            <pc:sldMk cId="4038553599" sldId="2147479576"/>
            <ac:spMk id="107" creationId="{13C986C8-026D-2FCB-8F8A-452AD9ABE371}"/>
          </ac:spMkLst>
        </pc:spChg>
        <pc:spChg chg="add mod">
          <ac:chgData name="Alfawzan, Lujain" userId="5542ab1a-fb35-4379-8837-59a3729222cc" providerId="ADAL" clId="{3B8D064A-583E-44DC-B3B3-6387FA60473B}" dt="2024-01-02T06:47:39.249" v="3386"/>
          <ac:spMkLst>
            <pc:docMk/>
            <pc:sldMk cId="4038553599" sldId="2147479576"/>
            <ac:spMk id="108" creationId="{6DA2F627-62FD-5B2B-74C8-22C8F7453428}"/>
          </ac:spMkLst>
        </pc:spChg>
        <pc:spChg chg="add mod">
          <ac:chgData name="Alfawzan, Lujain" userId="5542ab1a-fb35-4379-8837-59a3729222cc" providerId="ADAL" clId="{3B8D064A-583E-44DC-B3B3-6387FA60473B}" dt="2024-01-02T06:47:39.249" v="3386"/>
          <ac:spMkLst>
            <pc:docMk/>
            <pc:sldMk cId="4038553599" sldId="2147479576"/>
            <ac:spMk id="109" creationId="{D4D7652C-143C-AA7E-A853-DB603A43CE67}"/>
          </ac:spMkLst>
        </pc:spChg>
        <pc:spChg chg="add mod">
          <ac:chgData name="Alfawzan, Lujain" userId="5542ab1a-fb35-4379-8837-59a3729222cc" providerId="ADAL" clId="{3B8D064A-583E-44DC-B3B3-6387FA60473B}" dt="2024-01-02T06:47:39.249" v="3386"/>
          <ac:spMkLst>
            <pc:docMk/>
            <pc:sldMk cId="4038553599" sldId="2147479576"/>
            <ac:spMk id="110" creationId="{A4562555-284E-E783-1718-2A6C4E04C5FB}"/>
          </ac:spMkLst>
        </pc:spChg>
        <pc:spChg chg="add mod">
          <ac:chgData name="Alfawzan, Lujain" userId="5542ab1a-fb35-4379-8837-59a3729222cc" providerId="ADAL" clId="{3B8D064A-583E-44DC-B3B3-6387FA60473B}" dt="2024-01-02T06:47:39.249" v="3386"/>
          <ac:spMkLst>
            <pc:docMk/>
            <pc:sldMk cId="4038553599" sldId="2147479576"/>
            <ac:spMk id="111" creationId="{F68F1616-29F5-F439-9696-848F6080F84F}"/>
          </ac:spMkLst>
        </pc:spChg>
        <pc:spChg chg="add mod">
          <ac:chgData name="Alfawzan, Lujain" userId="5542ab1a-fb35-4379-8837-59a3729222cc" providerId="ADAL" clId="{3B8D064A-583E-44DC-B3B3-6387FA60473B}" dt="2024-01-02T06:47:39.249" v="3386"/>
          <ac:spMkLst>
            <pc:docMk/>
            <pc:sldMk cId="4038553599" sldId="2147479576"/>
            <ac:spMk id="117" creationId="{E362B4A2-4312-7A71-FF51-0A9AC393B312}"/>
          </ac:spMkLst>
        </pc:spChg>
        <pc:spChg chg="add mod">
          <ac:chgData name="Alfawzan, Lujain" userId="5542ab1a-fb35-4379-8837-59a3729222cc" providerId="ADAL" clId="{3B8D064A-583E-44DC-B3B3-6387FA60473B}" dt="2024-01-02T06:47:39.249" v="3386"/>
          <ac:spMkLst>
            <pc:docMk/>
            <pc:sldMk cId="4038553599" sldId="2147479576"/>
            <ac:spMk id="118" creationId="{BE1CD6BF-442C-FC4C-BFCB-CE6DFCFF4D15}"/>
          </ac:spMkLst>
        </pc:spChg>
        <pc:spChg chg="add mod">
          <ac:chgData name="Alfawzan, Lujain" userId="5542ab1a-fb35-4379-8837-59a3729222cc" providerId="ADAL" clId="{3B8D064A-583E-44DC-B3B3-6387FA60473B}" dt="2024-01-02T06:47:39.249" v="3386"/>
          <ac:spMkLst>
            <pc:docMk/>
            <pc:sldMk cId="4038553599" sldId="2147479576"/>
            <ac:spMk id="120" creationId="{A254209A-9FE9-39D5-AA03-B7E6B8D42403}"/>
          </ac:spMkLst>
        </pc:spChg>
        <pc:spChg chg="add mod">
          <ac:chgData name="Alfawzan, Lujain" userId="5542ab1a-fb35-4379-8837-59a3729222cc" providerId="ADAL" clId="{3B8D064A-583E-44DC-B3B3-6387FA60473B}" dt="2024-01-02T06:47:39.249" v="3386"/>
          <ac:spMkLst>
            <pc:docMk/>
            <pc:sldMk cId="4038553599" sldId="2147479576"/>
            <ac:spMk id="121" creationId="{E49476F8-AEA2-86EE-E844-7083B76ECBCA}"/>
          </ac:spMkLst>
        </pc:spChg>
        <pc:spChg chg="add mod">
          <ac:chgData name="Alfawzan, Lujain" userId="5542ab1a-fb35-4379-8837-59a3729222cc" providerId="ADAL" clId="{3B8D064A-583E-44DC-B3B3-6387FA60473B}" dt="2024-01-02T06:47:39.249" v="3386"/>
          <ac:spMkLst>
            <pc:docMk/>
            <pc:sldMk cId="4038553599" sldId="2147479576"/>
            <ac:spMk id="122" creationId="{903CC563-9A35-00E3-16D1-EB9A00840305}"/>
          </ac:spMkLst>
        </pc:spChg>
        <pc:spChg chg="add mod">
          <ac:chgData name="Alfawzan, Lujain" userId="5542ab1a-fb35-4379-8837-59a3729222cc" providerId="ADAL" clId="{3B8D064A-583E-44DC-B3B3-6387FA60473B}" dt="2024-01-02T06:48:16.849" v="3414" actId="20577"/>
          <ac:spMkLst>
            <pc:docMk/>
            <pc:sldMk cId="4038553599" sldId="2147479576"/>
            <ac:spMk id="124" creationId="{B9EC104E-5589-3E1B-0AD1-FD85179E4307}"/>
          </ac:spMkLst>
        </pc:spChg>
        <pc:spChg chg="add mod">
          <ac:chgData name="Alfawzan, Lujain" userId="5542ab1a-fb35-4379-8837-59a3729222cc" providerId="ADAL" clId="{3B8D064A-583E-44DC-B3B3-6387FA60473B}" dt="2024-01-02T06:47:39.249" v="3386"/>
          <ac:spMkLst>
            <pc:docMk/>
            <pc:sldMk cId="4038553599" sldId="2147479576"/>
            <ac:spMk id="125" creationId="{27B5EF05-1AB8-9975-A8D3-586696165200}"/>
          </ac:spMkLst>
        </pc:spChg>
        <pc:spChg chg="add mod">
          <ac:chgData name="Alfawzan, Lujain" userId="5542ab1a-fb35-4379-8837-59a3729222cc" providerId="ADAL" clId="{3B8D064A-583E-44DC-B3B3-6387FA60473B}" dt="2024-01-02T06:47:39.249" v="3386"/>
          <ac:spMkLst>
            <pc:docMk/>
            <pc:sldMk cId="4038553599" sldId="2147479576"/>
            <ac:spMk id="126" creationId="{19530143-1C36-D52F-2A74-02E5C3B04392}"/>
          </ac:spMkLst>
        </pc:spChg>
        <pc:spChg chg="add mod">
          <ac:chgData name="Alfawzan, Lujain" userId="5542ab1a-fb35-4379-8837-59a3729222cc" providerId="ADAL" clId="{3B8D064A-583E-44DC-B3B3-6387FA60473B}" dt="2024-01-02T06:47:39.249" v="3386"/>
          <ac:spMkLst>
            <pc:docMk/>
            <pc:sldMk cId="4038553599" sldId="2147479576"/>
            <ac:spMk id="128" creationId="{D5033DC6-AC2E-7A10-877E-388814294A1D}"/>
          </ac:spMkLst>
        </pc:spChg>
        <pc:spChg chg="add mod">
          <ac:chgData name="Alfawzan, Lujain" userId="5542ab1a-fb35-4379-8837-59a3729222cc" providerId="ADAL" clId="{3B8D064A-583E-44DC-B3B3-6387FA60473B}" dt="2024-01-02T06:47:39.249" v="3386"/>
          <ac:spMkLst>
            <pc:docMk/>
            <pc:sldMk cId="4038553599" sldId="2147479576"/>
            <ac:spMk id="130" creationId="{C510976E-2600-00D1-E2B9-ADD19A36DBB5}"/>
          </ac:spMkLst>
        </pc:spChg>
        <pc:spChg chg="add mod">
          <ac:chgData name="Alfawzan, Lujain" userId="5542ab1a-fb35-4379-8837-59a3729222cc" providerId="ADAL" clId="{3B8D064A-583E-44DC-B3B3-6387FA60473B}" dt="2024-01-02T06:47:39.249" v="3386"/>
          <ac:spMkLst>
            <pc:docMk/>
            <pc:sldMk cId="4038553599" sldId="2147479576"/>
            <ac:spMk id="131" creationId="{32198286-D35D-84EE-B9EE-F81008A655B9}"/>
          </ac:spMkLst>
        </pc:spChg>
        <pc:spChg chg="add mod">
          <ac:chgData name="Alfawzan, Lujain" userId="5542ab1a-fb35-4379-8837-59a3729222cc" providerId="ADAL" clId="{3B8D064A-583E-44DC-B3B3-6387FA60473B}" dt="2024-01-02T06:47:39.249" v="3386"/>
          <ac:spMkLst>
            <pc:docMk/>
            <pc:sldMk cId="4038553599" sldId="2147479576"/>
            <ac:spMk id="132" creationId="{29694EC9-4BE8-94AB-169D-C64B4A1F4411}"/>
          </ac:spMkLst>
        </pc:spChg>
        <pc:spChg chg="add mod">
          <ac:chgData name="Alfawzan, Lujain" userId="5542ab1a-fb35-4379-8837-59a3729222cc" providerId="ADAL" clId="{3B8D064A-583E-44DC-B3B3-6387FA60473B}" dt="2024-01-02T06:47:39.249" v="3386"/>
          <ac:spMkLst>
            <pc:docMk/>
            <pc:sldMk cId="4038553599" sldId="2147479576"/>
            <ac:spMk id="133" creationId="{E671A711-475B-B164-E429-6E30F61984B3}"/>
          </ac:spMkLst>
        </pc:spChg>
        <pc:spChg chg="add mod">
          <ac:chgData name="Alfawzan, Lujain" userId="5542ab1a-fb35-4379-8837-59a3729222cc" providerId="ADAL" clId="{3B8D064A-583E-44DC-B3B3-6387FA60473B}" dt="2024-01-02T06:47:39.249" v="3386"/>
          <ac:spMkLst>
            <pc:docMk/>
            <pc:sldMk cId="4038553599" sldId="2147479576"/>
            <ac:spMk id="134" creationId="{F7B0E4C1-76A4-8571-C10E-70208E1DA34C}"/>
          </ac:spMkLst>
        </pc:spChg>
        <pc:spChg chg="add mod">
          <ac:chgData name="Alfawzan, Lujain" userId="5542ab1a-fb35-4379-8837-59a3729222cc" providerId="ADAL" clId="{3B8D064A-583E-44DC-B3B3-6387FA60473B}" dt="2024-01-02T06:47:39.249" v="3386"/>
          <ac:spMkLst>
            <pc:docMk/>
            <pc:sldMk cId="4038553599" sldId="2147479576"/>
            <ac:spMk id="136" creationId="{A15EE88C-7C3B-82C6-A3D8-35796E26C542}"/>
          </ac:spMkLst>
        </pc:spChg>
        <pc:spChg chg="add mod">
          <ac:chgData name="Alfawzan, Lujain" userId="5542ab1a-fb35-4379-8837-59a3729222cc" providerId="ADAL" clId="{3B8D064A-583E-44DC-B3B3-6387FA60473B}" dt="2024-01-02T06:47:39.249" v="3386"/>
          <ac:spMkLst>
            <pc:docMk/>
            <pc:sldMk cId="4038553599" sldId="2147479576"/>
            <ac:spMk id="137" creationId="{1FD0385A-F077-8056-E208-DC80FF13070C}"/>
          </ac:spMkLst>
        </pc:spChg>
        <pc:picChg chg="add del mod">
          <ac:chgData name="Alfawzan, Lujain" userId="5542ab1a-fb35-4379-8837-59a3729222cc" providerId="ADAL" clId="{3B8D064A-583E-44DC-B3B3-6387FA60473B}" dt="2024-01-02T06:47:39.197" v="3385"/>
          <ac:picMkLst>
            <pc:docMk/>
            <pc:sldMk cId="4038553599" sldId="2147479576"/>
            <ac:picMk id="4" creationId="{C72D018E-8DDD-2FFC-C15D-35132D123910}"/>
          </ac:picMkLst>
        </pc:picChg>
        <pc:picChg chg="add del mod">
          <ac:chgData name="Alfawzan, Lujain" userId="5542ab1a-fb35-4379-8837-59a3729222cc" providerId="ADAL" clId="{3B8D064A-583E-44DC-B3B3-6387FA60473B}" dt="2024-01-02T06:47:39.197" v="3385"/>
          <ac:picMkLst>
            <pc:docMk/>
            <pc:sldMk cId="4038553599" sldId="2147479576"/>
            <ac:picMk id="5" creationId="{67411087-4C91-63F5-02A4-A4D62BEFCE40}"/>
          </ac:picMkLst>
        </pc:picChg>
        <pc:picChg chg="del">
          <ac:chgData name="Alfawzan, Lujain" userId="5542ab1a-fb35-4379-8837-59a3729222cc" providerId="ADAL" clId="{3B8D064A-583E-44DC-B3B3-6387FA60473B}" dt="2024-01-02T06:46:44.463" v="3380" actId="478"/>
          <ac:picMkLst>
            <pc:docMk/>
            <pc:sldMk cId="4038553599" sldId="2147479576"/>
            <ac:picMk id="7" creationId="{99F4484F-A30E-39E6-735C-4C610BDF4835}"/>
          </ac:picMkLst>
        </pc:picChg>
        <pc:picChg chg="del">
          <ac:chgData name="Alfawzan, Lujain" userId="5542ab1a-fb35-4379-8837-59a3729222cc" providerId="ADAL" clId="{3B8D064A-583E-44DC-B3B3-6387FA60473B}" dt="2024-01-02T06:46:44.463" v="3380" actId="478"/>
          <ac:picMkLst>
            <pc:docMk/>
            <pc:sldMk cId="4038553599" sldId="2147479576"/>
            <ac:picMk id="12" creationId="{156612E3-3D43-FF52-6791-9FB929D8176B}"/>
          </ac:picMkLst>
        </pc:picChg>
        <pc:picChg chg="del">
          <ac:chgData name="Alfawzan, Lujain" userId="5542ab1a-fb35-4379-8837-59a3729222cc" providerId="ADAL" clId="{3B8D064A-583E-44DC-B3B3-6387FA60473B}" dt="2024-01-02T06:46:44.463" v="3380" actId="478"/>
          <ac:picMkLst>
            <pc:docMk/>
            <pc:sldMk cId="4038553599" sldId="2147479576"/>
            <ac:picMk id="17" creationId="{4C27A0B6-B933-7D23-B742-D62803B0D84E}"/>
          </ac:picMkLst>
        </pc:picChg>
        <pc:picChg chg="del">
          <ac:chgData name="Alfawzan, Lujain" userId="5542ab1a-fb35-4379-8837-59a3729222cc" providerId="ADAL" clId="{3B8D064A-583E-44DC-B3B3-6387FA60473B}" dt="2024-01-02T06:46:44.463" v="3380" actId="478"/>
          <ac:picMkLst>
            <pc:docMk/>
            <pc:sldMk cId="4038553599" sldId="2147479576"/>
            <ac:picMk id="19" creationId="{F5AF8C3E-DC74-73C6-0885-AB89111E268D}"/>
          </ac:picMkLst>
        </pc:picChg>
        <pc:picChg chg="add del mod">
          <ac:chgData name="Alfawzan, Lujain" userId="5542ab1a-fb35-4379-8837-59a3729222cc" providerId="ADAL" clId="{3B8D064A-583E-44DC-B3B3-6387FA60473B}" dt="2024-01-02T06:47:39.197" v="3385"/>
          <ac:picMkLst>
            <pc:docMk/>
            <pc:sldMk cId="4038553599" sldId="2147479576"/>
            <ac:picMk id="49" creationId="{4890EDFB-7574-F8B7-6FD4-1B10368C4575}"/>
          </ac:picMkLst>
        </pc:picChg>
        <pc:picChg chg="add del mod">
          <ac:chgData name="Alfawzan, Lujain" userId="5542ab1a-fb35-4379-8837-59a3729222cc" providerId="ADAL" clId="{3B8D064A-583E-44DC-B3B3-6387FA60473B}" dt="2024-01-02T06:47:39.197" v="3385"/>
          <ac:picMkLst>
            <pc:docMk/>
            <pc:sldMk cId="4038553599" sldId="2147479576"/>
            <ac:picMk id="50" creationId="{FA8CAC9A-03E1-3C1F-43D7-BC84DB544C0F}"/>
          </ac:picMkLst>
        </pc:picChg>
        <pc:picChg chg="add del mod">
          <ac:chgData name="Alfawzan, Lujain" userId="5542ab1a-fb35-4379-8837-59a3729222cc" providerId="ADAL" clId="{3B8D064A-583E-44DC-B3B3-6387FA60473B}" dt="2024-01-02T06:47:39.197" v="3385"/>
          <ac:picMkLst>
            <pc:docMk/>
            <pc:sldMk cId="4038553599" sldId="2147479576"/>
            <ac:picMk id="51" creationId="{96251398-60AE-41A6-DC5E-812B643CAF24}"/>
          </ac:picMkLst>
        </pc:picChg>
        <pc:picChg chg="add del mod">
          <ac:chgData name="Alfawzan, Lujain" userId="5542ab1a-fb35-4379-8837-59a3729222cc" providerId="ADAL" clId="{3B8D064A-583E-44DC-B3B3-6387FA60473B}" dt="2024-01-02T06:47:39.197" v="3385"/>
          <ac:picMkLst>
            <pc:docMk/>
            <pc:sldMk cId="4038553599" sldId="2147479576"/>
            <ac:picMk id="52" creationId="{670248D1-87BF-2464-B180-7A4F1772073B}"/>
          </ac:picMkLst>
        </pc:picChg>
        <pc:picChg chg="add del mod">
          <ac:chgData name="Alfawzan, Lujain" userId="5542ab1a-fb35-4379-8837-59a3729222cc" providerId="ADAL" clId="{3B8D064A-583E-44DC-B3B3-6387FA60473B}" dt="2024-01-02T06:47:39.197" v="3385"/>
          <ac:picMkLst>
            <pc:docMk/>
            <pc:sldMk cId="4038553599" sldId="2147479576"/>
            <ac:picMk id="53" creationId="{71DB3E6B-CF5B-C1F8-ED22-B06DE778BB2B}"/>
          </ac:picMkLst>
        </pc:picChg>
        <pc:picChg chg="add del mod">
          <ac:chgData name="Alfawzan, Lujain" userId="5542ab1a-fb35-4379-8837-59a3729222cc" providerId="ADAL" clId="{3B8D064A-583E-44DC-B3B3-6387FA60473B}" dt="2024-01-02T06:47:39.197" v="3385"/>
          <ac:picMkLst>
            <pc:docMk/>
            <pc:sldMk cId="4038553599" sldId="2147479576"/>
            <ac:picMk id="66" creationId="{5D649F15-9FD6-CD4E-397D-5CF3BF59D419}"/>
          </ac:picMkLst>
        </pc:picChg>
        <pc:picChg chg="add del mod">
          <ac:chgData name="Alfawzan, Lujain" userId="5542ab1a-fb35-4379-8837-59a3729222cc" providerId="ADAL" clId="{3B8D064A-583E-44DC-B3B3-6387FA60473B}" dt="2024-01-02T06:47:39.197" v="3385"/>
          <ac:picMkLst>
            <pc:docMk/>
            <pc:sldMk cId="4038553599" sldId="2147479576"/>
            <ac:picMk id="77" creationId="{E35575F7-F15E-3029-24EB-973C860E10C5}"/>
          </ac:picMkLst>
        </pc:picChg>
        <pc:picChg chg="add del mod">
          <ac:chgData name="Alfawzan, Lujain" userId="5542ab1a-fb35-4379-8837-59a3729222cc" providerId="ADAL" clId="{3B8D064A-583E-44DC-B3B3-6387FA60473B}" dt="2024-01-02T06:47:39.197" v="3385"/>
          <ac:picMkLst>
            <pc:docMk/>
            <pc:sldMk cId="4038553599" sldId="2147479576"/>
            <ac:picMk id="78" creationId="{728B7470-0A50-E194-1C1E-D33839B8B2AF}"/>
          </ac:picMkLst>
        </pc:picChg>
        <pc:picChg chg="add mod">
          <ac:chgData name="Alfawzan, Lujain" userId="5542ab1a-fb35-4379-8837-59a3729222cc" providerId="ADAL" clId="{3B8D064A-583E-44DC-B3B3-6387FA60473B}" dt="2024-01-02T06:47:39.249" v="3386"/>
          <ac:picMkLst>
            <pc:docMk/>
            <pc:sldMk cId="4038553599" sldId="2147479576"/>
            <ac:picMk id="79" creationId="{C8D80E3D-8785-2FDD-6F5B-0E5E07F24480}"/>
          </ac:picMkLst>
        </pc:picChg>
        <pc:picChg chg="add mod">
          <ac:chgData name="Alfawzan, Lujain" userId="5542ab1a-fb35-4379-8837-59a3729222cc" providerId="ADAL" clId="{3B8D064A-583E-44DC-B3B3-6387FA60473B}" dt="2024-01-02T06:47:39.249" v="3386"/>
          <ac:picMkLst>
            <pc:docMk/>
            <pc:sldMk cId="4038553599" sldId="2147479576"/>
            <ac:picMk id="80" creationId="{4DC391BE-A7D7-9C52-6FF1-B03629A363F1}"/>
          </ac:picMkLst>
        </pc:picChg>
        <pc:picChg chg="add mod">
          <ac:chgData name="Alfawzan, Lujain" userId="5542ab1a-fb35-4379-8837-59a3729222cc" providerId="ADAL" clId="{3B8D064A-583E-44DC-B3B3-6387FA60473B}" dt="2024-01-02T06:47:39.249" v="3386"/>
          <ac:picMkLst>
            <pc:docMk/>
            <pc:sldMk cId="4038553599" sldId="2147479576"/>
            <ac:picMk id="112" creationId="{43A383DF-0B39-9285-9CA5-C6C41433EFB2}"/>
          </ac:picMkLst>
        </pc:picChg>
        <pc:picChg chg="add mod">
          <ac:chgData name="Alfawzan, Lujain" userId="5542ab1a-fb35-4379-8837-59a3729222cc" providerId="ADAL" clId="{3B8D064A-583E-44DC-B3B3-6387FA60473B}" dt="2024-01-02T06:47:39.249" v="3386"/>
          <ac:picMkLst>
            <pc:docMk/>
            <pc:sldMk cId="4038553599" sldId="2147479576"/>
            <ac:picMk id="113" creationId="{297DA7C2-6867-B14B-E7A6-2363B7274EC5}"/>
          </ac:picMkLst>
        </pc:picChg>
        <pc:picChg chg="add mod">
          <ac:chgData name="Alfawzan, Lujain" userId="5542ab1a-fb35-4379-8837-59a3729222cc" providerId="ADAL" clId="{3B8D064A-583E-44DC-B3B3-6387FA60473B}" dt="2024-01-02T06:47:39.249" v="3386"/>
          <ac:picMkLst>
            <pc:docMk/>
            <pc:sldMk cId="4038553599" sldId="2147479576"/>
            <ac:picMk id="114" creationId="{53F8C633-AC16-11DA-C208-76D571F224C7}"/>
          </ac:picMkLst>
        </pc:picChg>
        <pc:picChg chg="add mod">
          <ac:chgData name="Alfawzan, Lujain" userId="5542ab1a-fb35-4379-8837-59a3729222cc" providerId="ADAL" clId="{3B8D064A-583E-44DC-B3B3-6387FA60473B}" dt="2024-01-02T06:47:39.249" v="3386"/>
          <ac:picMkLst>
            <pc:docMk/>
            <pc:sldMk cId="4038553599" sldId="2147479576"/>
            <ac:picMk id="115" creationId="{AAF859BB-DE98-07A0-522F-6F28A894D637}"/>
          </ac:picMkLst>
        </pc:picChg>
        <pc:picChg chg="add mod">
          <ac:chgData name="Alfawzan, Lujain" userId="5542ab1a-fb35-4379-8837-59a3729222cc" providerId="ADAL" clId="{3B8D064A-583E-44DC-B3B3-6387FA60473B}" dt="2024-01-02T06:47:39.249" v="3386"/>
          <ac:picMkLst>
            <pc:docMk/>
            <pc:sldMk cId="4038553599" sldId="2147479576"/>
            <ac:picMk id="116" creationId="{B816856E-B3AE-2F15-B003-80A169FA314F}"/>
          </ac:picMkLst>
        </pc:picChg>
        <pc:picChg chg="add mod">
          <ac:chgData name="Alfawzan, Lujain" userId="5542ab1a-fb35-4379-8837-59a3729222cc" providerId="ADAL" clId="{3B8D064A-583E-44DC-B3B3-6387FA60473B}" dt="2024-01-02T06:47:39.249" v="3386"/>
          <ac:picMkLst>
            <pc:docMk/>
            <pc:sldMk cId="4038553599" sldId="2147479576"/>
            <ac:picMk id="129" creationId="{227CEE12-7BC8-2806-E021-440C4E74A0D2}"/>
          </ac:picMkLst>
        </pc:picChg>
        <pc:picChg chg="add mod">
          <ac:chgData name="Alfawzan, Lujain" userId="5542ab1a-fb35-4379-8837-59a3729222cc" providerId="ADAL" clId="{3B8D064A-583E-44DC-B3B3-6387FA60473B}" dt="2024-01-02T06:47:39.249" v="3386"/>
          <ac:picMkLst>
            <pc:docMk/>
            <pc:sldMk cId="4038553599" sldId="2147479576"/>
            <ac:picMk id="138" creationId="{CBA90E56-53AF-E870-F96A-35A81597C65C}"/>
          </ac:picMkLst>
        </pc:picChg>
        <pc:picChg chg="add mod">
          <ac:chgData name="Alfawzan, Lujain" userId="5542ab1a-fb35-4379-8837-59a3729222cc" providerId="ADAL" clId="{3B8D064A-583E-44DC-B3B3-6387FA60473B}" dt="2024-01-02T06:47:39.249" v="3386"/>
          <ac:picMkLst>
            <pc:docMk/>
            <pc:sldMk cId="4038553599" sldId="2147479576"/>
            <ac:picMk id="139" creationId="{26881ABE-AF17-706D-A42A-6E573D0E6555}"/>
          </ac:picMkLst>
        </pc:picChg>
        <pc:cxnChg chg="add del mod">
          <ac:chgData name="Alfawzan, Lujain" userId="5542ab1a-fb35-4379-8837-59a3729222cc" providerId="ADAL" clId="{3B8D064A-583E-44DC-B3B3-6387FA60473B}" dt="2024-01-02T06:47:39.197" v="3385"/>
          <ac:cxnSpMkLst>
            <pc:docMk/>
            <pc:sldMk cId="4038553599" sldId="2147479576"/>
            <ac:cxnSpMk id="14" creationId="{2AAB234F-2888-AAB7-E95B-9E173F17A93C}"/>
          </ac:cxnSpMkLst>
        </pc:cxnChg>
        <pc:cxnChg chg="add del mod">
          <ac:chgData name="Alfawzan, Lujain" userId="5542ab1a-fb35-4379-8837-59a3729222cc" providerId="ADAL" clId="{3B8D064A-583E-44DC-B3B3-6387FA60473B}" dt="2024-01-02T06:47:39.197" v="3385"/>
          <ac:cxnSpMkLst>
            <pc:docMk/>
            <pc:sldMk cId="4038553599" sldId="2147479576"/>
            <ac:cxnSpMk id="22" creationId="{2603270C-BAFC-EC29-DEEE-C88AA9227252}"/>
          </ac:cxnSpMkLst>
        </pc:cxnChg>
        <pc:cxnChg chg="add del mod">
          <ac:chgData name="Alfawzan, Lujain" userId="5542ab1a-fb35-4379-8837-59a3729222cc" providerId="ADAL" clId="{3B8D064A-583E-44DC-B3B3-6387FA60473B}" dt="2024-01-02T06:47:39.197" v="3385"/>
          <ac:cxnSpMkLst>
            <pc:docMk/>
            <pc:sldMk cId="4038553599" sldId="2147479576"/>
            <ac:cxnSpMk id="26" creationId="{C04CE634-43EC-86D6-6F69-D32ACB27C404}"/>
          </ac:cxnSpMkLst>
        </pc:cxnChg>
        <pc:cxnChg chg="add del mod">
          <ac:chgData name="Alfawzan, Lujain" userId="5542ab1a-fb35-4379-8837-59a3729222cc" providerId="ADAL" clId="{3B8D064A-583E-44DC-B3B3-6387FA60473B}" dt="2024-01-02T06:47:39.197" v="3385"/>
          <ac:cxnSpMkLst>
            <pc:docMk/>
            <pc:sldMk cId="4038553599" sldId="2147479576"/>
            <ac:cxnSpMk id="30" creationId="{33195643-AD88-59FF-C682-558A4A4A75DB}"/>
          </ac:cxnSpMkLst>
        </pc:cxnChg>
        <pc:cxnChg chg="add del mod">
          <ac:chgData name="Alfawzan, Lujain" userId="5542ab1a-fb35-4379-8837-59a3729222cc" providerId="ADAL" clId="{3B8D064A-583E-44DC-B3B3-6387FA60473B}" dt="2024-01-02T06:47:39.197" v="3385"/>
          <ac:cxnSpMkLst>
            <pc:docMk/>
            <pc:sldMk cId="4038553599" sldId="2147479576"/>
            <ac:cxnSpMk id="34" creationId="{F30DABF5-716C-5569-D3F4-6FB98F1FD7BD}"/>
          </ac:cxnSpMkLst>
        </pc:cxnChg>
        <pc:cxnChg chg="add del mod">
          <ac:chgData name="Alfawzan, Lujain" userId="5542ab1a-fb35-4379-8837-59a3729222cc" providerId="ADAL" clId="{3B8D064A-583E-44DC-B3B3-6387FA60473B}" dt="2024-01-02T06:47:39.197" v="3385"/>
          <ac:cxnSpMkLst>
            <pc:docMk/>
            <pc:sldMk cId="4038553599" sldId="2147479576"/>
            <ac:cxnSpMk id="38" creationId="{B3F69D8E-7050-8513-6172-E5F95B9B864C}"/>
          </ac:cxnSpMkLst>
        </pc:cxnChg>
        <pc:cxnChg chg="add del mod">
          <ac:chgData name="Alfawzan, Lujain" userId="5542ab1a-fb35-4379-8837-59a3729222cc" providerId="ADAL" clId="{3B8D064A-583E-44DC-B3B3-6387FA60473B}" dt="2024-01-02T06:47:39.197" v="3385"/>
          <ac:cxnSpMkLst>
            <pc:docMk/>
            <pc:sldMk cId="4038553599" sldId="2147479576"/>
            <ac:cxnSpMk id="42" creationId="{B4448F91-0951-3439-3684-4EF2F427E0B9}"/>
          </ac:cxnSpMkLst>
        </pc:cxnChg>
        <pc:cxnChg chg="add del mod">
          <ac:chgData name="Alfawzan, Lujain" userId="5542ab1a-fb35-4379-8837-59a3729222cc" providerId="ADAL" clId="{3B8D064A-583E-44DC-B3B3-6387FA60473B}" dt="2024-01-02T06:47:39.197" v="3385"/>
          <ac:cxnSpMkLst>
            <pc:docMk/>
            <pc:sldMk cId="4038553599" sldId="2147479576"/>
            <ac:cxnSpMk id="56" creationId="{7DB34B60-D3B2-A432-38DC-BDDB4413258F}"/>
          </ac:cxnSpMkLst>
        </pc:cxnChg>
        <pc:cxnChg chg="add del mod">
          <ac:chgData name="Alfawzan, Lujain" userId="5542ab1a-fb35-4379-8837-59a3729222cc" providerId="ADAL" clId="{3B8D064A-583E-44DC-B3B3-6387FA60473B}" dt="2024-01-02T06:47:39.197" v="3385"/>
          <ac:cxnSpMkLst>
            <pc:docMk/>
            <pc:sldMk cId="4038553599" sldId="2147479576"/>
            <ac:cxnSpMk id="60" creationId="{B77C3686-4E73-19E0-993B-210F2DF932E9}"/>
          </ac:cxnSpMkLst>
        </pc:cxnChg>
        <pc:cxnChg chg="add del mod">
          <ac:chgData name="Alfawzan, Lujain" userId="5542ab1a-fb35-4379-8837-59a3729222cc" providerId="ADAL" clId="{3B8D064A-583E-44DC-B3B3-6387FA60473B}" dt="2024-01-02T06:47:39.197" v="3385"/>
          <ac:cxnSpMkLst>
            <pc:docMk/>
            <pc:sldMk cId="4038553599" sldId="2147479576"/>
            <ac:cxnSpMk id="64" creationId="{3A908EE5-3CD9-102B-C4E4-006C090B2B6D}"/>
          </ac:cxnSpMkLst>
        </pc:cxnChg>
        <pc:cxnChg chg="add del mod">
          <ac:chgData name="Alfawzan, Lujain" userId="5542ab1a-fb35-4379-8837-59a3729222cc" providerId="ADAL" clId="{3B8D064A-583E-44DC-B3B3-6387FA60473B}" dt="2024-01-02T06:47:39.197" v="3385"/>
          <ac:cxnSpMkLst>
            <pc:docMk/>
            <pc:sldMk cId="4038553599" sldId="2147479576"/>
            <ac:cxnSpMk id="72" creationId="{4B0E325B-897B-673E-8A30-910CD2D3CA15}"/>
          </ac:cxnSpMkLst>
        </pc:cxnChg>
        <pc:cxnChg chg="add mod">
          <ac:chgData name="Alfawzan, Lujain" userId="5542ab1a-fb35-4379-8837-59a3729222cc" providerId="ADAL" clId="{3B8D064A-583E-44DC-B3B3-6387FA60473B}" dt="2024-01-02T06:47:39.249" v="3386"/>
          <ac:cxnSpMkLst>
            <pc:docMk/>
            <pc:sldMk cId="4038553599" sldId="2147479576"/>
            <ac:cxnSpMk id="81" creationId="{7E3665EF-FD1C-A0C0-A8E9-215B4222D29B}"/>
          </ac:cxnSpMkLst>
        </pc:cxnChg>
        <pc:cxnChg chg="add mod">
          <ac:chgData name="Alfawzan, Lujain" userId="5542ab1a-fb35-4379-8837-59a3729222cc" providerId="ADAL" clId="{3B8D064A-583E-44DC-B3B3-6387FA60473B}" dt="2024-01-02T06:47:39.249" v="3386"/>
          <ac:cxnSpMkLst>
            <pc:docMk/>
            <pc:sldMk cId="4038553599" sldId="2147479576"/>
            <ac:cxnSpMk id="85" creationId="{35BBEDEB-C9B7-4505-EB39-C0C7A41098CA}"/>
          </ac:cxnSpMkLst>
        </pc:cxnChg>
        <pc:cxnChg chg="add mod">
          <ac:chgData name="Alfawzan, Lujain" userId="5542ab1a-fb35-4379-8837-59a3729222cc" providerId="ADAL" clId="{3B8D064A-583E-44DC-B3B3-6387FA60473B}" dt="2024-01-02T06:47:39.249" v="3386"/>
          <ac:cxnSpMkLst>
            <pc:docMk/>
            <pc:sldMk cId="4038553599" sldId="2147479576"/>
            <ac:cxnSpMk id="89" creationId="{F0697953-FABF-0804-58B2-A8848C3EA1DE}"/>
          </ac:cxnSpMkLst>
        </pc:cxnChg>
        <pc:cxnChg chg="add mod">
          <ac:chgData name="Alfawzan, Lujain" userId="5542ab1a-fb35-4379-8837-59a3729222cc" providerId="ADAL" clId="{3B8D064A-583E-44DC-B3B3-6387FA60473B}" dt="2024-01-02T06:47:39.249" v="3386"/>
          <ac:cxnSpMkLst>
            <pc:docMk/>
            <pc:sldMk cId="4038553599" sldId="2147479576"/>
            <ac:cxnSpMk id="93" creationId="{7B6A1D5A-4231-FB83-8448-7203E18EE758}"/>
          </ac:cxnSpMkLst>
        </pc:cxnChg>
        <pc:cxnChg chg="add mod">
          <ac:chgData name="Alfawzan, Lujain" userId="5542ab1a-fb35-4379-8837-59a3729222cc" providerId="ADAL" clId="{3B8D064A-583E-44DC-B3B3-6387FA60473B}" dt="2024-01-02T06:47:39.249" v="3386"/>
          <ac:cxnSpMkLst>
            <pc:docMk/>
            <pc:sldMk cId="4038553599" sldId="2147479576"/>
            <ac:cxnSpMk id="97" creationId="{1B57D56B-C803-BA92-D662-23E2E9E81F4E}"/>
          </ac:cxnSpMkLst>
        </pc:cxnChg>
        <pc:cxnChg chg="add mod">
          <ac:chgData name="Alfawzan, Lujain" userId="5542ab1a-fb35-4379-8837-59a3729222cc" providerId="ADAL" clId="{3B8D064A-583E-44DC-B3B3-6387FA60473B}" dt="2024-01-02T06:47:39.249" v="3386"/>
          <ac:cxnSpMkLst>
            <pc:docMk/>
            <pc:sldMk cId="4038553599" sldId="2147479576"/>
            <ac:cxnSpMk id="101" creationId="{F8964FC7-D9AD-EFB3-1805-68D71E0BEB4E}"/>
          </ac:cxnSpMkLst>
        </pc:cxnChg>
        <pc:cxnChg chg="add mod">
          <ac:chgData name="Alfawzan, Lujain" userId="5542ab1a-fb35-4379-8837-59a3729222cc" providerId="ADAL" clId="{3B8D064A-583E-44DC-B3B3-6387FA60473B}" dt="2024-01-02T06:47:39.249" v="3386"/>
          <ac:cxnSpMkLst>
            <pc:docMk/>
            <pc:sldMk cId="4038553599" sldId="2147479576"/>
            <ac:cxnSpMk id="105" creationId="{E36E8F10-66D4-BB7F-36FC-B4A7199628CC}"/>
          </ac:cxnSpMkLst>
        </pc:cxnChg>
        <pc:cxnChg chg="add mod">
          <ac:chgData name="Alfawzan, Lujain" userId="5542ab1a-fb35-4379-8837-59a3729222cc" providerId="ADAL" clId="{3B8D064A-583E-44DC-B3B3-6387FA60473B}" dt="2024-01-02T06:47:39.249" v="3386"/>
          <ac:cxnSpMkLst>
            <pc:docMk/>
            <pc:sldMk cId="4038553599" sldId="2147479576"/>
            <ac:cxnSpMk id="119" creationId="{4D25283A-33AC-9FDB-E63B-E92423216A2D}"/>
          </ac:cxnSpMkLst>
        </pc:cxnChg>
        <pc:cxnChg chg="add mod">
          <ac:chgData name="Alfawzan, Lujain" userId="5542ab1a-fb35-4379-8837-59a3729222cc" providerId="ADAL" clId="{3B8D064A-583E-44DC-B3B3-6387FA60473B}" dt="2024-01-02T06:47:39.249" v="3386"/>
          <ac:cxnSpMkLst>
            <pc:docMk/>
            <pc:sldMk cId="4038553599" sldId="2147479576"/>
            <ac:cxnSpMk id="123" creationId="{D56AA5B6-5E27-BCBD-D6CB-99C6C66B3EB8}"/>
          </ac:cxnSpMkLst>
        </pc:cxnChg>
        <pc:cxnChg chg="add mod">
          <ac:chgData name="Alfawzan, Lujain" userId="5542ab1a-fb35-4379-8837-59a3729222cc" providerId="ADAL" clId="{3B8D064A-583E-44DC-B3B3-6387FA60473B}" dt="2024-01-02T06:47:39.249" v="3386"/>
          <ac:cxnSpMkLst>
            <pc:docMk/>
            <pc:sldMk cId="4038553599" sldId="2147479576"/>
            <ac:cxnSpMk id="127" creationId="{3C48295E-B01D-37F3-F1E2-2A6C3103EDF0}"/>
          </ac:cxnSpMkLst>
        </pc:cxnChg>
        <pc:cxnChg chg="add mod">
          <ac:chgData name="Alfawzan, Lujain" userId="5542ab1a-fb35-4379-8837-59a3729222cc" providerId="ADAL" clId="{3B8D064A-583E-44DC-B3B3-6387FA60473B}" dt="2024-01-02T06:47:39.249" v="3386"/>
          <ac:cxnSpMkLst>
            <pc:docMk/>
            <pc:sldMk cId="4038553599" sldId="2147479576"/>
            <ac:cxnSpMk id="135" creationId="{D27081F0-C49F-4129-77C5-35C3737A7328}"/>
          </ac:cxnSpMkLst>
        </pc:cxnChg>
      </pc:sldChg>
      <pc:sldMasterChg chg="delSp mod modSldLayout">
        <pc:chgData name="Alfawzan, Lujain" userId="5542ab1a-fb35-4379-8837-59a3729222cc" providerId="ADAL" clId="{3B8D064A-583E-44DC-B3B3-6387FA60473B}" dt="2024-01-02T07:06:44.643" v="3562"/>
        <pc:sldMasterMkLst>
          <pc:docMk/>
          <pc:sldMasterMk cId="3564118489" sldId="2147483689"/>
        </pc:sldMasterMkLst>
        <pc:spChg chg="del">
          <ac:chgData name="Alfawzan, Lujain" userId="5542ab1a-fb35-4379-8837-59a3729222cc" providerId="ADAL" clId="{3B8D064A-583E-44DC-B3B3-6387FA60473B}" dt="2024-01-01T08:02:24.303" v="112" actId="478"/>
          <ac:spMkLst>
            <pc:docMk/>
            <pc:sldMasterMk cId="3564118489" sldId="2147483689"/>
            <ac:spMk id="2" creationId="{C1A09F68-E658-8891-8A38-5B8FEC047799}"/>
          </ac:spMkLst>
        </pc:spChg>
        <pc:sldLayoutChg chg="modSp">
          <pc:chgData name="Alfawzan, Lujain" userId="5542ab1a-fb35-4379-8837-59a3729222cc" providerId="ADAL" clId="{3B8D064A-583E-44DC-B3B3-6387FA60473B}" dt="2024-01-02T07:06:44.643" v="3562"/>
          <pc:sldLayoutMkLst>
            <pc:docMk/>
            <pc:sldMasterMk cId="3564118489" sldId="2147483689"/>
            <pc:sldLayoutMk cId="1113107971" sldId="2147483695"/>
          </pc:sldLayoutMkLst>
          <pc:spChg chg="mod">
            <ac:chgData name="Alfawzan, Lujain" userId="5542ab1a-fb35-4379-8837-59a3729222cc" providerId="ADAL" clId="{3B8D064A-583E-44DC-B3B3-6387FA60473B}" dt="2024-01-02T07:06:44.643" v="3562"/>
            <ac:spMkLst>
              <pc:docMk/>
              <pc:sldMasterMk cId="3564118489" sldId="2147483689"/>
              <pc:sldLayoutMk cId="1113107971" sldId="2147483695"/>
              <ac:spMk id="3" creationId="{57D78D68-6E88-419B-9ADA-2A1EC754B6C6}"/>
            </ac:spMkLst>
          </pc:spChg>
        </pc:sldLayoutChg>
        <pc:sldLayoutChg chg="modSp">
          <pc:chgData name="Alfawzan, Lujain" userId="5542ab1a-fb35-4379-8837-59a3729222cc" providerId="ADAL" clId="{3B8D064A-583E-44DC-B3B3-6387FA60473B}" dt="2024-01-02T07:06:44.643" v="3562"/>
          <pc:sldLayoutMkLst>
            <pc:docMk/>
            <pc:sldMasterMk cId="3564118489" sldId="2147483689"/>
            <pc:sldLayoutMk cId="3231307214" sldId="2147483696"/>
          </pc:sldLayoutMkLst>
          <pc:spChg chg="mod">
            <ac:chgData name="Alfawzan, Lujain" userId="5542ab1a-fb35-4379-8837-59a3729222cc" providerId="ADAL" clId="{3B8D064A-583E-44DC-B3B3-6387FA60473B}" dt="2024-01-02T07:06:44.643" v="3562"/>
            <ac:spMkLst>
              <pc:docMk/>
              <pc:sldMasterMk cId="3564118489" sldId="2147483689"/>
              <pc:sldLayoutMk cId="3231307214" sldId="2147483696"/>
              <ac:spMk id="2" creationId="{9B175C8D-A60F-49C1-D56F-EAE657FF3683}"/>
            </ac:spMkLst>
          </pc:spChg>
        </pc:sldLayoutChg>
        <pc:sldLayoutChg chg="modSp">
          <pc:chgData name="Alfawzan, Lujain" userId="5542ab1a-fb35-4379-8837-59a3729222cc" providerId="ADAL" clId="{3B8D064A-583E-44DC-B3B3-6387FA60473B}" dt="2024-01-02T07:06:44.643" v="3562"/>
          <pc:sldLayoutMkLst>
            <pc:docMk/>
            <pc:sldMasterMk cId="3564118489" sldId="2147483689"/>
            <pc:sldLayoutMk cId="2357810075" sldId="2147483712"/>
          </pc:sldLayoutMkLst>
          <pc:spChg chg="mod">
            <ac:chgData name="Alfawzan, Lujain" userId="5542ab1a-fb35-4379-8837-59a3729222cc" providerId="ADAL" clId="{3B8D064A-583E-44DC-B3B3-6387FA60473B}" dt="2024-01-02T07:06:44.643" v="3562"/>
            <ac:spMkLst>
              <pc:docMk/>
              <pc:sldMasterMk cId="3564118489" sldId="2147483689"/>
              <pc:sldLayoutMk cId="2357810075" sldId="2147483712"/>
              <ac:spMk id="5" creationId="{CD7E6950-3EA0-66DF-EAD5-4E07E789D698}"/>
            </ac:spMkLst>
          </pc:spChg>
        </pc:sldLayoutChg>
      </pc:sldMasterChg>
      <pc:sldMasterChg chg="delSp mod delSldLayout">
        <pc:chgData name="Alfawzan, Lujain" userId="5542ab1a-fb35-4379-8837-59a3729222cc" providerId="ADAL" clId="{3B8D064A-583E-44DC-B3B3-6387FA60473B}" dt="2024-01-02T02:58:23.795" v="2173" actId="47"/>
        <pc:sldMasterMkLst>
          <pc:docMk/>
          <pc:sldMasterMk cId="625659656" sldId="2147483713"/>
        </pc:sldMasterMkLst>
        <pc:spChg chg="del">
          <ac:chgData name="Alfawzan, Lujain" userId="5542ab1a-fb35-4379-8837-59a3729222cc" providerId="ADAL" clId="{3B8D064A-583E-44DC-B3B3-6387FA60473B}" dt="2024-01-01T07:59:45.484" v="81" actId="478"/>
          <ac:spMkLst>
            <pc:docMk/>
            <pc:sldMasterMk cId="625659656" sldId="2147483713"/>
            <ac:spMk id="8" creationId="{00000000-0000-0000-0000-000000000000}"/>
          </ac:spMkLst>
        </pc:spChg>
        <pc:sldLayoutChg chg="del">
          <pc:chgData name="Alfawzan, Lujain" userId="5542ab1a-fb35-4379-8837-59a3729222cc" providerId="ADAL" clId="{3B8D064A-583E-44DC-B3B3-6387FA60473B}" dt="2024-01-02T02:58:23.795" v="2173" actId="47"/>
          <pc:sldLayoutMkLst>
            <pc:docMk/>
            <pc:sldMasterMk cId="625659656" sldId="2147483713"/>
            <pc:sldLayoutMk cId="3322187996" sldId="2147483743"/>
          </pc:sldLayoutMkLst>
        </pc:sldLayoutChg>
      </pc:sldMasterChg>
      <pc:sldMasterChg chg="del delSldLayout">
        <pc:chgData name="Alfawzan, Lujain" userId="5542ab1a-fb35-4379-8837-59a3729222cc" providerId="ADAL" clId="{3B8D064A-583E-44DC-B3B3-6387FA60473B}" dt="2024-01-02T04:37:32.055" v="2451" actId="47"/>
        <pc:sldMasterMkLst>
          <pc:docMk/>
          <pc:sldMasterMk cId="3765308788" sldId="2147483745"/>
        </pc:sldMasterMkLst>
        <pc:sldLayoutChg chg="del">
          <pc:chgData name="Alfawzan, Lujain" userId="5542ab1a-fb35-4379-8837-59a3729222cc" providerId="ADAL" clId="{3B8D064A-583E-44DC-B3B3-6387FA60473B}" dt="2024-01-02T04:37:32.055" v="2451" actId="47"/>
          <pc:sldLayoutMkLst>
            <pc:docMk/>
            <pc:sldMasterMk cId="3765308788" sldId="2147483745"/>
            <pc:sldLayoutMk cId="2533713994" sldId="2147483746"/>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867727215" sldId="2147483747"/>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2843536943" sldId="2147483748"/>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1348798407" sldId="2147483749"/>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2762397301" sldId="2147483750"/>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1185313751" sldId="2147483751"/>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3108680804" sldId="2147483752"/>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2183862066" sldId="2147483753"/>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2271507396" sldId="2147483754"/>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512426187" sldId="2147483755"/>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1279196958" sldId="2147483756"/>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3663390689" sldId="2147483757"/>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1383142329" sldId="2147483758"/>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3466377301" sldId="2147483759"/>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37352509" sldId="2147483760"/>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4143208595" sldId="2147483761"/>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4195631747" sldId="2147483762"/>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3238381385" sldId="2147483763"/>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3427654383" sldId="2147483764"/>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3937050489" sldId="2147483765"/>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3144133720" sldId="2147483766"/>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270817040" sldId="2147483767"/>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1621390152" sldId="2147483768"/>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4200649506" sldId="2147483769"/>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3121903414" sldId="2147483770"/>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3829767460" sldId="2147483771"/>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3836444875" sldId="2147483772"/>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1917303404" sldId="2147483773"/>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3254431423" sldId="2147483774"/>
          </pc:sldLayoutMkLst>
        </pc:sldLayoutChg>
        <pc:sldLayoutChg chg="del">
          <pc:chgData name="Alfawzan, Lujain" userId="5542ab1a-fb35-4379-8837-59a3729222cc" providerId="ADAL" clId="{3B8D064A-583E-44DC-B3B3-6387FA60473B}" dt="2024-01-02T04:37:32.055" v="2451" actId="47"/>
          <pc:sldLayoutMkLst>
            <pc:docMk/>
            <pc:sldMasterMk cId="3765308788" sldId="2147483745"/>
            <pc:sldLayoutMk cId="3796437805" sldId="2147483775"/>
          </pc:sldLayoutMkLst>
        </pc:sldLayoutChg>
      </pc:sldMasterChg>
    </pc:docChg>
  </pc:docChgLst>
  <pc:docChgLst>
    <pc:chgData name="Smulders, Maarten" userId="327bba2c-f68b-4612-9427-dea563970476" providerId="ADAL" clId="{3D3AD079-649E-40F1-B49C-1C229DD5EB78}"/>
    <pc:docChg chg="undo custSel modSld">
      <pc:chgData name="Smulders, Maarten" userId="327bba2c-f68b-4612-9427-dea563970476" providerId="ADAL" clId="{3D3AD079-649E-40F1-B49C-1C229DD5EB78}" dt="2023-12-12T06:03:42.126" v="688"/>
      <pc:docMkLst>
        <pc:docMk/>
      </pc:docMkLst>
      <pc:sldChg chg="modSp mod">
        <pc:chgData name="Smulders, Maarten" userId="327bba2c-f68b-4612-9427-dea563970476" providerId="ADAL" clId="{3D3AD079-649E-40F1-B49C-1C229DD5EB78}" dt="2023-12-11T18:59:18.667" v="434" actId="2"/>
        <pc:sldMkLst>
          <pc:docMk/>
          <pc:sldMk cId="1833341781" sldId="2147469427"/>
        </pc:sldMkLst>
        <pc:spChg chg="mod">
          <ac:chgData name="Smulders, Maarten" userId="327bba2c-f68b-4612-9427-dea563970476" providerId="ADAL" clId="{3D3AD079-649E-40F1-B49C-1C229DD5EB78}" dt="2023-12-11T18:59:18.667" v="434" actId="2"/>
          <ac:spMkLst>
            <pc:docMk/>
            <pc:sldMk cId="1833341781" sldId="2147469427"/>
            <ac:spMk id="6" creationId="{F4C78F83-41B0-4965-B128-DA8A072FFA11}"/>
          </ac:spMkLst>
        </pc:spChg>
      </pc:sldChg>
      <pc:sldChg chg="modSp">
        <pc:chgData name="Smulders, Maarten" userId="327bba2c-f68b-4612-9427-dea563970476" providerId="ADAL" clId="{3D3AD079-649E-40F1-B49C-1C229DD5EB78}" dt="2023-12-11T18:59:21.873" v="435"/>
        <pc:sldMkLst>
          <pc:docMk/>
          <pc:sldMk cId="1950388612" sldId="2147469442"/>
        </pc:sldMkLst>
        <pc:spChg chg="mod">
          <ac:chgData name="Smulders, Maarten" userId="327bba2c-f68b-4612-9427-dea563970476" providerId="ADAL" clId="{3D3AD079-649E-40F1-B49C-1C229DD5EB78}" dt="2023-12-11T18:59:21.873" v="435"/>
          <ac:spMkLst>
            <pc:docMk/>
            <pc:sldMk cId="1950388612" sldId="2147469442"/>
            <ac:spMk id="7" creationId="{F2A7DDB8-0B06-4AC0-B5E4-6683C7EF796E}"/>
          </ac:spMkLst>
        </pc:spChg>
      </pc:sldChg>
      <pc:sldChg chg="addCm delCm modCm">
        <pc:chgData name="Smulders, Maarten" userId="327bba2c-f68b-4612-9427-dea563970476" providerId="ADAL" clId="{3D3AD079-649E-40F1-B49C-1C229DD5EB78}" dt="2023-12-12T06:03:01.907" v="684"/>
        <pc:sldMkLst>
          <pc:docMk/>
          <pc:sldMk cId="1677855615" sldId="2147469515"/>
        </pc:sldMkLst>
      </pc:sldChg>
      <pc:sldChg chg="addCm delCm modCm">
        <pc:chgData name="Smulders, Maarten" userId="327bba2c-f68b-4612-9427-dea563970476" providerId="ADAL" clId="{3D3AD079-649E-40F1-B49C-1C229DD5EB78}" dt="2023-12-11T19:06:20.078" v="445"/>
        <pc:sldMkLst>
          <pc:docMk/>
          <pc:sldMk cId="2120408574" sldId="2147469533"/>
        </pc:sldMkLst>
      </pc:sldChg>
      <pc:sldChg chg="addCm delCm modCm">
        <pc:chgData name="Smulders, Maarten" userId="327bba2c-f68b-4612-9427-dea563970476" providerId="ADAL" clId="{3D3AD079-649E-40F1-B49C-1C229DD5EB78}" dt="2023-12-12T06:02:54.463" v="680"/>
        <pc:sldMkLst>
          <pc:docMk/>
          <pc:sldMk cId="2225119885" sldId="2147469538"/>
        </pc:sldMkLst>
      </pc:sldChg>
      <pc:sldChg chg="modSp mod">
        <pc:chgData name="Smulders, Maarten" userId="327bba2c-f68b-4612-9427-dea563970476" providerId="ADAL" clId="{3D3AD079-649E-40F1-B49C-1C229DD5EB78}" dt="2023-12-11T18:59:14.664" v="433" actId="313"/>
        <pc:sldMkLst>
          <pc:docMk/>
          <pc:sldMk cId="1797203977" sldId="2147469539"/>
        </pc:sldMkLst>
        <pc:graphicFrameChg chg="modGraphic">
          <ac:chgData name="Smulders, Maarten" userId="327bba2c-f68b-4612-9427-dea563970476" providerId="ADAL" clId="{3D3AD079-649E-40F1-B49C-1C229DD5EB78}" dt="2023-12-11T18:59:14.664" v="433" actId="313"/>
          <ac:graphicFrameMkLst>
            <pc:docMk/>
            <pc:sldMk cId="1797203977" sldId="2147469539"/>
            <ac:graphicFrameMk id="5" creationId="{E9AE7BA3-E382-37AF-A4D7-457B619974F4}"/>
          </ac:graphicFrameMkLst>
        </pc:graphicFrameChg>
      </pc:sldChg>
      <pc:sldChg chg="modSp mod">
        <pc:chgData name="Smulders, Maarten" userId="327bba2c-f68b-4612-9427-dea563970476" providerId="ADAL" clId="{3D3AD079-649E-40F1-B49C-1C229DD5EB78}" dt="2023-12-11T18:59:03.021" v="432" actId="2"/>
        <pc:sldMkLst>
          <pc:docMk/>
          <pc:sldMk cId="1396595397" sldId="2147469546"/>
        </pc:sldMkLst>
        <pc:spChg chg="mod">
          <ac:chgData name="Smulders, Maarten" userId="327bba2c-f68b-4612-9427-dea563970476" providerId="ADAL" clId="{3D3AD079-649E-40F1-B49C-1C229DD5EB78}" dt="2023-12-11T18:59:03.021" v="432" actId="2"/>
          <ac:spMkLst>
            <pc:docMk/>
            <pc:sldMk cId="1396595397" sldId="2147469546"/>
            <ac:spMk id="27" creationId="{D7988115-FC48-4F01-BB67-559986103EE3}"/>
          </ac:spMkLst>
        </pc:spChg>
      </pc:sldChg>
      <pc:sldChg chg="modSp mod">
        <pc:chgData name="Smulders, Maarten" userId="327bba2c-f68b-4612-9427-dea563970476" providerId="ADAL" clId="{3D3AD079-649E-40F1-B49C-1C229DD5EB78}" dt="2023-12-11T18:57:57.245" v="431" actId="313"/>
        <pc:sldMkLst>
          <pc:docMk/>
          <pc:sldMk cId="3552140453" sldId="2147469713"/>
        </pc:sldMkLst>
        <pc:spChg chg="mod">
          <ac:chgData name="Smulders, Maarten" userId="327bba2c-f68b-4612-9427-dea563970476" providerId="ADAL" clId="{3D3AD079-649E-40F1-B49C-1C229DD5EB78}" dt="2023-12-11T18:57:57.245" v="431" actId="313"/>
          <ac:spMkLst>
            <pc:docMk/>
            <pc:sldMk cId="3552140453" sldId="2147469713"/>
            <ac:spMk id="4" creationId="{7EAE1552-C38B-3A39-A651-9F0F6E90A05D}"/>
          </ac:spMkLst>
        </pc:spChg>
      </pc:sldChg>
      <pc:sldChg chg="modSp addCm delCm modCm">
        <pc:chgData name="Smulders, Maarten" userId="327bba2c-f68b-4612-9427-dea563970476" providerId="ADAL" clId="{3D3AD079-649E-40F1-B49C-1C229DD5EB78}" dt="2023-12-12T06:03:42.126" v="688"/>
        <pc:sldMkLst>
          <pc:docMk/>
          <pc:sldMk cId="402931147" sldId="2147472039"/>
        </pc:sldMkLst>
        <pc:spChg chg="mod">
          <ac:chgData name="Smulders, Maarten" userId="327bba2c-f68b-4612-9427-dea563970476" providerId="ADAL" clId="{3D3AD079-649E-40F1-B49C-1C229DD5EB78}" dt="2023-12-11T19:26:13.824" v="549" actId="20578"/>
          <ac:spMkLst>
            <pc:docMk/>
            <pc:sldMk cId="402931147" sldId="2147472039"/>
            <ac:spMk id="83" creationId="{959BDE06-EB81-AF33-C504-1508D05B34C0}"/>
          </ac:spMkLst>
        </pc:spChg>
      </pc:sldChg>
      <pc:sldChg chg="addCm delCm modCm">
        <pc:chgData name="Smulders, Maarten" userId="327bba2c-f68b-4612-9427-dea563970476" providerId="ADAL" clId="{3D3AD079-649E-40F1-B49C-1C229DD5EB78}" dt="2023-12-11T19:11:28.958" v="453"/>
        <pc:sldMkLst>
          <pc:docMk/>
          <pc:sldMk cId="3957932871" sldId="2147472109"/>
        </pc:sldMkLst>
      </pc:sldChg>
      <pc:sldChg chg="modSp mod addCm delCm modCm">
        <pc:chgData name="Smulders, Maarten" userId="327bba2c-f68b-4612-9427-dea563970476" providerId="ADAL" clId="{3D3AD079-649E-40F1-B49C-1C229DD5EB78}" dt="2023-12-11T19:05:43.045" v="441"/>
        <pc:sldMkLst>
          <pc:docMk/>
          <pc:sldMk cId="1696513067" sldId="2147472113"/>
        </pc:sldMkLst>
        <pc:graphicFrameChg chg="mod modGraphic">
          <ac:chgData name="Smulders, Maarten" userId="327bba2c-f68b-4612-9427-dea563970476" providerId="ADAL" clId="{3D3AD079-649E-40F1-B49C-1C229DD5EB78}" dt="2023-12-11T18:38:07.418" v="73" actId="20577"/>
          <ac:graphicFrameMkLst>
            <pc:docMk/>
            <pc:sldMk cId="1696513067" sldId="2147472113"/>
            <ac:graphicFrameMk id="5" creationId="{7103F971-4A93-2F70-F6A0-619401FC13D9}"/>
          </ac:graphicFrameMkLst>
        </pc:graphicFrameChg>
      </pc:sldChg>
      <pc:sldChg chg="addCm delCm modCm">
        <pc:chgData name="Smulders, Maarten" userId="327bba2c-f68b-4612-9427-dea563970476" providerId="ADAL" clId="{3D3AD079-649E-40F1-B49C-1C229DD5EB78}" dt="2023-12-11T19:02:18.015" v="439"/>
        <pc:sldMkLst>
          <pc:docMk/>
          <pc:sldMk cId="2880389519" sldId="2147472117"/>
        </pc:sldMkLst>
      </pc:sldChg>
      <pc:sldChg chg="modSp mod addCm delCm modCm">
        <pc:chgData name="Smulders, Maarten" userId="327bba2c-f68b-4612-9427-dea563970476" providerId="ADAL" clId="{3D3AD079-649E-40F1-B49C-1C229DD5EB78}" dt="2023-12-12T05:56:24.867" v="678" actId="20577"/>
        <pc:sldMkLst>
          <pc:docMk/>
          <pc:sldMk cId="1863641052" sldId="2147472121"/>
        </pc:sldMkLst>
        <pc:spChg chg="mod">
          <ac:chgData name="Smulders, Maarten" userId="327bba2c-f68b-4612-9427-dea563970476" providerId="ADAL" clId="{3D3AD079-649E-40F1-B49C-1C229DD5EB78}" dt="2023-12-12T05:56:17.331" v="676" actId="20577"/>
          <ac:spMkLst>
            <pc:docMk/>
            <pc:sldMk cId="1863641052" sldId="2147472121"/>
            <ac:spMk id="2" creationId="{CC93B7E7-8D0A-1A99-7EF2-95F71E057368}"/>
          </ac:spMkLst>
        </pc:spChg>
        <pc:graphicFrameChg chg="mod modGraphic">
          <ac:chgData name="Smulders, Maarten" userId="327bba2c-f68b-4612-9427-dea563970476" providerId="ADAL" clId="{3D3AD079-649E-40F1-B49C-1C229DD5EB78}" dt="2023-12-12T05:56:24.867" v="678" actId="20577"/>
          <ac:graphicFrameMkLst>
            <pc:docMk/>
            <pc:sldMk cId="1863641052" sldId="2147472121"/>
            <ac:graphicFrameMk id="5" creationId="{E9AE7BA3-E382-37AF-A4D7-457B619974F4}"/>
          </ac:graphicFrameMkLst>
        </pc:graphicFrameChg>
      </pc:sldChg>
      <pc:sldChg chg="modSp">
        <pc:chgData name="Smulders, Maarten" userId="327bba2c-f68b-4612-9427-dea563970476" providerId="ADAL" clId="{3D3AD079-649E-40F1-B49C-1C229DD5EB78}" dt="2023-12-11T18:57:37.541" v="430"/>
        <pc:sldMkLst>
          <pc:docMk/>
          <pc:sldMk cId="3332771343" sldId="2147472122"/>
        </pc:sldMkLst>
        <pc:spChg chg="mod">
          <ac:chgData name="Smulders, Maarten" userId="327bba2c-f68b-4612-9427-dea563970476" providerId="ADAL" clId="{3D3AD079-649E-40F1-B49C-1C229DD5EB78}" dt="2023-12-11T18:57:37.541" v="430"/>
          <ac:spMkLst>
            <pc:docMk/>
            <pc:sldMk cId="3332771343" sldId="2147472122"/>
            <ac:spMk id="25" creationId="{2BA8491C-E0CE-45AF-8E3A-8AB95CD61782}"/>
          </ac:spMkLst>
        </pc:spChg>
      </pc:sldChg>
      <pc:sldChg chg="modSp mod">
        <pc:chgData name="Smulders, Maarten" userId="327bba2c-f68b-4612-9427-dea563970476" providerId="ADAL" clId="{3D3AD079-649E-40F1-B49C-1C229DD5EB78}" dt="2023-12-12T05:55:20.975" v="584" actId="20577"/>
        <pc:sldMkLst>
          <pc:docMk/>
          <pc:sldMk cId="3036512581" sldId="2147472156"/>
        </pc:sldMkLst>
        <pc:spChg chg="mod">
          <ac:chgData name="Smulders, Maarten" userId="327bba2c-f68b-4612-9427-dea563970476" providerId="ADAL" clId="{3D3AD079-649E-40F1-B49C-1C229DD5EB78}" dt="2023-12-12T05:55:20.975" v="584" actId="20577"/>
          <ac:spMkLst>
            <pc:docMk/>
            <pc:sldMk cId="3036512581" sldId="2147472156"/>
            <ac:spMk id="4" creationId="{31F259EA-1D67-1D14-71C2-8622C1CA83E8}"/>
          </ac:spMkLst>
        </pc:spChg>
      </pc:sldChg>
      <pc:sldChg chg="addCm delCm modCm">
        <pc:chgData name="Smulders, Maarten" userId="327bba2c-f68b-4612-9427-dea563970476" providerId="ADAL" clId="{3D3AD079-649E-40F1-B49C-1C229DD5EB78}" dt="2023-12-11T19:25:29.698" v="548"/>
        <pc:sldMkLst>
          <pc:docMk/>
          <pc:sldMk cId="4195177294" sldId="2147472168"/>
        </pc:sldMkLst>
      </pc:sldChg>
      <pc:sldChg chg="modSp mod addCm delCm modCm">
        <pc:chgData name="Smulders, Maarten" userId="327bba2c-f68b-4612-9427-dea563970476" providerId="ADAL" clId="{3D3AD079-649E-40F1-B49C-1C229DD5EB78}" dt="2023-12-12T05:53:36.060" v="558"/>
        <pc:sldMkLst>
          <pc:docMk/>
          <pc:sldMk cId="1828999297" sldId="2147472197"/>
        </pc:sldMkLst>
        <pc:spChg chg="mod">
          <ac:chgData name="Smulders, Maarten" userId="327bba2c-f68b-4612-9427-dea563970476" providerId="ADAL" clId="{3D3AD079-649E-40F1-B49C-1C229DD5EB78}" dt="2023-12-11T19:24:29.823" v="544" actId="20577"/>
          <ac:spMkLst>
            <pc:docMk/>
            <pc:sldMk cId="1828999297" sldId="2147472197"/>
            <ac:spMk id="12" creationId="{42A96840-F8AA-87A4-B9EB-2ABA7D1655F9}"/>
          </ac:spMkLst>
        </pc:spChg>
      </pc:sldChg>
      <pc:sldChg chg="modSp mod">
        <pc:chgData name="Smulders, Maarten" userId="327bba2c-f68b-4612-9427-dea563970476" providerId="ADAL" clId="{3D3AD079-649E-40F1-B49C-1C229DD5EB78}" dt="2023-12-11T19:24:50.627" v="546" actId="20577"/>
        <pc:sldMkLst>
          <pc:docMk/>
          <pc:sldMk cId="3234539576" sldId="2147472199"/>
        </pc:sldMkLst>
        <pc:spChg chg="mod">
          <ac:chgData name="Smulders, Maarten" userId="327bba2c-f68b-4612-9427-dea563970476" providerId="ADAL" clId="{3D3AD079-649E-40F1-B49C-1C229DD5EB78}" dt="2023-12-11T19:24:50.627" v="546" actId="20577"/>
          <ac:spMkLst>
            <pc:docMk/>
            <pc:sldMk cId="3234539576" sldId="2147472199"/>
            <ac:spMk id="5" creationId="{C3312F2F-4FB6-B12D-8FAA-40326E0088D8}"/>
          </ac:spMkLst>
        </pc:spChg>
      </pc:sldChg>
      <pc:sldChg chg="addCm delCm modCm">
        <pc:chgData name="Smulders, Maarten" userId="327bba2c-f68b-4612-9427-dea563970476" providerId="ADAL" clId="{3D3AD079-649E-40F1-B49C-1C229DD5EB78}" dt="2023-12-11T19:08:25.848" v="447"/>
        <pc:sldMkLst>
          <pc:docMk/>
          <pc:sldMk cId="4029893540" sldId="2147479537"/>
        </pc:sldMkLst>
      </pc:sldChg>
      <pc:sldChg chg="modSp mod">
        <pc:chgData name="Smulders, Maarten" userId="327bba2c-f68b-4612-9427-dea563970476" providerId="ADAL" clId="{3D3AD079-649E-40F1-B49C-1C229DD5EB78}" dt="2023-12-11T18:44:47.843" v="385" actId="20577"/>
        <pc:sldMkLst>
          <pc:docMk/>
          <pc:sldMk cId="3632895860" sldId="2147479539"/>
        </pc:sldMkLst>
        <pc:spChg chg="mod">
          <ac:chgData name="Smulders, Maarten" userId="327bba2c-f68b-4612-9427-dea563970476" providerId="ADAL" clId="{3D3AD079-649E-40F1-B49C-1C229DD5EB78}" dt="2023-12-11T18:44:47.843" v="385" actId="20577"/>
          <ac:spMkLst>
            <pc:docMk/>
            <pc:sldMk cId="3632895860" sldId="2147479539"/>
            <ac:spMk id="48" creationId="{BB9961BD-55CB-CB73-3CF7-AE60DF435CC3}"/>
          </ac:spMkLst>
        </pc:spChg>
      </pc:sldChg>
      <pc:sldChg chg="modSp mod modCm">
        <pc:chgData name="Smulders, Maarten" userId="327bba2c-f68b-4612-9427-dea563970476" providerId="ADAL" clId="{3D3AD079-649E-40F1-B49C-1C229DD5EB78}" dt="2023-12-11T18:39:13.168" v="103" actId="20577"/>
        <pc:sldMkLst>
          <pc:docMk/>
          <pc:sldMk cId="132118669" sldId="2147479540"/>
        </pc:sldMkLst>
        <pc:spChg chg="mod">
          <ac:chgData name="Smulders, Maarten" userId="327bba2c-f68b-4612-9427-dea563970476" providerId="ADAL" clId="{3D3AD079-649E-40F1-B49C-1C229DD5EB78}" dt="2023-12-11T18:39:13.168" v="103" actId="20577"/>
          <ac:spMkLst>
            <pc:docMk/>
            <pc:sldMk cId="132118669" sldId="2147479540"/>
            <ac:spMk id="46" creationId="{8147483C-7E7D-37DB-4F5C-E32DD0A3A046}"/>
          </ac:spMkLst>
        </pc:spChg>
        <pc:spChg chg="mod">
          <ac:chgData name="Smulders, Maarten" userId="327bba2c-f68b-4612-9427-dea563970476" providerId="ADAL" clId="{3D3AD079-649E-40F1-B49C-1C229DD5EB78}" dt="2023-12-11T18:39:08.436" v="98" actId="20577"/>
          <ac:spMkLst>
            <pc:docMk/>
            <pc:sldMk cId="132118669" sldId="2147479540"/>
            <ac:spMk id="52" creationId="{C088C7B3-D4CE-9599-3F93-296EF0D82E64}"/>
          </ac:spMkLst>
        </pc:spChg>
      </pc:sldChg>
      <pc:sldChg chg="modSp mod addCm delCm modCm">
        <pc:chgData name="Smulders, Maarten" userId="327bba2c-f68b-4612-9427-dea563970476" providerId="ADAL" clId="{3D3AD079-649E-40F1-B49C-1C229DD5EB78}" dt="2023-12-11T19:06:04.878" v="443"/>
        <pc:sldMkLst>
          <pc:docMk/>
          <pc:sldMk cId="1218059526" sldId="2147479547"/>
        </pc:sldMkLst>
        <pc:spChg chg="mod">
          <ac:chgData name="Smulders, Maarten" userId="327bba2c-f68b-4612-9427-dea563970476" providerId="ADAL" clId="{3D3AD079-649E-40F1-B49C-1C229DD5EB78}" dt="2023-12-11T18:43:14.328" v="373" actId="5793"/>
          <ac:spMkLst>
            <pc:docMk/>
            <pc:sldMk cId="1218059526" sldId="2147479547"/>
            <ac:spMk id="79" creationId="{30F3C000-B50F-6612-651A-D1E1D222E53F}"/>
          </ac:spMkLst>
        </pc:spChg>
      </pc:sldChg>
      <pc:sldChg chg="modSp mod">
        <pc:chgData name="Smulders, Maarten" userId="327bba2c-f68b-4612-9427-dea563970476" providerId="ADAL" clId="{3D3AD079-649E-40F1-B49C-1C229DD5EB78}" dt="2023-12-11T18:45:58.801" v="420" actId="20577"/>
        <pc:sldMkLst>
          <pc:docMk/>
          <pc:sldMk cId="963063207" sldId="2147479551"/>
        </pc:sldMkLst>
        <pc:spChg chg="mod">
          <ac:chgData name="Smulders, Maarten" userId="327bba2c-f68b-4612-9427-dea563970476" providerId="ADAL" clId="{3D3AD079-649E-40F1-B49C-1C229DD5EB78}" dt="2023-12-11T18:45:58.801" v="420" actId="20577"/>
          <ac:spMkLst>
            <pc:docMk/>
            <pc:sldMk cId="963063207" sldId="2147479551"/>
            <ac:spMk id="10" creationId="{9C1BEBBF-F219-734B-948E-24A064F6C53E}"/>
          </ac:spMkLst>
        </pc:spChg>
      </pc:sldChg>
      <pc:sldChg chg="addCm delCm modCm">
        <pc:chgData name="Smulders, Maarten" userId="327bba2c-f68b-4612-9427-dea563970476" providerId="ADAL" clId="{3D3AD079-649E-40F1-B49C-1C229DD5EB78}" dt="2023-12-11T19:11:11.380" v="451"/>
        <pc:sldMkLst>
          <pc:docMk/>
          <pc:sldMk cId="1192362056" sldId="2147479558"/>
        </pc:sldMkLst>
      </pc:sldChg>
      <pc:sldChg chg="modSp mod">
        <pc:chgData name="Smulders, Maarten" userId="327bba2c-f68b-4612-9427-dea563970476" providerId="ADAL" clId="{3D3AD079-649E-40F1-B49C-1C229DD5EB78}" dt="2023-12-12T05:55:23.970" v="585" actId="20577"/>
        <pc:sldMkLst>
          <pc:docMk/>
          <pc:sldMk cId="4280744372" sldId="2147479562"/>
        </pc:sldMkLst>
        <pc:spChg chg="mod">
          <ac:chgData name="Smulders, Maarten" userId="327bba2c-f68b-4612-9427-dea563970476" providerId="ADAL" clId="{3D3AD079-649E-40F1-B49C-1C229DD5EB78}" dt="2023-12-12T05:55:23.970" v="585" actId="20577"/>
          <ac:spMkLst>
            <pc:docMk/>
            <pc:sldMk cId="4280744372" sldId="2147479562"/>
            <ac:spMk id="2" creationId="{CC93B7E7-8D0A-1A99-7EF2-95F71E057368}"/>
          </ac:spMkLst>
        </pc:spChg>
      </pc:sldChg>
      <pc:sldChg chg="modSp mod addCm delCm modCm">
        <pc:chgData name="Smulders, Maarten" userId="327bba2c-f68b-4612-9427-dea563970476" providerId="ADAL" clId="{3D3AD079-649E-40F1-B49C-1C229DD5EB78}" dt="2023-12-12T06:03:26.386" v="686"/>
        <pc:sldMkLst>
          <pc:docMk/>
          <pc:sldMk cId="3663195277" sldId="2147479564"/>
        </pc:sldMkLst>
        <pc:spChg chg="mod">
          <ac:chgData name="Smulders, Maarten" userId="327bba2c-f68b-4612-9427-dea563970476" providerId="ADAL" clId="{3D3AD079-649E-40F1-B49C-1C229DD5EB78}" dt="2023-12-12T05:52:57.771" v="555" actId="13926"/>
          <ac:spMkLst>
            <pc:docMk/>
            <pc:sldMk cId="3663195277" sldId="2147479564"/>
            <ac:spMk id="8" creationId="{1820D49A-44A7-3E39-AF6E-ACB5A10BDEF9}"/>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7EC9E23-9B19-49A9-9558-530161FB5A0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D2900C7-0649-4867-A0CF-E99086D5441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246484B-04AE-437F-8552-A854FEACDAF8}" type="datetimeFigureOut">
              <a:rPr lang="en-US" smtClean="0"/>
              <a:t>1/19/2024</a:t>
            </a:fld>
            <a:endParaRPr lang="en-US"/>
          </a:p>
        </p:txBody>
      </p:sp>
      <p:sp>
        <p:nvSpPr>
          <p:cNvPr id="4" name="Footer Placeholder 3">
            <a:extLst>
              <a:ext uri="{FF2B5EF4-FFF2-40B4-BE49-F238E27FC236}">
                <a16:creationId xmlns:a16="http://schemas.microsoft.com/office/drawing/2014/main" id="{520D0DE5-5456-45A0-89E2-A12F6E7C46D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AB80F00-1C41-4A14-B653-F6AA0E70DD3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FE7029B-0926-40AB-8DF0-4CB8D156F1F8}" type="slidenum">
              <a:rPr lang="en-US" smtClean="0"/>
              <a:t>‹#›</a:t>
            </a:fld>
            <a:endParaRPr lang="en-US"/>
          </a:p>
        </p:txBody>
      </p:sp>
    </p:spTree>
    <p:extLst>
      <p:ext uri="{BB962C8B-B14F-4D97-AF65-F5344CB8AC3E}">
        <p14:creationId xmlns:p14="http://schemas.microsoft.com/office/powerpoint/2010/main" val="38376422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97" name="Shape 397"/>
          <p:cNvSpPr>
            <a:spLocks noGrp="1" noRot="1" noChangeAspect="1"/>
          </p:cNvSpPr>
          <p:nvPr>
            <p:ph type="sldImg"/>
          </p:nvPr>
        </p:nvSpPr>
        <p:spPr>
          <a:xfrm>
            <a:off x="1143000" y="685800"/>
            <a:ext cx="4572000" cy="3429000"/>
          </a:xfrm>
          <a:prstGeom prst="rect">
            <a:avLst/>
          </a:prstGeom>
        </p:spPr>
        <p:txBody>
          <a:bodyPr/>
          <a:lstStyle/>
          <a:p>
            <a:endParaRPr/>
          </a:p>
        </p:txBody>
      </p:sp>
      <p:sp>
        <p:nvSpPr>
          <p:cNvPr id="398" name="Shape 398"/>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defRPr sz="1200">
        <a:latin typeface="+mn-lt"/>
        <a:ea typeface="+mn-ea"/>
        <a:cs typeface="+mn-cs"/>
        <a:sym typeface="Calibri"/>
      </a:defRPr>
    </a:lvl1pPr>
    <a:lvl2pPr indent="228600" latinLnBrk="0">
      <a:defRPr sz="1200">
        <a:latin typeface="+mn-lt"/>
        <a:ea typeface="+mn-ea"/>
        <a:cs typeface="+mn-cs"/>
        <a:sym typeface="Calibri"/>
      </a:defRPr>
    </a:lvl2pPr>
    <a:lvl3pPr indent="457200" latinLnBrk="0">
      <a:defRPr sz="1200">
        <a:latin typeface="+mn-lt"/>
        <a:ea typeface="+mn-ea"/>
        <a:cs typeface="+mn-cs"/>
        <a:sym typeface="Calibri"/>
      </a:defRPr>
    </a:lvl3pPr>
    <a:lvl4pPr indent="685800" latinLnBrk="0">
      <a:defRPr sz="1200">
        <a:latin typeface="+mn-lt"/>
        <a:ea typeface="+mn-ea"/>
        <a:cs typeface="+mn-cs"/>
        <a:sym typeface="Calibri"/>
      </a:defRPr>
    </a:lvl4pPr>
    <a:lvl5pPr indent="914400" latinLnBrk="0">
      <a:defRPr sz="1200">
        <a:latin typeface="+mn-lt"/>
        <a:ea typeface="+mn-ea"/>
        <a:cs typeface="+mn-cs"/>
        <a:sym typeface="Calibri"/>
      </a:defRPr>
    </a:lvl5pPr>
    <a:lvl6pPr indent="1143000" latinLnBrk="0">
      <a:defRPr sz="1200">
        <a:latin typeface="+mn-lt"/>
        <a:ea typeface="+mn-ea"/>
        <a:cs typeface="+mn-cs"/>
        <a:sym typeface="Calibri"/>
      </a:defRPr>
    </a:lvl6pPr>
    <a:lvl7pPr indent="1371600" latinLnBrk="0">
      <a:defRPr sz="1200">
        <a:latin typeface="+mn-lt"/>
        <a:ea typeface="+mn-ea"/>
        <a:cs typeface="+mn-cs"/>
        <a:sym typeface="Calibri"/>
      </a:defRPr>
    </a:lvl7pPr>
    <a:lvl8pPr indent="1600200" latinLnBrk="0">
      <a:defRPr sz="1200">
        <a:latin typeface="+mn-lt"/>
        <a:ea typeface="+mn-ea"/>
        <a:cs typeface="+mn-cs"/>
        <a:sym typeface="Calibri"/>
      </a:defRPr>
    </a:lvl8pPr>
    <a:lvl9pPr indent="1828800" latinLnBrk="0">
      <a:defRPr sz="1200">
        <a:latin typeface="+mn-lt"/>
        <a:ea typeface="+mn-ea"/>
        <a:cs typeface="+mn-cs"/>
        <a:sym typeface="Calibri"/>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F48A05-08EB-42B5-9A4C-D3B9C400E7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38012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703154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5680910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98565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070672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628541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890692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067735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239555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9320367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9586037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7841225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hyperlink" Target="http://www.deloitte.com/" TargetMode="External"/><Relationship Id="rId4" Type="http://schemas.openxmlformats.org/officeDocument/2006/relationships/hyperlink" Target="http://www.deloitte.com/about" TargetMode="Externa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x">
  <p:cSld name="1_Divider - Deloitte green">
    <p:spTree>
      <p:nvGrpSpPr>
        <p:cNvPr id="1" name=""/>
        <p:cNvGrpSpPr/>
        <p:nvPr/>
      </p:nvGrpSpPr>
      <p:grpSpPr>
        <a:xfrm>
          <a:off x="0" y="0"/>
          <a:ext cx="0" cy="0"/>
          <a:chOff x="0" y="0"/>
          <a:chExt cx="0" cy="0"/>
        </a:xfrm>
      </p:grpSpPr>
      <p:pic>
        <p:nvPicPr>
          <p:cNvPr id="186" name="Deloitte_Cyber_Pulse_Angle-02_RGB.jpg" descr="Deloitte_Cyber_Pulse_Angle-02_RGB.jpg"/>
          <p:cNvPicPr>
            <a:picLocks noChangeAspect="1"/>
          </p:cNvPicPr>
          <p:nvPr/>
        </p:nvPicPr>
        <p:blipFill>
          <a:blip r:embed="rId2"/>
          <a:stretch>
            <a:fillRect/>
          </a:stretch>
        </p:blipFill>
        <p:spPr>
          <a:xfrm rot="10800000">
            <a:off x="0" y="-1"/>
            <a:ext cx="12192000" cy="6858001"/>
          </a:xfrm>
          <a:prstGeom prst="rect">
            <a:avLst/>
          </a:prstGeom>
          <a:ln w="12700">
            <a:miter lim="400000"/>
          </a:ln>
        </p:spPr>
      </p:pic>
      <p:sp>
        <p:nvSpPr>
          <p:cNvPr id="187" name="Title Text"/>
          <p:cNvSpPr txBox="1">
            <a:spLocks noGrp="1"/>
          </p:cNvSpPr>
          <p:nvPr>
            <p:ph type="title"/>
          </p:nvPr>
        </p:nvSpPr>
        <p:spPr>
          <a:xfrm>
            <a:off x="478517" y="-58044"/>
            <a:ext cx="10418234" cy="1592403"/>
          </a:xfrm>
          <a:prstGeom prst="rect">
            <a:avLst/>
          </a:prstGeom>
        </p:spPr>
        <p:txBody>
          <a:bodyPr anchor="b"/>
          <a:lstStyle>
            <a:lvl1pPr>
              <a:lnSpc>
                <a:spcPct val="95000"/>
              </a:lnSpc>
              <a:defRPr sz="3600">
                <a:solidFill>
                  <a:srgbClr val="FFFFFF"/>
                </a:solidFill>
              </a:defRPr>
            </a:lvl1pPr>
          </a:lstStyle>
          <a:p>
            <a:r>
              <a:t>Title Text</a:t>
            </a:r>
          </a:p>
        </p:txBody>
      </p:sp>
      <p:sp>
        <p:nvSpPr>
          <p:cNvPr id="188" name="Body Level One…"/>
          <p:cNvSpPr txBox="1">
            <a:spLocks noGrp="1"/>
          </p:cNvSpPr>
          <p:nvPr>
            <p:ph type="body" sz="quarter" idx="1" hasCustomPrompt="1"/>
          </p:nvPr>
        </p:nvSpPr>
        <p:spPr>
          <a:xfrm>
            <a:off x="478517" y="1665288"/>
            <a:ext cx="10418234" cy="1566533"/>
          </a:xfrm>
          <a:prstGeom prst="rect">
            <a:avLst/>
          </a:prstGeom>
        </p:spPr>
        <p:txBody>
          <a:bodyPr>
            <a:normAutofit/>
          </a:bodyPr>
          <a:lstStyle>
            <a:lvl1pPr>
              <a:lnSpc>
                <a:spcPct val="95000"/>
              </a:lnSpc>
              <a:spcBef>
                <a:spcPts val="0"/>
              </a:spcBef>
              <a:defRPr sz="3000">
                <a:solidFill>
                  <a:srgbClr val="FFFFFF"/>
                </a:solidFill>
                <a:latin typeface="Open Sans Light"/>
                <a:ea typeface="Open Sans Light"/>
                <a:cs typeface="Open Sans Light"/>
                <a:sym typeface="Open Sans Light"/>
              </a:defRPr>
            </a:lvl1pPr>
            <a:lvl2pPr marL="0" indent="609584">
              <a:lnSpc>
                <a:spcPct val="95000"/>
              </a:lnSpc>
              <a:spcBef>
                <a:spcPts val="0"/>
              </a:spcBef>
              <a:buSzTx/>
              <a:buNone/>
              <a:defRPr sz="3000">
                <a:solidFill>
                  <a:srgbClr val="FFFFFF"/>
                </a:solidFill>
                <a:latin typeface="Open Sans Light"/>
                <a:ea typeface="Open Sans Light"/>
                <a:cs typeface="Open Sans Light"/>
                <a:sym typeface="Open Sans Light"/>
              </a:defRPr>
            </a:lvl2pPr>
            <a:lvl3pPr marL="0" indent="1219169">
              <a:lnSpc>
                <a:spcPct val="95000"/>
              </a:lnSpc>
              <a:spcBef>
                <a:spcPts val="0"/>
              </a:spcBef>
              <a:buSzTx/>
              <a:buNone/>
              <a:defRPr sz="3000">
                <a:solidFill>
                  <a:srgbClr val="FFFFFF"/>
                </a:solidFill>
                <a:latin typeface="Open Sans Light"/>
                <a:ea typeface="Open Sans Light"/>
                <a:cs typeface="Open Sans Light"/>
                <a:sym typeface="Open Sans Light"/>
              </a:defRPr>
            </a:lvl3pPr>
            <a:lvl4pPr marL="0" indent="1828754">
              <a:lnSpc>
                <a:spcPct val="95000"/>
              </a:lnSpc>
              <a:spcBef>
                <a:spcPts val="0"/>
              </a:spcBef>
              <a:buSzTx/>
              <a:buNone/>
              <a:defRPr sz="3000">
                <a:solidFill>
                  <a:srgbClr val="FFFFFF"/>
                </a:solidFill>
                <a:latin typeface="Open Sans Light"/>
                <a:ea typeface="Open Sans Light"/>
                <a:cs typeface="Open Sans Light"/>
                <a:sym typeface="Open Sans Light"/>
              </a:defRPr>
            </a:lvl4pPr>
            <a:lvl5pPr marL="0" indent="2438338">
              <a:lnSpc>
                <a:spcPct val="95000"/>
              </a:lnSpc>
              <a:spcBef>
                <a:spcPts val="0"/>
              </a:spcBef>
              <a:buSzTx/>
              <a:buNone/>
              <a:defRPr sz="3000">
                <a:solidFill>
                  <a:srgbClr val="FFFFFF"/>
                </a:solidFill>
                <a:latin typeface="Open Sans Light"/>
                <a:ea typeface="Open Sans Light"/>
                <a:cs typeface="Open Sans Light"/>
                <a:sym typeface="Open Sans Light"/>
              </a:defRPr>
            </a:lvl5pPr>
          </a:lstStyle>
          <a:p>
            <a:r>
              <a:t>Edit Master text styles</a:t>
            </a:r>
          </a:p>
          <a:p>
            <a:pPr lvl="1"/>
            <a:endParaRPr/>
          </a:p>
          <a:p>
            <a:pPr lvl="2"/>
            <a:endParaRPr/>
          </a:p>
          <a:p>
            <a:pPr lvl="3"/>
            <a:endParaRPr/>
          </a:p>
          <a:p>
            <a:pPr lvl="4"/>
            <a:endParaRPr/>
          </a:p>
        </p:txBody>
      </p:sp>
    </p:spTree>
    <p:extLst>
      <p:ext uri="{BB962C8B-B14F-4D97-AF65-F5344CB8AC3E}">
        <p14:creationId xmlns:p14="http://schemas.microsoft.com/office/powerpoint/2010/main" val="4252004273"/>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latin typeface="Calibri" panose="020F0502020204030204" pitchFamily="34" charset="0"/>
                <a:cs typeface="Calibri" panose="020F050202020403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37329470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 with image and subtitl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665288"/>
            <a:ext cx="4478337" cy="4622506"/>
          </a:xfrm>
        </p:spPr>
        <p:txBody>
          <a:bodyPr/>
          <a:lstStyle/>
          <a:p>
            <a:r>
              <a:rPr lang="en-US" noProof="0"/>
              <a:t>Click icon to add picture</a:t>
            </a:r>
          </a:p>
        </p:txBody>
      </p:sp>
      <p:sp>
        <p:nvSpPr>
          <p:cNvPr id="7" name="Content Placeholder 3">
            <a:extLst>
              <a:ext uri="{FF2B5EF4-FFF2-40B4-BE49-F238E27FC236}">
                <a16:creationId xmlns:a16="http://schemas.microsoft.com/office/drawing/2014/main" id="{58D969C3-195F-423F-8E4C-37C200B27846}"/>
              </a:ext>
            </a:extLst>
          </p:cNvPr>
          <p:cNvSpPr>
            <a:spLocks noGrp="1"/>
          </p:cNvSpPr>
          <p:nvPr>
            <p:ph sz="quarter" idx="10"/>
          </p:nvPr>
        </p:nvSpPr>
        <p:spPr>
          <a:xfrm>
            <a:off x="502920" y="1665288"/>
            <a:ext cx="4492938" cy="4622507"/>
          </a:xfrm>
          <a:prstGeom prst="rect">
            <a:avLst/>
          </a:prstGeom>
        </p:spPr>
        <p:txBody>
          <a:bodyPr/>
          <a:lstStyle>
            <a:lvl1pPr>
              <a:spcBef>
                <a:spcPts val="600"/>
              </a:spcBef>
              <a:spcAft>
                <a:spcPts val="600"/>
              </a:spcAft>
              <a:tabLst>
                <a:tab pos="6705432" algn="r"/>
              </a:tabLst>
              <a:defRPr>
                <a:latin typeface="Calibri Light" panose="020F0302020204030204" pitchFamily="34" charset="0"/>
                <a:cs typeface="Calibri Light" panose="020F0302020204030204" pitchFamily="34" charset="0"/>
              </a:defRPr>
            </a:lvl1pPr>
            <a:lvl2pPr>
              <a:spcBef>
                <a:spcPts val="600"/>
              </a:spcBef>
              <a:spcAft>
                <a:spcPts val="600"/>
              </a:spcAft>
              <a:tabLst>
                <a:tab pos="6705432" algn="r"/>
              </a:tabLst>
              <a:defRPr>
                <a:latin typeface="Calibri" panose="020F0502020204030204" pitchFamily="34" charset="0"/>
                <a:cs typeface="Calibri" panose="020F0502020204030204" pitchFamily="34" charset="0"/>
              </a:defRPr>
            </a:lvl2pPr>
            <a:lvl3pPr marL="180000" indent="-180000">
              <a:spcBef>
                <a:spcPts val="600"/>
              </a:spcBef>
              <a:spcAft>
                <a:spcPts val="600"/>
              </a:spcAft>
              <a:tabLst>
                <a:tab pos="6705432" algn="r"/>
              </a:tabLst>
              <a:defRPr>
                <a:latin typeface="Calibri Light" panose="020F0302020204030204" pitchFamily="34" charset="0"/>
                <a:cs typeface="Calibri Light" panose="020F0302020204030204" pitchFamily="34" charset="0"/>
              </a:defRPr>
            </a:lvl3pPr>
            <a:lvl4pPr marL="360000" indent="-180000">
              <a:spcBef>
                <a:spcPts val="600"/>
              </a:spcBef>
              <a:spcAft>
                <a:spcPts val="600"/>
              </a:spcAft>
              <a:tabLst>
                <a:tab pos="6705432" algn="r"/>
              </a:tabLst>
              <a:defRPr>
                <a:latin typeface="Calibri Light" panose="020F0302020204030204" pitchFamily="34" charset="0"/>
                <a:cs typeface="Calibri Light" panose="020F0302020204030204" pitchFamily="34" charset="0"/>
              </a:defRPr>
            </a:lvl4pPr>
            <a:lvl5pPr marL="540000" indent="-180000">
              <a:spcBef>
                <a:spcPts val="600"/>
              </a:spcBef>
              <a:spcAft>
                <a:spcPts val="600"/>
              </a:spcAft>
              <a:buFont typeface="Arial" panose="020B0604020202020204" pitchFamily="34" charset="0"/>
              <a:buChar char="•"/>
              <a:tabLst>
                <a:tab pos="6705432" algn="r"/>
              </a:tabLst>
              <a:defRPr baseline="0">
                <a:latin typeface="Calibri Light" panose="020F0302020204030204" pitchFamily="34" charset="0"/>
                <a:cs typeface="Calibri Light" panose="020F03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A2BE3D10-8852-470B-A0F7-BD2D67BD6CB5}"/>
              </a:ext>
            </a:extLst>
          </p:cNvPr>
          <p:cNvSpPr>
            <a:spLocks noGrp="1"/>
          </p:cNvSpPr>
          <p:nvPr>
            <p:ph type="body" sz="quarter" idx="13" hasCustomPrompt="1"/>
          </p:nvPr>
        </p:nvSpPr>
        <p:spPr>
          <a:xfrm>
            <a:off x="502920" y="649224"/>
            <a:ext cx="916305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a:extLst>
              <a:ext uri="{FF2B5EF4-FFF2-40B4-BE49-F238E27FC236}">
                <a16:creationId xmlns:a16="http://schemas.microsoft.com/office/drawing/2014/main" id="{8137D4B0-63D3-49CA-99A0-9D1152127A5D}"/>
              </a:ext>
            </a:extLst>
          </p:cNvPr>
          <p:cNvSpPr>
            <a:spLocks noGrp="1"/>
          </p:cNvSpPr>
          <p:nvPr>
            <p:ph type="title"/>
          </p:nvPr>
        </p:nvSpPr>
        <p:spPr>
          <a:xfrm>
            <a:off x="502920" y="329184"/>
            <a:ext cx="916305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12788562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p>
        </p:txBody>
      </p:sp>
      <p:sp>
        <p:nvSpPr>
          <p:cNvPr id="6" name="Text Placeholder 8">
            <a:extLst>
              <a:ext uri="{FF2B5EF4-FFF2-40B4-BE49-F238E27FC236}">
                <a16:creationId xmlns:a16="http://schemas.microsoft.com/office/drawing/2014/main" id="{B5C7D5EA-1E5E-4A8B-8031-E671BF184016}"/>
              </a:ext>
            </a:extLst>
          </p:cNvPr>
          <p:cNvSpPr>
            <a:spLocks noGrp="1"/>
          </p:cNvSpPr>
          <p:nvPr>
            <p:ph type="body" sz="quarter" idx="13" hasCustomPrompt="1"/>
          </p:nvPr>
        </p:nvSpPr>
        <p:spPr>
          <a:xfrm>
            <a:off x="498476" y="978408"/>
            <a:ext cx="2485950" cy="1979413"/>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44F4BE6A-E314-4CCF-953A-910AA4132877}"/>
              </a:ext>
            </a:extLst>
          </p:cNvPr>
          <p:cNvSpPr>
            <a:spLocks noGrp="1"/>
          </p:cNvSpPr>
          <p:nvPr>
            <p:ph type="title"/>
          </p:nvPr>
        </p:nvSpPr>
        <p:spPr>
          <a:xfrm>
            <a:off x="502920" y="320040"/>
            <a:ext cx="2485950" cy="658368"/>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803265174"/>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divider slide - Black">
    <p:bg>
      <p:bgPr>
        <a:solidFill>
          <a:srgbClr val="000000"/>
        </a:solidFill>
        <a:effectLst/>
      </p:bgPr>
    </p:bg>
    <p:spTree>
      <p:nvGrpSpPr>
        <p:cNvPr id="1" name=""/>
        <p:cNvGrpSpPr/>
        <p:nvPr/>
      </p:nvGrpSpPr>
      <p:grpSpPr>
        <a:xfrm>
          <a:off x="0" y="0"/>
          <a:ext cx="0" cy="0"/>
          <a:chOff x="0" y="0"/>
          <a:chExt cx="0" cy="0"/>
        </a:xfrm>
      </p:grpSpPr>
      <p:sp>
        <p:nvSpPr>
          <p:cNvPr id="4"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6" name="Text Placeholder 8">
            <a:extLst>
              <a:ext uri="{FF2B5EF4-FFF2-40B4-BE49-F238E27FC236}">
                <a16:creationId xmlns:a16="http://schemas.microsoft.com/office/drawing/2014/main" id="{1905805C-2EFB-4B40-A3FD-BFD14E8E8A8B}"/>
              </a:ext>
            </a:extLst>
          </p:cNvPr>
          <p:cNvSpPr>
            <a:spLocks noGrp="1"/>
          </p:cNvSpPr>
          <p:nvPr>
            <p:ph type="body" sz="quarter" idx="13" hasCustomPrompt="1"/>
          </p:nvPr>
        </p:nvSpPr>
        <p:spPr>
          <a:xfrm>
            <a:off x="502920" y="981678"/>
            <a:ext cx="2485950" cy="1979413"/>
          </a:xfrm>
          <a:prstGeom prst="rect">
            <a:avLst/>
          </a:prstGeom>
        </p:spPr>
        <p:txBody>
          <a:bodyPr lIns="0" tIns="0" rIns="0" bIns="0">
            <a:noAutofit/>
          </a:bodyPr>
          <a:lstStyle>
            <a:lvl1pPr marL="0" indent="0">
              <a:buNone/>
              <a:defRPr sz="1800" b="0">
                <a:solidFill>
                  <a:schemeClr val="bg1"/>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E749AA31-7B7D-4A2C-B169-844DD4E92D7F}"/>
              </a:ext>
            </a:extLst>
          </p:cNvPr>
          <p:cNvSpPr>
            <a:spLocks noGrp="1"/>
          </p:cNvSpPr>
          <p:nvPr>
            <p:ph type="title"/>
          </p:nvPr>
        </p:nvSpPr>
        <p:spPr>
          <a:xfrm>
            <a:off x="502920" y="320040"/>
            <a:ext cx="2485950" cy="661638"/>
          </a:xfrm>
          <a:prstGeom prst="rect">
            <a:avLst/>
          </a:prstGeom>
        </p:spPr>
        <p:txBody>
          <a:bodyPr vert="horz" lIns="0" tIns="0" rIns="0" bIns="0" rtlCol="0" anchor="t" anchorCtr="0">
            <a:noAutofit/>
          </a:bodyPr>
          <a:lstStyle>
            <a:lvl1pPr>
              <a:defRPr sz="2100">
                <a:solidFill>
                  <a:schemeClr val="bg1"/>
                </a:solidFill>
              </a:defRPr>
            </a:lvl1pPr>
          </a:lstStyle>
          <a:p>
            <a:r>
              <a:rPr lang="en-US" noProof="0"/>
              <a:t>Click to edit Master title style</a:t>
            </a:r>
          </a:p>
        </p:txBody>
      </p:sp>
      <p:sp>
        <p:nvSpPr>
          <p:cNvPr id="5" name="TextBox 4">
            <a:extLst>
              <a:ext uri="{FF2B5EF4-FFF2-40B4-BE49-F238E27FC236}">
                <a16:creationId xmlns:a16="http://schemas.microsoft.com/office/drawing/2014/main" id="{5D8BE3D6-84AA-4B1F-AC4E-6827A998499B}"/>
              </a:ext>
            </a:extLst>
          </p:cNvPr>
          <p:cNvSpPr txBox="1"/>
          <p:nvPr userDrawn="1"/>
        </p:nvSpPr>
        <p:spPr>
          <a:xfrm>
            <a:off x="5181533" y="6476999"/>
            <a:ext cx="4451418"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EEE7327F-2791-4B24-9B91-F5FBE3C53605}"/>
              </a:ext>
            </a:extLst>
          </p:cNvPr>
          <p:cNvSpPr txBox="1"/>
          <p:nvPr userDrawn="1"/>
        </p:nvSpPr>
        <p:spPr>
          <a:xfrm>
            <a:off x="501649" y="6477000"/>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FA6AD7FC-10F5-4496-9067-B3A746CE422A}"/>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40410070"/>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9163050" cy="6985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p>
        </p:txBody>
      </p:sp>
    </p:spTree>
    <p:extLst>
      <p:ext uri="{BB962C8B-B14F-4D97-AF65-F5344CB8AC3E}">
        <p14:creationId xmlns:p14="http://schemas.microsoft.com/office/powerpoint/2010/main" val="408753330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Title black">
    <p:bg>
      <p:bgPr>
        <a:solidFill>
          <a:srgbClr val="000000"/>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9163050" cy="698501"/>
          </a:xfrm>
          <a:prstGeom prst="rect">
            <a:avLst/>
          </a:prstGeom>
        </p:spPr>
        <p:txBody>
          <a:bodyPr vert="horz" lIns="0" tIns="0" rIns="0" bIns="0" rtlCol="0" anchor="t" anchorCtr="0">
            <a:noAutofit/>
          </a:bodyPr>
          <a:lstStyle>
            <a:lvl1pPr>
              <a:defRPr sz="2100">
                <a:solidFill>
                  <a:schemeClr val="bg1"/>
                </a:solidFill>
                <a:latin typeface="Calibri Light" panose="020F0302020204030204" pitchFamily="34" charset="0"/>
                <a:cs typeface="Calibri Light" panose="020F0302020204030204" pitchFamily="34" charset="0"/>
              </a:defRPr>
            </a:lvl1pPr>
          </a:lstStyle>
          <a:p>
            <a:r>
              <a:rPr lang="en-US" noProof="0"/>
              <a:t>Click to edit Master title style</a:t>
            </a:r>
          </a:p>
        </p:txBody>
      </p:sp>
      <p:sp>
        <p:nvSpPr>
          <p:cNvPr id="5" name="Picture Placeholder 9"/>
          <p:cNvSpPr>
            <a:spLocks noGrp="1"/>
          </p:cNvSpPr>
          <p:nvPr>
            <p:ph type="pic" sz="quarter" idx="15"/>
          </p:nvPr>
        </p:nvSpPr>
        <p:spPr>
          <a:xfrm>
            <a:off x="502920" y="1700213"/>
            <a:ext cx="9163049" cy="4598988"/>
          </a:xfrm>
          <a:prstGeom prst="rect">
            <a:avLst/>
          </a:prstGeom>
        </p:spPr>
        <p:txBody>
          <a:bodyPr/>
          <a:lstStyle>
            <a:lvl1pPr>
              <a:defRPr sz="1300">
                <a:solidFill>
                  <a:schemeClr val="bg1"/>
                </a:solidFill>
                <a:latin typeface="Calibri Light" panose="020F0302020204030204" pitchFamily="34" charset="0"/>
                <a:cs typeface="Calibri Light" panose="020F0302020204030204" pitchFamily="34" charset="0"/>
              </a:defRPr>
            </a:lvl1pPr>
          </a:lstStyle>
          <a:p>
            <a:r>
              <a:rPr lang="en-US" noProof="0"/>
              <a:t>Click icon to add picture</a:t>
            </a:r>
          </a:p>
        </p:txBody>
      </p:sp>
      <p:sp>
        <p:nvSpPr>
          <p:cNvPr id="6" name="TextBox 5">
            <a:extLst>
              <a:ext uri="{FF2B5EF4-FFF2-40B4-BE49-F238E27FC236}">
                <a16:creationId xmlns:a16="http://schemas.microsoft.com/office/drawing/2014/main" id="{B8FE4063-5259-4235-8627-006BC02E5A0A}"/>
              </a:ext>
            </a:extLst>
          </p:cNvPr>
          <p:cNvSpPr txBox="1"/>
          <p:nvPr userDrawn="1"/>
        </p:nvSpPr>
        <p:spPr>
          <a:xfrm>
            <a:off x="5181533" y="6476999"/>
            <a:ext cx="4451418"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TextBox 6">
            <a:extLst>
              <a:ext uri="{FF2B5EF4-FFF2-40B4-BE49-F238E27FC236}">
                <a16:creationId xmlns:a16="http://schemas.microsoft.com/office/drawing/2014/main" id="{EEB8A8E6-2D01-4C42-8261-4BB28D9AC08D}"/>
              </a:ext>
            </a:extLst>
          </p:cNvPr>
          <p:cNvSpPr txBox="1"/>
          <p:nvPr userDrawn="1"/>
        </p:nvSpPr>
        <p:spPr>
          <a:xfrm>
            <a:off x="501649" y="6477000"/>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F5AE6E4C-F941-48D5-A8B3-519A5C55C01C}"/>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63176090"/>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501651" y="1700213"/>
            <a:ext cx="9147174"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1A73246D-89F3-4A31-9130-FD7F7DE13598}"/>
              </a:ext>
            </a:extLst>
          </p:cNvPr>
          <p:cNvSpPr>
            <a:spLocks noGrp="1"/>
          </p:cNvSpPr>
          <p:nvPr>
            <p:ph type="body" sz="quarter" idx="13" hasCustomPrompt="1"/>
          </p:nvPr>
        </p:nvSpPr>
        <p:spPr>
          <a:xfrm>
            <a:off x="502920" y="649224"/>
            <a:ext cx="916495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a:extLst>
              <a:ext uri="{FF2B5EF4-FFF2-40B4-BE49-F238E27FC236}">
                <a16:creationId xmlns:a16="http://schemas.microsoft.com/office/drawing/2014/main" id="{E06D6812-E756-45BA-8970-FC93BD9D4DBB}"/>
              </a:ext>
            </a:extLst>
          </p:cNvPr>
          <p:cNvSpPr>
            <a:spLocks noGrp="1"/>
          </p:cNvSpPr>
          <p:nvPr>
            <p:ph type="title"/>
          </p:nvPr>
        </p:nvSpPr>
        <p:spPr>
          <a:xfrm>
            <a:off x="502920" y="320040"/>
            <a:ext cx="916495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03316325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hasCustomPrompt="1"/>
          </p:nvPr>
        </p:nvSpPr>
        <p:spPr>
          <a:xfrm>
            <a:off x="6711950" y="1626099"/>
            <a:ext cx="2921000" cy="4673101"/>
          </a:xfrm>
          <a:prstGeom prst="rect">
            <a:avLst/>
          </a:prstGeom>
        </p:spPr>
        <p:txBody>
          <a:bodyPr>
            <a:noAutofit/>
          </a:bodyPr>
          <a:lstStyle>
            <a:lvl1pPr>
              <a:tabLst>
                <a:tab pos="6705432" algn="r"/>
              </a:tabLst>
              <a:defRPr sz="21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a:t>
            </a:r>
            <a:br>
              <a:rPr lang="en-US" noProof="0"/>
            </a:br>
            <a:r>
              <a:rPr lang="en-US" noProof="0"/>
              <a:t>text styles</a:t>
            </a:r>
          </a:p>
        </p:txBody>
      </p:sp>
      <p:sp>
        <p:nvSpPr>
          <p:cNvPr id="8" name="Content Placeholder 3"/>
          <p:cNvSpPr>
            <a:spLocks noGrp="1"/>
          </p:cNvSpPr>
          <p:nvPr>
            <p:ph sz="quarter" idx="16"/>
          </p:nvPr>
        </p:nvSpPr>
        <p:spPr>
          <a:xfrm>
            <a:off x="50292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6247C9E-C9E2-4FE8-993B-FAD207918B33}"/>
              </a:ext>
            </a:extLst>
          </p:cNvPr>
          <p:cNvSpPr>
            <a:spLocks noGrp="1"/>
          </p:cNvSpPr>
          <p:nvPr>
            <p:ph type="body" sz="quarter" idx="13" hasCustomPrompt="1"/>
          </p:nvPr>
        </p:nvSpPr>
        <p:spPr>
          <a:xfrm>
            <a:off x="502920" y="649224"/>
            <a:ext cx="916495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a:extLst>
              <a:ext uri="{FF2B5EF4-FFF2-40B4-BE49-F238E27FC236}">
                <a16:creationId xmlns:a16="http://schemas.microsoft.com/office/drawing/2014/main" id="{1056DF72-8D9E-488C-9A6C-AD8D40976572}"/>
              </a:ext>
            </a:extLst>
          </p:cNvPr>
          <p:cNvSpPr>
            <a:spLocks noGrp="1"/>
          </p:cNvSpPr>
          <p:nvPr>
            <p:ph type="title"/>
          </p:nvPr>
        </p:nvSpPr>
        <p:spPr>
          <a:xfrm>
            <a:off x="502920" y="320040"/>
            <a:ext cx="916495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08866914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atin typeface="Calibri Light" panose="020F0302020204030204" pitchFamily="34" charset="0"/>
                <a:cs typeface="Calibri Light" panose="020F0302020204030204" pitchFamily="34" charset="0"/>
              </a:defRPr>
            </a:lvl1pPr>
            <a:lvl2pPr>
              <a:spcBef>
                <a:spcPts val="600"/>
              </a:spcBef>
              <a:spcAft>
                <a:spcPts val="600"/>
              </a:spcAft>
              <a:tabLst>
                <a:tab pos="6705432" algn="r"/>
              </a:tabLst>
              <a:defRPr>
                <a:latin typeface="Calibri" panose="020F0502020204030204" pitchFamily="34" charset="0"/>
                <a:cs typeface="Calibri" panose="020F0502020204030204" pitchFamily="34" charset="0"/>
              </a:defRPr>
            </a:lvl2pPr>
            <a:lvl3pPr marL="180000" indent="-180000">
              <a:spcBef>
                <a:spcPts val="600"/>
              </a:spcBef>
              <a:spcAft>
                <a:spcPts val="600"/>
              </a:spcAft>
              <a:tabLst>
                <a:tab pos="6705432" algn="r"/>
              </a:tabLst>
              <a:defRPr>
                <a:latin typeface="Calibri Light" panose="020F0302020204030204" pitchFamily="34" charset="0"/>
                <a:cs typeface="Calibri Light" panose="020F0302020204030204" pitchFamily="34" charset="0"/>
              </a:defRPr>
            </a:lvl3pPr>
            <a:lvl4pPr marL="360000" indent="-180000">
              <a:spcBef>
                <a:spcPts val="600"/>
              </a:spcBef>
              <a:spcAft>
                <a:spcPts val="600"/>
              </a:spcAft>
              <a:tabLst>
                <a:tab pos="6705432" algn="r"/>
              </a:tabLst>
              <a:defRPr>
                <a:latin typeface="Calibri Light" panose="020F0302020204030204" pitchFamily="34" charset="0"/>
                <a:cs typeface="Calibri Light" panose="020F0302020204030204" pitchFamily="34" charset="0"/>
              </a:defRPr>
            </a:lvl4pPr>
            <a:lvl5pPr marL="540000" indent="-180000">
              <a:spcBef>
                <a:spcPts val="600"/>
              </a:spcBef>
              <a:spcAft>
                <a:spcPts val="600"/>
              </a:spcAft>
              <a:buFont typeface="Arial" panose="020B0604020202020204" pitchFamily="34" charset="0"/>
              <a:buChar char="•"/>
              <a:tabLst>
                <a:tab pos="6705432" algn="r"/>
              </a:tabLst>
              <a:defRPr baseline="0">
                <a:latin typeface="Calibri Light" panose="020F0302020204030204" pitchFamily="34" charset="0"/>
                <a:cs typeface="Calibri Light" panose="020F03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atin typeface="Calibri Light" panose="020F0302020204030204" pitchFamily="34" charset="0"/>
                <a:cs typeface="Calibri Light" panose="020F0302020204030204" pitchFamily="34" charset="0"/>
              </a:defRPr>
            </a:lvl1pPr>
            <a:lvl2pPr>
              <a:spcBef>
                <a:spcPts val="600"/>
              </a:spcBef>
              <a:spcAft>
                <a:spcPts val="600"/>
              </a:spcAft>
              <a:tabLst>
                <a:tab pos="6705432" algn="r"/>
              </a:tabLst>
              <a:defRPr>
                <a:latin typeface="Calibri" panose="020F0502020204030204" pitchFamily="34" charset="0"/>
                <a:cs typeface="Calibri" panose="020F0502020204030204" pitchFamily="34" charset="0"/>
              </a:defRPr>
            </a:lvl2pPr>
            <a:lvl3pPr marL="180000" indent="-180000">
              <a:spcBef>
                <a:spcPts val="600"/>
              </a:spcBef>
              <a:spcAft>
                <a:spcPts val="600"/>
              </a:spcAft>
              <a:tabLst>
                <a:tab pos="6705432" algn="r"/>
              </a:tabLst>
              <a:defRPr>
                <a:latin typeface="Calibri Light" panose="020F0302020204030204" pitchFamily="34" charset="0"/>
                <a:cs typeface="Calibri Light" panose="020F0302020204030204" pitchFamily="34" charset="0"/>
              </a:defRPr>
            </a:lvl3pPr>
            <a:lvl4pPr marL="360000" indent="-180000">
              <a:spcBef>
                <a:spcPts val="600"/>
              </a:spcBef>
              <a:spcAft>
                <a:spcPts val="600"/>
              </a:spcAft>
              <a:tabLst>
                <a:tab pos="6705432" algn="r"/>
              </a:tabLst>
              <a:defRPr>
                <a:latin typeface="Calibri Light" panose="020F0302020204030204" pitchFamily="34" charset="0"/>
                <a:cs typeface="Calibri Light" panose="020F0302020204030204" pitchFamily="34" charset="0"/>
              </a:defRPr>
            </a:lvl4pPr>
            <a:lvl5pPr marL="540000" indent="-180000">
              <a:spcBef>
                <a:spcPts val="600"/>
              </a:spcBef>
              <a:spcAft>
                <a:spcPts val="600"/>
              </a:spcAft>
              <a:buFont typeface="Arial" panose="020B0604020202020204" pitchFamily="34" charset="0"/>
              <a:buChar char="•"/>
              <a:tabLst>
                <a:tab pos="6705432" algn="r"/>
              </a:tabLst>
              <a:defRPr baseline="0">
                <a:latin typeface="Calibri Light" panose="020F0302020204030204" pitchFamily="34" charset="0"/>
                <a:cs typeface="Calibri Light" panose="020F03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66339903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17517" y="2051998"/>
            <a:ext cx="2924184"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17517" y="1659145"/>
            <a:ext cx="2924184" cy="373803"/>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636674" y="2051998"/>
            <a:ext cx="2919701"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3636674" y="1659145"/>
            <a:ext cx="2919701" cy="373803"/>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754669" y="2051998"/>
            <a:ext cx="2916382"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6754669" y="1659145"/>
            <a:ext cx="2916382" cy="379660"/>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502920" y="5982790"/>
            <a:ext cx="9164950" cy="316411"/>
          </a:xfrm>
        </p:spPr>
        <p:txBody>
          <a:bodyPr>
            <a:noAutofit/>
          </a:bodyPr>
          <a:lstStyle>
            <a:lvl1pPr>
              <a:spcAft>
                <a:spcPts val="0"/>
              </a:spcAft>
              <a:defRPr sz="900"/>
            </a:lvl1pPr>
          </a:lstStyle>
          <a:p>
            <a:pPr lvl="0"/>
            <a:r>
              <a:rPr lang="en-US" noProof="0"/>
              <a:t>Click to edit Master text styles</a:t>
            </a:r>
          </a:p>
        </p:txBody>
      </p:sp>
      <p:sp>
        <p:nvSpPr>
          <p:cNvPr id="12" name="Text Placeholder 8">
            <a:extLst>
              <a:ext uri="{FF2B5EF4-FFF2-40B4-BE49-F238E27FC236}">
                <a16:creationId xmlns:a16="http://schemas.microsoft.com/office/drawing/2014/main" id="{C6ADC734-DF7C-441E-A0B0-68F2106AC653}"/>
              </a:ext>
            </a:extLst>
          </p:cNvPr>
          <p:cNvSpPr>
            <a:spLocks noGrp="1"/>
          </p:cNvSpPr>
          <p:nvPr>
            <p:ph type="body" sz="quarter" idx="13" hasCustomPrompt="1"/>
          </p:nvPr>
        </p:nvSpPr>
        <p:spPr>
          <a:xfrm>
            <a:off x="502920" y="649224"/>
            <a:ext cx="916495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a:extLst>
              <a:ext uri="{FF2B5EF4-FFF2-40B4-BE49-F238E27FC236}">
                <a16:creationId xmlns:a16="http://schemas.microsoft.com/office/drawing/2014/main" id="{DE5176EB-9DB0-4495-8080-703DA192A073}"/>
              </a:ext>
            </a:extLst>
          </p:cNvPr>
          <p:cNvSpPr>
            <a:spLocks noGrp="1"/>
          </p:cNvSpPr>
          <p:nvPr>
            <p:ph type="title"/>
          </p:nvPr>
        </p:nvSpPr>
        <p:spPr>
          <a:xfrm>
            <a:off x="502920" y="320040"/>
            <a:ext cx="916495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428539436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pic>
        <p:nvPicPr>
          <p:cNvPr id="35" name="Deloitte_Cyber_Pulse_Background_RGB.png" descr="Deloitte_Cyber_Pulse_Background_RGB.png"/>
          <p:cNvPicPr>
            <a:picLocks noChangeAspect="1"/>
          </p:cNvPicPr>
          <p:nvPr/>
        </p:nvPicPr>
        <p:blipFill>
          <a:blip r:embed="rId2"/>
          <a:stretch>
            <a:fillRect/>
          </a:stretch>
        </p:blipFill>
        <p:spPr>
          <a:xfrm flipH="1">
            <a:off x="0" y="0"/>
            <a:ext cx="12192000" cy="6858000"/>
          </a:xfrm>
          <a:prstGeom prst="rect">
            <a:avLst/>
          </a:prstGeom>
          <a:ln w="12700">
            <a:miter lim="400000"/>
          </a:ln>
        </p:spPr>
      </p:pic>
      <p:pic>
        <p:nvPicPr>
          <p:cNvPr id="36" name="Deloitte_Cyber_Pulse_Surround_Isolated_RGB.png" descr="Deloitte_Cyber_Pulse_Surround_Isolated_RGB.png"/>
          <p:cNvPicPr>
            <a:picLocks noChangeAspect="1"/>
          </p:cNvPicPr>
          <p:nvPr/>
        </p:nvPicPr>
        <p:blipFill>
          <a:blip r:embed="rId3">
            <a:alphaModFix amt="50000"/>
          </a:blip>
          <a:stretch>
            <a:fillRect/>
          </a:stretch>
        </p:blipFill>
        <p:spPr>
          <a:xfrm rot="4440000">
            <a:off x="-15684528" y="-5752820"/>
            <a:ext cx="32646470" cy="18363640"/>
          </a:xfrm>
          <a:prstGeom prst="rect">
            <a:avLst/>
          </a:prstGeom>
          <a:ln w="12700">
            <a:miter lim="400000"/>
          </a:ln>
        </p:spPr>
      </p:pic>
      <p:pic>
        <p:nvPicPr>
          <p:cNvPr id="37" name="Deloitte_Cyber_Pulse_Surround_Isolated_RGB.png" descr="Deloitte_Cyber_Pulse_Surround_Isolated_RGB.png"/>
          <p:cNvPicPr>
            <a:picLocks noChangeAspect="1"/>
          </p:cNvPicPr>
          <p:nvPr/>
        </p:nvPicPr>
        <p:blipFill>
          <a:blip r:embed="rId3"/>
          <a:stretch>
            <a:fillRect/>
          </a:stretch>
        </p:blipFill>
        <p:spPr>
          <a:xfrm rot="21240000">
            <a:off x="-5551898" y="-53215"/>
            <a:ext cx="12381210" cy="6964432"/>
          </a:xfrm>
          <a:prstGeom prst="rect">
            <a:avLst/>
          </a:prstGeom>
          <a:ln w="12700">
            <a:miter lim="400000"/>
          </a:ln>
        </p:spPr>
      </p:pic>
      <p:sp>
        <p:nvSpPr>
          <p:cNvPr id="38" name="Rectangle 3"/>
          <p:cNvSpPr txBox="1"/>
          <p:nvPr/>
        </p:nvSpPr>
        <p:spPr>
          <a:xfrm>
            <a:off x="4267200" y="2619678"/>
            <a:ext cx="7010400" cy="133049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numCol="2" spcCol="182879"/>
          <a:lstStyle/>
          <a:p>
            <a:pPr marL="76200" marR="142875" lvl="0" indent="0" algn="l"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This</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document</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has </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been</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prepared by</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Deloitte &amp; Touche Advisory Saudi Limited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for the sole</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purpose of providing</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a</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proposal </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to</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the parties to whom</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it</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is</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addressed in</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order</a:t>
            </a:r>
            <a:r>
              <a:rPr kumimoji="0" lang="en-US" sz="900" b="0" i="0" u="none" strike="noStrike" kern="1200" cap="none" spc="-1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that</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they</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may evaluate</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the</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capabilities</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of</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Deloitte &amp; Touche Advisory Saudi Limited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to</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supply the proposed services.</a:t>
            </a:r>
          </a:p>
          <a:p>
            <a:pPr marL="76200" marR="142875"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76200" marR="142875" lvl="0" indent="0" algn="l"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This</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document</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and its</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contents</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are</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confidential</a:t>
            </a:r>
            <a:r>
              <a:rPr kumimoji="0" lang="en-US" sz="900" b="0" i="0" u="none" strike="noStrike" kern="1200" cap="none" spc="2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and</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prepared</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solely for your</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information to allow you to assess if you would like to engage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Deloitte &amp; Touche Advisory Saudi Limited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in a formal contractual relationship, for the proposed service. This proposal should not be reproduced, redistributed or passed on</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directly or</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indirectly,</a:t>
            </a:r>
            <a:r>
              <a:rPr kumimoji="0" lang="en-US" sz="900" b="0" i="0" u="none" strike="noStrike" kern="1200" cap="none" spc="-1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to</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any</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other person or party,</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in</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whole</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or</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in</a:t>
            </a:r>
            <a:r>
              <a:rPr kumimoji="0" lang="en-US" sz="900" b="0" i="0" u="none" strike="noStrike" kern="1200" cap="none" spc="-1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part.</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Therefore,</a:t>
            </a:r>
            <a:r>
              <a:rPr kumimoji="0" lang="en-US" sz="900" b="0" i="0" u="none" strike="noStrike" kern="1200" cap="none" spc="-2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you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should</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not</a:t>
            </a:r>
            <a:r>
              <a:rPr kumimoji="0" lang="en-US" sz="900" b="0" i="0" u="none" strike="noStrike" kern="1200" cap="none" spc="-1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refer to </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or</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use </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our</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name</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or</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this document</a:t>
            </a:r>
            <a:r>
              <a:rPr kumimoji="0" lang="en-US" sz="900" b="0" i="0" u="none" strike="noStrike" kern="1200" cap="none" spc="-1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for</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any</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other purpose,</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disclose</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it</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or refer to it in another document, or make it available or communicate it to any other party. In any event, no other party is entitled to rely on our documentation</a:t>
            </a:r>
            <a:r>
              <a:rPr kumimoji="0" lang="en-US" sz="900" b="0" i="0" u="none" strike="noStrike" kern="1200" cap="none" spc="-1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for</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any</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purpose whatsoever </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and</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thus</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we</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accept</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no liability</a:t>
            </a:r>
            <a:r>
              <a:rPr kumimoji="0" lang="en-US" sz="900" b="0" i="0" u="none" strike="noStrike" kern="1200" cap="none" spc="3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to</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any other party </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who</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sees or gains</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access to</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this</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document.</a:t>
            </a:r>
          </a:p>
          <a:p>
            <a:pPr marL="76200" marR="142875"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76200" marR="142240" lvl="0" indent="0" algn="l"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This</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document</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is</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not</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contractually</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binding.</a:t>
            </a:r>
            <a:r>
              <a:rPr kumimoji="0" lang="en-US" sz="900" b="0" i="0" u="none" strike="noStrike" kern="1200" cap="none" spc="-1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Should this proposal be</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acceptable</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to</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you,</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and following the conclusion of our internal</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acceptance procedures,</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we would </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be</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pleased to discuss</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the contractual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terms</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and conditions with</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you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prior</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to</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our appointment.</a:t>
            </a:r>
          </a:p>
          <a:p>
            <a:pPr marL="76200" marR="14224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76200" marR="142240" lvl="0" indent="0" algn="l"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Deloitte &amp; Touche (M.E.) (DME) is an affiliated sublicensed partnership of Deloitte NSE LLP with no legal ownership to DTTL. Deloitte North South Europe LLP (NSE) is a licensed member firm of Deloitte Touche Tohmatsu Limited.</a:t>
            </a:r>
          </a:p>
          <a:p>
            <a:pPr marL="76200" marR="142240" lvl="0" indent="0" algn="l"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Deloitte refers to one or more of DTTL, its global network of member firms, and their related entities. DTTL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also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Verdana" panose="020B0604030504040204" pitchFamily="34" charset="0"/>
                <a:cs typeface="Calibri" panose="020F0502020204030204" pitchFamily="34" charset="0"/>
              </a:rPr>
              <a:t>referred to a</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s “Deloitte Global”) and each of its member firms are legally separate and independent entities. DTTL</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Verdana" panose="020B0604030504040204" pitchFamily="34" charset="0"/>
                <a:cs typeface="Calibri" panose="020F0502020204030204" pitchFamily="34" charset="0"/>
              </a:rPr>
              <a:t>, NSE and DME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do not provide services to clients. Please see </a:t>
            </a:r>
            <a:r>
              <a:rPr kumimoji="0" lang="en-US" sz="900" b="0" i="0" u="sng"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www.deloitte.com/about</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to learn more. </a:t>
            </a:r>
          </a:p>
          <a:p>
            <a:pPr marL="76200" marR="14224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76200" marR="142240" lvl="0" indent="0" algn="l"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Deloitte is a leading global provider of audit and assurance, consulting,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Verdana" panose="020B0604030504040204" pitchFamily="34" charset="0"/>
                <a:cs typeface="Calibri" panose="020F0502020204030204" pitchFamily="34" charset="0"/>
              </a:rPr>
              <a:t>financial advisory, risk advisory, tax and legal and  related services. Our network of member firms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in more than 150 countries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Verdana" panose="020B0604030504040204" pitchFamily="34" charset="0"/>
                <a:cs typeface="Calibri" panose="020F0502020204030204" pitchFamily="34" charset="0"/>
              </a:rPr>
              <a:t>and territories, serves four out of five Fortune Global 500® companies. Learn how Deloitte’s approximately 457,000 people make an impact that matters at </a:t>
            </a:r>
            <a:r>
              <a:rPr kumimoji="0" lang="en-US" sz="900" b="0" i="0" u="sng" strike="noStrike" kern="1200" cap="none" spc="-5" normalizeH="0" baseline="0" noProof="0" dirty="0">
                <a:ln>
                  <a:noFill/>
                </a:ln>
                <a:solidFill>
                  <a:schemeClr val="bg1"/>
                </a:solidFill>
                <a:effectLst/>
                <a:uLnTx/>
                <a:uFillTx/>
                <a:latin typeface="Calibri" panose="020F0502020204030204" pitchFamily="34" charset="0"/>
                <a:ea typeface="Verdana" panose="020B0604030504040204" pitchFamily="34" charset="0"/>
                <a:cs typeface="Calibri" panose="020F0502020204030204" pitchFamily="34" charset="0"/>
                <a:hlinkClick r:id="rId5">
                  <a:extLst>
                    <a:ext uri="{A12FA001-AC4F-418D-AE19-62706E023703}">
                      <ahyp:hlinkClr xmlns:ahyp="http://schemas.microsoft.com/office/drawing/2018/hyperlinkcolor" val="tx"/>
                    </a:ext>
                  </a:extLst>
                </a:hlinkClick>
              </a:rPr>
              <a:t>www.deloitte.com</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Verdana" panose="020B0604030504040204" pitchFamily="34" charset="0"/>
                <a:cs typeface="Calibri" panose="020F0502020204030204" pitchFamily="34" charset="0"/>
              </a:rPr>
              <a:t>.</a:t>
            </a:r>
          </a:p>
          <a:p>
            <a:pPr marL="76200" marR="14224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Verdana" panose="020B0604030504040204" pitchFamily="34" charset="0"/>
              <a:cs typeface="Calibri" panose="020F0502020204030204" pitchFamily="34" charset="0"/>
            </a:endParaRPr>
          </a:p>
          <a:p>
            <a:pPr marL="63500" marR="142875" lvl="0" indent="0" algn="l"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Verdana" panose="020B0604030504040204" pitchFamily="34" charset="0"/>
                <a:cs typeface="Calibri" panose="020F0502020204030204" pitchFamily="34" charset="0"/>
              </a:rPr>
              <a:t>DME</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Verdana" panose="020B060403050404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Verdana" panose="020B0604030504040204" pitchFamily="34" charset="0"/>
                <a:cs typeface="Calibri" panose="020F0502020204030204" pitchFamily="34" charset="0"/>
              </a:rPr>
              <a:t>is</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Verdana" panose="020B0604030504040204" pitchFamily="34" charset="0"/>
                <a:cs typeface="Calibri" panose="020F0502020204030204" pitchFamily="34" charset="0"/>
              </a:rPr>
              <a:t> </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Verdana" panose="020B0604030504040204" pitchFamily="34" charset="0"/>
                <a:cs typeface="Calibri" panose="020F0502020204030204" pitchFamily="34" charset="0"/>
              </a:rPr>
              <a:t>a</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Verdana" panose="020B060403050404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Verdana" panose="020B0604030504040204" pitchFamily="34" charset="0"/>
                <a:cs typeface="Calibri" panose="020F0502020204030204" pitchFamily="34" charset="0"/>
              </a:rPr>
              <a:t>leading professional services organization established in the Middle East region with uninterrupted presence since 1926. DME’s presence in the Middle East region is established through its affiliated independent legal entities, which are licensed to operate and to provide services under the applicable laws and regulations of the relevant country. DME’s affiliates and related entities cannot oblige each other and/or DME, and when providing services, each affiliate and related entity engages directly and independently with its own clients and shall only be liable for its own acts or omissions and not those of any other affiliate. DME provides services through 23 offices across 15 countries with more than 7,000 partners, directors and staff. It has also received numerous awards in the last few years such as the 2022 &amp; 2023 Great Place to Work® in the UAE, the 2023 Great Place to Work® in the KSA, and the Middle East Tax Firm of the year.</a:t>
            </a:r>
            <a:endParaRPr kumimoji="0" lang="en-US" sz="200" b="0" i="0" u="none" strike="noStrike" kern="1200" cap="none" spc="-5" normalizeH="0" baseline="0" noProof="0" dirty="0">
              <a:ln>
                <a:noFill/>
              </a:ln>
              <a:solidFill>
                <a:schemeClr val="bg1"/>
              </a:solidFill>
              <a:effectLst/>
              <a:uLnTx/>
              <a:uFillTx/>
              <a:latin typeface="Calibri" panose="020F0502020204030204" pitchFamily="34" charset="0"/>
              <a:ea typeface="Verdana" panose="020B0604030504040204" pitchFamily="34" charset="0"/>
              <a:cs typeface="Calibri" panose="020F0502020204030204" pitchFamily="34" charset="0"/>
            </a:endParaRPr>
          </a:p>
          <a:p>
            <a:pPr marL="63500" marR="142875" lvl="0" indent="0" algn="l" defTabSz="1219170"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5" normalizeH="0" baseline="0" noProof="0" dirty="0">
              <a:ln>
                <a:noFill/>
              </a:ln>
              <a:solidFill>
                <a:schemeClr val="bg1"/>
              </a:solidFill>
              <a:effectLst/>
              <a:uLnTx/>
              <a:uFillTx/>
              <a:latin typeface="Calibri" panose="020F0502020204030204" pitchFamily="34" charset="0"/>
              <a:ea typeface="Verdana" panose="020B0604030504040204" pitchFamily="34" charset="0"/>
              <a:cs typeface="Calibri" panose="020F0502020204030204" pitchFamily="34" charset="0"/>
            </a:endParaRPr>
          </a:p>
          <a:p>
            <a:pPr marL="76200" marR="0" lvl="0" indent="0" algn="l"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900" b="0" i="0" u="none" strike="noStrike" kern="1200" cap="none" spc="-1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2024</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Deloitte &amp; Touche Advisory Saudi Limited. </a:t>
            </a:r>
            <a:r>
              <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All</a:t>
            </a:r>
            <a:r>
              <a:rPr kumimoji="0" lang="en-US" sz="900" b="0" i="0" u="none" strike="noStrike" kern="1200" cap="none" spc="-1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900" b="0" i="0" u="none" strike="noStrike" kern="1200" cap="none" spc="-5"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rights reserved.</a:t>
            </a:r>
            <a:endParaRPr kumimoji="0" lang="en-US" sz="9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9" name="Body Level One…"/>
          <p:cNvSpPr txBox="1">
            <a:spLocks noGrp="1"/>
          </p:cNvSpPr>
          <p:nvPr>
            <p:ph type="body" sz="quarter" idx="1" hasCustomPrompt="1"/>
          </p:nvPr>
        </p:nvSpPr>
        <p:spPr>
          <a:xfrm>
            <a:off x="4267200" y="801079"/>
            <a:ext cx="4040188" cy="947738"/>
          </a:xfrm>
          <a:prstGeom prst="rect">
            <a:avLst/>
          </a:prstGeom>
        </p:spPr>
        <p:txBody>
          <a:bodyPr>
            <a:normAutofit/>
          </a:bodyPr>
          <a:lstStyle>
            <a:lvl1pPr>
              <a:defRPr sz="1800" b="1">
                <a:solidFill>
                  <a:srgbClr val="FFFFFF"/>
                </a:solidFill>
                <a:latin typeface="Open Sans Semibold"/>
                <a:ea typeface="Open Sans Semibold"/>
                <a:cs typeface="Open Sans Semibold"/>
                <a:sym typeface="Open Sans Semibold"/>
              </a:defRPr>
            </a:lvl1pPr>
            <a:lvl2pPr marL="0" indent="0">
              <a:buNone/>
              <a:defRPr sz="1800" b="1">
                <a:solidFill>
                  <a:srgbClr val="FFFFFF"/>
                </a:solidFill>
                <a:latin typeface="Open Sans Semibold"/>
                <a:ea typeface="Open Sans Semibold"/>
                <a:cs typeface="Open Sans Semibold"/>
                <a:sym typeface="Open Sans Semibold"/>
              </a:defRPr>
            </a:lvl2pPr>
            <a:lvl3pPr marL="152400" indent="0">
              <a:buNone/>
              <a:defRPr sz="1800" b="1">
                <a:solidFill>
                  <a:srgbClr val="FFFFFF"/>
                </a:solidFill>
                <a:latin typeface="Open Sans Semibold"/>
                <a:ea typeface="Open Sans Semibold"/>
                <a:cs typeface="Open Sans Semibold"/>
                <a:sym typeface="Open Sans Semibold"/>
              </a:defRPr>
            </a:lvl3pPr>
            <a:lvl4pPr marL="304800" indent="0">
              <a:buNone/>
              <a:defRPr sz="1800" b="1">
                <a:solidFill>
                  <a:srgbClr val="FFFFFF"/>
                </a:solidFill>
                <a:latin typeface="Open Sans Semibold"/>
                <a:ea typeface="Open Sans Semibold"/>
                <a:cs typeface="Open Sans Semibold"/>
                <a:sym typeface="Open Sans Semibold"/>
              </a:defRPr>
            </a:lvl4pPr>
            <a:lvl5pPr marL="457200" indent="0">
              <a:buNone/>
              <a:defRPr sz="1800" b="1">
                <a:solidFill>
                  <a:srgbClr val="FFFFFF"/>
                </a:solidFill>
                <a:latin typeface="Open Sans Semibold"/>
                <a:ea typeface="Open Sans Semibold"/>
                <a:cs typeface="Open Sans Semibold"/>
                <a:sym typeface="Open Sans Semibold"/>
              </a:defRPr>
            </a:lvl5pPr>
          </a:lstStyle>
          <a:p>
            <a:r>
              <a:rPr dirty="0"/>
              <a:t>Edit Master text style</a:t>
            </a:r>
          </a:p>
        </p:txBody>
      </p:sp>
      <p:pic>
        <p:nvPicPr>
          <p:cNvPr id="41" name="Image" descr="Image"/>
          <p:cNvPicPr>
            <a:picLocks noChangeAspect="1"/>
          </p:cNvPicPr>
          <p:nvPr/>
        </p:nvPicPr>
        <p:blipFill>
          <a:blip r:embed="rId6"/>
          <a:stretch>
            <a:fillRect/>
          </a:stretch>
        </p:blipFill>
        <p:spPr>
          <a:xfrm>
            <a:off x="473096" y="464998"/>
            <a:ext cx="2002590" cy="374401"/>
          </a:xfrm>
          <a:prstGeom prst="rect">
            <a:avLst/>
          </a:prstGeom>
          <a:ln w="12700">
            <a:miter lim="400000"/>
          </a:ln>
        </p:spPr>
      </p:pic>
    </p:spTree>
    <p:extLst>
      <p:ext uri="{BB962C8B-B14F-4D97-AF65-F5344CB8AC3E}">
        <p14:creationId xmlns:p14="http://schemas.microsoft.com/office/powerpoint/2010/main" val="3023982902"/>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502920" y="5982790"/>
            <a:ext cx="9163051" cy="316411"/>
          </a:xfrm>
        </p:spPr>
        <p:txBody>
          <a:bodyPr>
            <a:noAutofit/>
          </a:bodyPr>
          <a:lstStyle>
            <a:lvl1pPr>
              <a:spcAft>
                <a:spcPts val="0"/>
              </a:spcAft>
              <a:defRPr sz="900"/>
            </a:lvl1pPr>
          </a:lstStyle>
          <a:p>
            <a:pPr lvl="0"/>
            <a:r>
              <a:rPr lang="en-US" noProof="0"/>
              <a:t>Click to edit Master text styles</a:t>
            </a:r>
          </a:p>
        </p:txBody>
      </p:sp>
      <p:sp>
        <p:nvSpPr>
          <p:cNvPr id="8" name="Text Placeholder 8">
            <a:extLst>
              <a:ext uri="{FF2B5EF4-FFF2-40B4-BE49-F238E27FC236}">
                <a16:creationId xmlns:a16="http://schemas.microsoft.com/office/drawing/2014/main" id="{C9CE2692-2D89-4EB2-836A-EC8411A6552E}"/>
              </a:ext>
            </a:extLst>
          </p:cNvPr>
          <p:cNvSpPr>
            <a:spLocks noGrp="1"/>
          </p:cNvSpPr>
          <p:nvPr>
            <p:ph type="body" sz="quarter" idx="13" hasCustomPrompt="1"/>
          </p:nvPr>
        </p:nvSpPr>
        <p:spPr>
          <a:xfrm>
            <a:off x="502920" y="649224"/>
            <a:ext cx="916495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a:extLst>
              <a:ext uri="{FF2B5EF4-FFF2-40B4-BE49-F238E27FC236}">
                <a16:creationId xmlns:a16="http://schemas.microsoft.com/office/drawing/2014/main" id="{91D14A9F-524A-4311-A11D-1C4EF7B855AF}"/>
              </a:ext>
            </a:extLst>
          </p:cNvPr>
          <p:cNvSpPr>
            <a:spLocks noGrp="1"/>
          </p:cNvSpPr>
          <p:nvPr>
            <p:ph type="title"/>
          </p:nvPr>
        </p:nvSpPr>
        <p:spPr>
          <a:xfrm>
            <a:off x="502920" y="320040"/>
            <a:ext cx="916495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08119756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divider slide larg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a:t>Click icon to add picture</a:t>
            </a:r>
          </a:p>
        </p:txBody>
      </p:sp>
      <p:sp>
        <p:nvSpPr>
          <p:cNvPr id="5" name="Subtitle 2"/>
          <p:cNvSpPr>
            <a:spLocks noGrp="1"/>
          </p:cNvSpPr>
          <p:nvPr>
            <p:ph type="subTitle" idx="1" hasCustomPrompt="1"/>
          </p:nvPr>
        </p:nvSpPr>
        <p:spPr bwMode="gray">
          <a:xfrm>
            <a:off x="502920" y="320040"/>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Tree>
    <p:extLst>
      <p:ext uri="{BB962C8B-B14F-4D97-AF65-F5344CB8AC3E}">
        <p14:creationId xmlns:p14="http://schemas.microsoft.com/office/powerpoint/2010/main" val="20511123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 statement green">
    <p:bg>
      <p:bgPr>
        <a:solidFill>
          <a:schemeClr val="accent3"/>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02920" y="1590675"/>
            <a:ext cx="9163050"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1559334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Infogr/Map Gray 11">
    <p:bg>
      <p:bgPr>
        <a:solidFill>
          <a:srgbClr val="53565A"/>
        </a:solidFill>
        <a:effectLst/>
      </p:bgPr>
    </p:bg>
    <p:spTree>
      <p:nvGrpSpPr>
        <p:cNvPr id="1" name=""/>
        <p:cNvGrpSpPr/>
        <p:nvPr/>
      </p:nvGrpSpPr>
      <p:grpSpPr>
        <a:xfrm>
          <a:off x="0" y="0"/>
          <a:ext cx="0" cy="0"/>
          <a:chOff x="0" y="0"/>
          <a:chExt cx="0" cy="0"/>
        </a:xfrm>
      </p:grpSpPr>
      <p:sp>
        <p:nvSpPr>
          <p:cNvPr id="3" name="Picture Placeholder 9"/>
          <p:cNvSpPr>
            <a:spLocks noGrp="1"/>
          </p:cNvSpPr>
          <p:nvPr>
            <p:ph type="pic" sz="quarter" idx="15"/>
          </p:nvPr>
        </p:nvSpPr>
        <p:spPr>
          <a:xfrm>
            <a:off x="3584575" y="1700213"/>
            <a:ext cx="6048376" cy="4598988"/>
          </a:xfrm>
          <a:prstGeom prst="rect">
            <a:avLst/>
          </a:prstGeom>
        </p:spPr>
        <p:txBody>
          <a:bodyPr/>
          <a:lstStyle>
            <a:lvl1pPr>
              <a:defRPr sz="1300">
                <a:solidFill>
                  <a:schemeClr val="bg1"/>
                </a:solidFill>
                <a:latin typeface="Calibri Light" panose="020F0302020204030204" pitchFamily="34" charset="0"/>
                <a:cs typeface="Calibri Light" panose="020F0302020204030204" pitchFamily="34" charset="0"/>
              </a:defRPr>
            </a:lvl1pPr>
          </a:lstStyle>
          <a:p>
            <a:r>
              <a:rPr lang="en-US" noProof="0"/>
              <a:t>Click icon to add picture</a:t>
            </a:r>
          </a:p>
        </p:txBody>
      </p:sp>
      <p:sp>
        <p:nvSpPr>
          <p:cNvPr id="4" name="Content Placeholder 3"/>
          <p:cNvSpPr>
            <a:spLocks noGrp="1"/>
          </p:cNvSpPr>
          <p:nvPr>
            <p:ph sz="quarter" idx="10"/>
          </p:nvPr>
        </p:nvSpPr>
        <p:spPr>
          <a:xfrm>
            <a:off x="502920" y="1665288"/>
            <a:ext cx="2935600" cy="4622507"/>
          </a:xfrm>
          <a:prstGeom prst="rect">
            <a:avLst/>
          </a:prstGeom>
        </p:spPr>
        <p:txBody>
          <a:bodyPr/>
          <a:lstStyle>
            <a:lvl1pPr>
              <a:spcBef>
                <a:spcPts val="600"/>
              </a:spcBef>
              <a:spcAft>
                <a:spcPts val="600"/>
              </a:spcAft>
              <a:tabLst>
                <a:tab pos="6705432" algn="r"/>
              </a:tabLst>
              <a:defRPr sz="1300">
                <a:solidFill>
                  <a:schemeClr val="bg1"/>
                </a:solidFill>
                <a:latin typeface="Calibri Light" panose="020F0302020204030204" pitchFamily="34" charset="0"/>
                <a:cs typeface="Calibri Light" panose="020F0302020204030204" pitchFamily="34" charset="0"/>
              </a:defRPr>
            </a:lvl1pPr>
            <a:lvl2pPr>
              <a:spcBef>
                <a:spcPts val="600"/>
              </a:spcBef>
              <a:spcAft>
                <a:spcPts val="600"/>
              </a:spcAft>
              <a:tabLst>
                <a:tab pos="6705432" algn="r"/>
              </a:tabLst>
              <a:defRPr sz="1300">
                <a:solidFill>
                  <a:schemeClr val="bg1"/>
                </a:solidFill>
                <a:latin typeface="Calibri" panose="020F0502020204030204" pitchFamily="34" charset="0"/>
                <a:cs typeface="Calibri" panose="020F0502020204030204" pitchFamily="34" charset="0"/>
              </a:defRPr>
            </a:lvl2pPr>
            <a:lvl3pPr marL="180000" indent="-180000">
              <a:spcBef>
                <a:spcPts val="600"/>
              </a:spcBef>
              <a:spcAft>
                <a:spcPts val="600"/>
              </a:spcAft>
              <a:tabLst>
                <a:tab pos="6705432" algn="r"/>
              </a:tabLst>
              <a:defRPr sz="1300">
                <a:solidFill>
                  <a:schemeClr val="bg1"/>
                </a:solidFill>
                <a:latin typeface="Calibri Light" panose="020F0302020204030204" pitchFamily="34" charset="0"/>
                <a:cs typeface="Calibri Light" panose="020F0302020204030204" pitchFamily="34" charset="0"/>
              </a:defRPr>
            </a:lvl3pPr>
            <a:lvl4pPr marL="360000" indent="-180000">
              <a:spcBef>
                <a:spcPts val="600"/>
              </a:spcBef>
              <a:spcAft>
                <a:spcPts val="600"/>
              </a:spcAft>
              <a:tabLst>
                <a:tab pos="6705432" algn="r"/>
              </a:tabLst>
              <a:defRPr sz="1300">
                <a:solidFill>
                  <a:schemeClr val="bg1"/>
                </a:solidFill>
                <a:latin typeface="Calibri Light" panose="020F0302020204030204" pitchFamily="34" charset="0"/>
                <a:cs typeface="Calibri Light" panose="020F0302020204030204" pitchFamily="34" charset="0"/>
              </a:defRPr>
            </a:lvl4pPr>
            <a:lvl5pPr marL="540000" indent="-180000">
              <a:spcBef>
                <a:spcPts val="600"/>
              </a:spcBef>
              <a:spcAft>
                <a:spcPts val="600"/>
              </a:spcAft>
              <a:buFont typeface="Arial" panose="020B0604020202020204" pitchFamily="34" charset="0"/>
              <a:buChar char="•"/>
              <a:tabLst>
                <a:tab pos="6705432" algn="r"/>
              </a:tabLst>
              <a:defRPr sz="1300" baseline="0">
                <a:solidFill>
                  <a:schemeClr val="bg1"/>
                </a:solidFill>
                <a:latin typeface="Calibri Light" panose="020F0302020204030204" pitchFamily="34" charset="0"/>
                <a:cs typeface="Calibri Light" panose="020F03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a:extLst>
              <a:ext uri="{FF2B5EF4-FFF2-40B4-BE49-F238E27FC236}">
                <a16:creationId xmlns:a16="http://schemas.microsoft.com/office/drawing/2014/main" id="{75D21722-4DE1-4DEF-BDFA-DCEC0A30B06B}"/>
              </a:ext>
            </a:extLst>
          </p:cNvPr>
          <p:cNvSpPr>
            <a:spLocks noGrp="1"/>
          </p:cNvSpPr>
          <p:nvPr>
            <p:ph type="title"/>
          </p:nvPr>
        </p:nvSpPr>
        <p:spPr>
          <a:xfrm>
            <a:off x="502920" y="320040"/>
            <a:ext cx="9163050" cy="698501"/>
          </a:xfrm>
          <a:prstGeom prst="rect">
            <a:avLst/>
          </a:prstGeom>
        </p:spPr>
        <p:txBody>
          <a:bodyPr vert="horz" lIns="0" tIns="0" rIns="0" bIns="0" rtlCol="0" anchor="t" anchorCtr="0">
            <a:noAutofit/>
          </a:bodyPr>
          <a:lstStyle>
            <a:lvl1pPr>
              <a:defRPr sz="2100">
                <a:solidFill>
                  <a:schemeClr val="bg1"/>
                </a:solidFill>
                <a:latin typeface="Calibri Light" panose="020F0302020204030204" pitchFamily="34" charset="0"/>
                <a:cs typeface="Calibri Light" panose="020F0302020204030204" pitchFamily="34" charset="0"/>
              </a:defRPr>
            </a:lvl1pPr>
          </a:lstStyle>
          <a:p>
            <a:r>
              <a:rPr lang="en-US" noProof="0"/>
              <a:t>Click to edit Master title style</a:t>
            </a:r>
          </a:p>
        </p:txBody>
      </p:sp>
      <p:sp>
        <p:nvSpPr>
          <p:cNvPr id="6" name="TextBox 5">
            <a:extLst>
              <a:ext uri="{FF2B5EF4-FFF2-40B4-BE49-F238E27FC236}">
                <a16:creationId xmlns:a16="http://schemas.microsoft.com/office/drawing/2014/main" id="{D03CAB8A-F192-47BB-A5B9-9F73DDEFA140}"/>
              </a:ext>
            </a:extLst>
          </p:cNvPr>
          <p:cNvSpPr txBox="1"/>
          <p:nvPr userDrawn="1"/>
        </p:nvSpPr>
        <p:spPr>
          <a:xfrm>
            <a:off x="5181533" y="6476999"/>
            <a:ext cx="4451418"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TextBox 6">
            <a:extLst>
              <a:ext uri="{FF2B5EF4-FFF2-40B4-BE49-F238E27FC236}">
                <a16:creationId xmlns:a16="http://schemas.microsoft.com/office/drawing/2014/main" id="{1658DC8D-9F39-4E1D-90B1-9D070CAD6128}"/>
              </a:ext>
            </a:extLst>
          </p:cNvPr>
          <p:cNvSpPr txBox="1"/>
          <p:nvPr userDrawn="1"/>
        </p:nvSpPr>
        <p:spPr>
          <a:xfrm>
            <a:off x="501649" y="6477000"/>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C38798D4-2938-44E3-89A4-055BB16F5CA3}"/>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3519610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pic>
        <p:nvPicPr>
          <p:cNvPr id="6" name="Picture 5">
            <a:extLst>
              <a:ext uri="{FF2B5EF4-FFF2-40B4-BE49-F238E27FC236}">
                <a16:creationId xmlns:a16="http://schemas.microsoft.com/office/drawing/2014/main" id="{23ED9035-7514-4147-979A-8BA7760B7E2C}"/>
              </a:ext>
            </a:extLst>
          </p:cNvPr>
          <p:cNvPicPr>
            <a:picLocks noChangeAspect="1"/>
          </p:cNvPicPr>
          <p:nvPr userDrawn="1"/>
        </p:nvPicPr>
        <p:blipFill rotWithShape="1">
          <a:blip r:embed="rId2">
            <a:alphaModFix amt="50000"/>
          </a:blip>
          <a:srcRect l="14936" t="14812" r="41281" b="30107"/>
          <a:stretch/>
        </p:blipFill>
        <p:spPr>
          <a:xfrm rot="10800000">
            <a:off x="5735443" y="9426"/>
            <a:ext cx="6456555" cy="6834433"/>
          </a:xfrm>
          <a:prstGeom prst="rect">
            <a:avLst/>
          </a:prstGeom>
        </p:spPr>
      </p:pic>
    </p:spTree>
    <p:extLst>
      <p:ext uri="{BB962C8B-B14F-4D97-AF65-F5344CB8AC3E}">
        <p14:creationId xmlns:p14="http://schemas.microsoft.com/office/powerpoint/2010/main" val="415884642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0119290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9" y="5845198"/>
            <a:ext cx="5592011" cy="505645"/>
          </a:xfrm>
          <a:prstGeom prst="rect">
            <a:avLst/>
          </a:prstGeom>
        </p:spPr>
        <p:txBody>
          <a:bodyPr lIns="0" tIns="0" rIns="0" bIns="0" anchor="b" anchorCtr="0">
            <a:noAutofit/>
          </a:bodyPr>
          <a:lstStyle>
            <a:lvl1pPr marL="0" indent="0" algn="l">
              <a:lnSpc>
                <a:spcPct val="100000"/>
              </a:lnSpc>
              <a:spcAft>
                <a:spcPts val="0"/>
              </a:spcAft>
              <a:buNone/>
              <a:defRPr sz="1782" b="1">
                <a:solidFill>
                  <a:schemeClr val="tx1"/>
                </a:solidFill>
              </a:defRPr>
            </a:lvl1pPr>
            <a:lvl2pPr marL="0" indent="0" algn="l">
              <a:buNone/>
              <a:defRPr sz="1582" b="0">
                <a:solidFill>
                  <a:schemeClr val="bg1"/>
                </a:solidFill>
              </a:defRPr>
            </a:lvl2pPr>
            <a:lvl3pPr marL="1208241" indent="0" algn="ctr">
              <a:buNone/>
              <a:defRPr sz="2382"/>
            </a:lvl3pPr>
            <a:lvl4pPr marL="1812361" indent="0" algn="ctr">
              <a:buNone/>
              <a:defRPr sz="2115"/>
            </a:lvl4pPr>
            <a:lvl5pPr marL="2416482" indent="0" algn="ctr">
              <a:buNone/>
              <a:defRPr sz="2115"/>
            </a:lvl5pPr>
            <a:lvl6pPr marL="3020600" indent="0" algn="ctr">
              <a:buNone/>
              <a:defRPr sz="2115"/>
            </a:lvl6pPr>
            <a:lvl7pPr marL="3624722" indent="0" algn="ctr">
              <a:buNone/>
              <a:defRPr sz="2115"/>
            </a:lvl7pPr>
            <a:lvl8pPr marL="4228842" indent="0" algn="ctr">
              <a:buNone/>
              <a:defRPr sz="2115"/>
            </a:lvl8pPr>
            <a:lvl9pPr marL="4832963" indent="0" algn="ctr">
              <a:buNone/>
              <a:defRPr sz="2115"/>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9" y="6362717"/>
            <a:ext cx="5594349" cy="298451"/>
          </a:xfrm>
          <a:prstGeom prst="rect">
            <a:avLst/>
          </a:prstGeom>
        </p:spPr>
        <p:txBody>
          <a:bodyPr/>
          <a:lstStyle>
            <a:lvl1pPr>
              <a:spcAft>
                <a:spcPts val="0"/>
              </a:spcAft>
              <a:defRPr sz="104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Edit Master text styles</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grpSp>
        <p:nvGrpSpPr>
          <p:cNvPr id="16" name="Group 15">
            <a:extLst>
              <a:ext uri="{FF2B5EF4-FFF2-40B4-BE49-F238E27FC236}">
                <a16:creationId xmlns:a16="http://schemas.microsoft.com/office/drawing/2014/main" id="{00B35CEE-C8A3-457C-B581-7F6BA863FA51}"/>
              </a:ext>
            </a:extLst>
          </p:cNvPr>
          <p:cNvGrpSpPr>
            <a:grpSpLocks noChangeAspect="1"/>
          </p:cNvGrpSpPr>
          <p:nvPr userDrawn="1"/>
        </p:nvGrpSpPr>
        <p:grpSpPr>
          <a:xfrm>
            <a:off x="631451" y="486368"/>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9E2AF63A-870F-42B4-9CE7-67D35771C1F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18" name="Freeform 6">
              <a:extLst>
                <a:ext uri="{FF2B5EF4-FFF2-40B4-BE49-F238E27FC236}">
                  <a16:creationId xmlns:a16="http://schemas.microsoft.com/office/drawing/2014/main" id="{DDF61E9A-D45C-44A3-8816-2CE1639F4E4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19" name="Rectangle 7">
              <a:extLst>
                <a:ext uri="{FF2B5EF4-FFF2-40B4-BE49-F238E27FC236}">
                  <a16:creationId xmlns:a16="http://schemas.microsoft.com/office/drawing/2014/main" id="{2C034CF7-36DC-4B3F-98A1-29E8E3797A2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0" name="Freeform 8">
              <a:extLst>
                <a:ext uri="{FF2B5EF4-FFF2-40B4-BE49-F238E27FC236}">
                  <a16:creationId xmlns:a16="http://schemas.microsoft.com/office/drawing/2014/main" id="{E770F5F4-ED77-47F1-8F9D-5259619A722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1" name="Rectangle 9">
              <a:extLst>
                <a:ext uri="{FF2B5EF4-FFF2-40B4-BE49-F238E27FC236}">
                  <a16:creationId xmlns:a16="http://schemas.microsoft.com/office/drawing/2014/main" id="{692BEB8C-80DB-4CC5-A1C7-E3A8DC0AD0FF}"/>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4" name="Rectangle 10">
              <a:extLst>
                <a:ext uri="{FF2B5EF4-FFF2-40B4-BE49-F238E27FC236}">
                  <a16:creationId xmlns:a16="http://schemas.microsoft.com/office/drawing/2014/main" id="{B7DB81D0-22EF-4346-AB9B-16EB616E172F}"/>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5" name="Freeform 11">
              <a:extLst>
                <a:ext uri="{FF2B5EF4-FFF2-40B4-BE49-F238E27FC236}">
                  <a16:creationId xmlns:a16="http://schemas.microsoft.com/office/drawing/2014/main" id="{CA56AA9D-744E-4D9D-AA8E-7E3C06E3D9C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6" name="Freeform 12">
              <a:extLst>
                <a:ext uri="{FF2B5EF4-FFF2-40B4-BE49-F238E27FC236}">
                  <a16:creationId xmlns:a16="http://schemas.microsoft.com/office/drawing/2014/main" id="{1196EC99-8D37-4026-84DD-F4949E7181E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7" name="Freeform 13">
              <a:extLst>
                <a:ext uri="{FF2B5EF4-FFF2-40B4-BE49-F238E27FC236}">
                  <a16:creationId xmlns:a16="http://schemas.microsoft.com/office/drawing/2014/main" id="{26D9B451-1E79-42AD-AED2-8D41E56976C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8" name="Freeform 14">
              <a:extLst>
                <a:ext uri="{FF2B5EF4-FFF2-40B4-BE49-F238E27FC236}">
                  <a16:creationId xmlns:a16="http://schemas.microsoft.com/office/drawing/2014/main" id="{865AF981-BAD2-4121-BEFE-4F097D45353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grpSp>
    </p:spTree>
    <p:extLst>
      <p:ext uri="{BB962C8B-B14F-4D97-AF65-F5344CB8AC3E}">
        <p14:creationId xmlns:p14="http://schemas.microsoft.com/office/powerpoint/2010/main" val="112367006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98"/>
            <a:ext cx="5594348" cy="505645"/>
          </a:xfrm>
          <a:prstGeom prst="rect">
            <a:avLst/>
          </a:prstGeom>
        </p:spPr>
        <p:txBody>
          <a:bodyPr lIns="0" tIns="0" rIns="0" bIns="0" anchor="b" anchorCtr="0">
            <a:noAutofit/>
          </a:bodyPr>
          <a:lstStyle>
            <a:lvl1pPr marL="0" indent="0" algn="l">
              <a:lnSpc>
                <a:spcPct val="100000"/>
              </a:lnSpc>
              <a:spcAft>
                <a:spcPts val="0"/>
              </a:spcAft>
              <a:buNone/>
              <a:defRPr sz="1782" b="1">
                <a:solidFill>
                  <a:schemeClr val="tx1"/>
                </a:solidFill>
              </a:defRPr>
            </a:lvl1pPr>
            <a:lvl2pPr marL="0" indent="0" algn="l">
              <a:buNone/>
              <a:defRPr sz="1582" b="0"/>
            </a:lvl2pPr>
            <a:lvl3pPr marL="1208241" indent="0" algn="ctr">
              <a:buNone/>
              <a:defRPr sz="2382"/>
            </a:lvl3pPr>
            <a:lvl4pPr marL="1812361" indent="0" algn="ctr">
              <a:buNone/>
              <a:defRPr sz="2115"/>
            </a:lvl4pPr>
            <a:lvl5pPr marL="2416482" indent="0" algn="ctr">
              <a:buNone/>
              <a:defRPr sz="2115"/>
            </a:lvl5pPr>
            <a:lvl6pPr marL="3020600" indent="0" algn="ctr">
              <a:buNone/>
              <a:defRPr sz="2115"/>
            </a:lvl6pPr>
            <a:lvl7pPr marL="3624722" indent="0" algn="ctr">
              <a:buNone/>
              <a:defRPr sz="2115"/>
            </a:lvl7pPr>
            <a:lvl8pPr marL="4228842" indent="0" algn="ctr">
              <a:buNone/>
              <a:defRPr sz="2115"/>
            </a:lvl8pPr>
            <a:lvl9pPr marL="4832963" indent="0" algn="ctr">
              <a:buNone/>
              <a:defRPr sz="2115"/>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34" y="6362717"/>
            <a:ext cx="5594349" cy="298451"/>
          </a:xfrm>
          <a:prstGeom prst="rect">
            <a:avLst/>
          </a:prstGeom>
        </p:spPr>
        <p:txBody>
          <a:bodyPr>
            <a:noAutofit/>
          </a:bodyPr>
          <a:lstStyle>
            <a:lvl1pPr>
              <a:spcAft>
                <a:spcPts val="0"/>
              </a:spcAft>
              <a:defRPr sz="104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58927754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764"/>
              </a:lnSpc>
              <a:defRPr sz="3173" b="0" i="0">
                <a:solidFill>
                  <a:schemeClr val="bg1"/>
                </a:solidFill>
                <a:latin typeface="Calibri" panose="020F050202020403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475209" y="5845198"/>
            <a:ext cx="5592011" cy="505645"/>
          </a:xfrm>
          <a:prstGeom prst="rect">
            <a:avLst/>
          </a:prstGeom>
        </p:spPr>
        <p:txBody>
          <a:bodyPr lIns="0" tIns="0" rIns="0" bIns="0" anchor="b" anchorCtr="0">
            <a:noAutofit/>
          </a:bodyPr>
          <a:lstStyle>
            <a:lvl1pPr marL="0" indent="0" algn="l">
              <a:lnSpc>
                <a:spcPct val="100000"/>
              </a:lnSpc>
              <a:spcAft>
                <a:spcPts val="0"/>
              </a:spcAft>
              <a:buNone/>
              <a:defRPr sz="1582">
                <a:solidFill>
                  <a:schemeClr val="bg1"/>
                </a:solidFill>
              </a:defRPr>
            </a:lvl1pPr>
            <a:lvl2pPr marL="604120" indent="0" algn="ctr">
              <a:buNone/>
              <a:defRPr sz="2640"/>
            </a:lvl2pPr>
            <a:lvl3pPr marL="1208241" indent="0" algn="ctr">
              <a:buNone/>
              <a:defRPr sz="2382"/>
            </a:lvl3pPr>
            <a:lvl4pPr marL="1812361" indent="0" algn="ctr">
              <a:buNone/>
              <a:defRPr sz="2115"/>
            </a:lvl4pPr>
            <a:lvl5pPr marL="2416482" indent="0" algn="ctr">
              <a:buNone/>
              <a:defRPr sz="2115"/>
            </a:lvl5pPr>
            <a:lvl6pPr marL="3020600" indent="0" algn="ctr">
              <a:buNone/>
              <a:defRPr sz="2115"/>
            </a:lvl6pPr>
            <a:lvl7pPr marL="3624722" indent="0" algn="ctr">
              <a:buNone/>
              <a:defRPr sz="2115"/>
            </a:lvl7pPr>
            <a:lvl8pPr marL="4228842" indent="0" algn="ctr">
              <a:buNone/>
              <a:defRPr sz="2115"/>
            </a:lvl8pPr>
            <a:lvl9pPr marL="4832963" indent="0" algn="ctr">
              <a:buNone/>
              <a:defRPr sz="2115"/>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9" y="6362717"/>
            <a:ext cx="5594349" cy="298451"/>
          </a:xfrm>
          <a:prstGeom prst="rect">
            <a:avLst/>
          </a:prstGeom>
        </p:spPr>
        <p:txBody>
          <a:bodyPr/>
          <a:lstStyle>
            <a:lvl1pPr>
              <a:spcAft>
                <a:spcPts val="0"/>
              </a:spcAft>
              <a:defRPr sz="104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9"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grpSp>
    </p:spTree>
    <p:extLst>
      <p:ext uri="{BB962C8B-B14F-4D97-AF65-F5344CB8AC3E}">
        <p14:creationId xmlns:p14="http://schemas.microsoft.com/office/powerpoint/2010/main" val="12168253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764"/>
              </a:lnSpc>
              <a:defRPr sz="3173" b="0" i="0">
                <a:solidFill>
                  <a:schemeClr val="tx1"/>
                </a:solidFill>
                <a:latin typeface="Calibri" panose="020F050202020403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475327" y="5845198"/>
            <a:ext cx="5594348" cy="505645"/>
          </a:xfrm>
          <a:prstGeom prst="rect">
            <a:avLst/>
          </a:prstGeom>
        </p:spPr>
        <p:txBody>
          <a:bodyPr lIns="0" tIns="0" rIns="0" bIns="0" anchor="b" anchorCtr="0">
            <a:noAutofit/>
          </a:bodyPr>
          <a:lstStyle>
            <a:lvl1pPr marL="0" indent="0" algn="l">
              <a:lnSpc>
                <a:spcPct val="100000"/>
              </a:lnSpc>
              <a:spcAft>
                <a:spcPts val="0"/>
              </a:spcAft>
              <a:buNone/>
              <a:defRPr sz="1582">
                <a:solidFill>
                  <a:schemeClr val="tx1"/>
                </a:solidFill>
              </a:defRPr>
            </a:lvl1pPr>
            <a:lvl2pPr marL="604120" indent="0" algn="ctr">
              <a:buNone/>
              <a:defRPr sz="2640"/>
            </a:lvl2pPr>
            <a:lvl3pPr marL="1208241" indent="0" algn="ctr">
              <a:buNone/>
              <a:defRPr sz="2382"/>
            </a:lvl3pPr>
            <a:lvl4pPr marL="1812361" indent="0" algn="ctr">
              <a:buNone/>
              <a:defRPr sz="2115"/>
            </a:lvl4pPr>
            <a:lvl5pPr marL="2416482" indent="0" algn="ctr">
              <a:buNone/>
              <a:defRPr sz="2115"/>
            </a:lvl5pPr>
            <a:lvl6pPr marL="3020600" indent="0" algn="ctr">
              <a:buNone/>
              <a:defRPr sz="2115"/>
            </a:lvl6pPr>
            <a:lvl7pPr marL="3624722" indent="0" algn="ctr">
              <a:buNone/>
              <a:defRPr sz="2115"/>
            </a:lvl7pPr>
            <a:lvl8pPr marL="4228842" indent="0" algn="ctr">
              <a:buNone/>
              <a:defRPr sz="2115"/>
            </a:lvl8pPr>
            <a:lvl9pPr marL="4832963" indent="0" algn="ctr">
              <a:buNone/>
              <a:defRPr sz="2115"/>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34" y="6362717"/>
            <a:ext cx="5594349" cy="298451"/>
          </a:xfrm>
          <a:prstGeom prst="rect">
            <a:avLst/>
          </a:prstGeom>
        </p:spPr>
        <p:txBody>
          <a:bodyPr>
            <a:noAutofit/>
          </a:bodyPr>
          <a:lstStyle>
            <a:lvl1pPr>
              <a:spcAft>
                <a:spcPts val="0"/>
              </a:spcAft>
              <a:defRPr sz="104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grpSp>
    </p:spTree>
    <p:extLst>
      <p:ext uri="{BB962C8B-B14F-4D97-AF65-F5344CB8AC3E}">
        <p14:creationId xmlns:p14="http://schemas.microsoft.com/office/powerpoint/2010/main" val="417245668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x">
  <p:cSld name="10_Content">
    <p:spTree>
      <p:nvGrpSpPr>
        <p:cNvPr id="1" name=""/>
        <p:cNvGrpSpPr/>
        <p:nvPr/>
      </p:nvGrpSpPr>
      <p:grpSpPr>
        <a:xfrm>
          <a:off x="0" y="0"/>
          <a:ext cx="0" cy="0"/>
          <a:chOff x="0" y="0"/>
          <a:chExt cx="0" cy="0"/>
        </a:xfrm>
      </p:grpSpPr>
      <p:pic>
        <p:nvPicPr>
          <p:cNvPr id="107" name="Deloitte_Cyber_Pulse_Surround_Isolated_RGB.png" descr="Deloitte_Cyber_Pulse_Surround_Isolated_RGB.png"/>
          <p:cNvPicPr>
            <a:picLocks noChangeAspect="1"/>
          </p:cNvPicPr>
          <p:nvPr/>
        </p:nvPicPr>
        <p:blipFill>
          <a:blip r:embed="rId2">
            <a:alphaModFix amt="20000"/>
          </a:blip>
          <a:stretch>
            <a:fillRect/>
          </a:stretch>
        </p:blipFill>
        <p:spPr>
          <a:xfrm rot="12900000">
            <a:off x="-24568366" y="-18071380"/>
            <a:ext cx="76445784" cy="43000760"/>
          </a:xfrm>
          <a:prstGeom prst="rect">
            <a:avLst/>
          </a:prstGeom>
          <a:ln w="12700">
            <a:miter lim="400000"/>
          </a:ln>
        </p:spPr>
      </p:pic>
      <p:sp>
        <p:nvSpPr>
          <p:cNvPr id="108" name="Body Level One…"/>
          <p:cNvSpPr txBox="1">
            <a:spLocks noGrp="1"/>
          </p:cNvSpPr>
          <p:nvPr>
            <p:ph type="body" sz="quarter" idx="1" hasCustomPrompt="1"/>
          </p:nvPr>
        </p:nvSpPr>
        <p:spPr>
          <a:xfrm>
            <a:off x="482412" y="781887"/>
            <a:ext cx="7432863" cy="454081"/>
          </a:xfrm>
          <a:prstGeom prst="rect">
            <a:avLst/>
          </a:prstGeom>
        </p:spPr>
        <p:txBody>
          <a:bodyPr>
            <a:normAutofit/>
          </a:bodyPr>
          <a:lstStyle>
            <a:lvl1pPr defTabSz="914400">
              <a:defRPr sz="1400">
                <a:solidFill>
                  <a:srgbClr val="404040"/>
                </a:solidFill>
                <a:latin typeface="Open Sans Light"/>
                <a:ea typeface="Open Sans Light"/>
                <a:cs typeface="Open Sans Light"/>
                <a:sym typeface="Open Sans Light"/>
              </a:defRPr>
            </a:lvl1pPr>
            <a:lvl2pPr marL="148166" indent="-148166" defTabSz="914400">
              <a:defRPr sz="1400">
                <a:solidFill>
                  <a:srgbClr val="404040"/>
                </a:solidFill>
                <a:latin typeface="Open Sans Light"/>
                <a:ea typeface="Open Sans Light"/>
                <a:cs typeface="Open Sans Light"/>
                <a:sym typeface="Open Sans Light"/>
              </a:defRPr>
            </a:lvl2pPr>
            <a:lvl3pPr marL="300566" indent="-148166" defTabSz="914400">
              <a:defRPr sz="1400">
                <a:solidFill>
                  <a:srgbClr val="404040"/>
                </a:solidFill>
                <a:latin typeface="Open Sans Light"/>
                <a:ea typeface="Open Sans Light"/>
                <a:cs typeface="Open Sans Light"/>
                <a:sym typeface="Open Sans Light"/>
              </a:defRPr>
            </a:lvl3pPr>
            <a:lvl4pPr marL="452966" indent="-148166" defTabSz="914400">
              <a:defRPr sz="1400">
                <a:solidFill>
                  <a:srgbClr val="404040"/>
                </a:solidFill>
                <a:latin typeface="Open Sans Light"/>
                <a:ea typeface="Open Sans Light"/>
                <a:cs typeface="Open Sans Light"/>
                <a:sym typeface="Open Sans Light"/>
              </a:defRPr>
            </a:lvl4pPr>
            <a:lvl5pPr marL="605366" indent="-148166" defTabSz="914400">
              <a:defRPr sz="1400">
                <a:solidFill>
                  <a:srgbClr val="404040"/>
                </a:solidFill>
                <a:latin typeface="Open Sans Light"/>
                <a:ea typeface="Open Sans Light"/>
                <a:cs typeface="Open Sans Light"/>
                <a:sym typeface="Open Sans Light"/>
              </a:defRPr>
            </a:lvl5pPr>
          </a:lstStyle>
          <a:p>
            <a:r>
              <a:t>Click to add subtitle</a:t>
            </a:r>
          </a:p>
          <a:p>
            <a:pPr lvl="1"/>
            <a:endParaRPr/>
          </a:p>
          <a:p>
            <a:pPr lvl="2"/>
            <a:endParaRPr/>
          </a:p>
          <a:p>
            <a:pPr lvl="3"/>
            <a:endParaRPr/>
          </a:p>
          <a:p>
            <a:pPr lvl="4"/>
            <a:endParaRPr/>
          </a:p>
        </p:txBody>
      </p:sp>
      <p:sp>
        <p:nvSpPr>
          <p:cNvPr id="109" name="Title Text"/>
          <p:cNvSpPr txBox="1">
            <a:spLocks noGrp="1"/>
          </p:cNvSpPr>
          <p:nvPr>
            <p:ph type="title"/>
          </p:nvPr>
        </p:nvSpPr>
        <p:spPr>
          <a:xfrm>
            <a:off x="469901" y="402587"/>
            <a:ext cx="8242301" cy="379302"/>
          </a:xfrm>
          <a:prstGeom prst="rect">
            <a:avLst/>
          </a:prstGeom>
        </p:spPr>
        <p:txBody>
          <a:bodyPr/>
          <a:lstStyle/>
          <a:p>
            <a:r>
              <a:t>Title Text</a:t>
            </a:r>
          </a:p>
        </p:txBody>
      </p:sp>
      <p:sp>
        <p:nvSpPr>
          <p:cNvPr id="110" name="Text Placeholder 10"/>
          <p:cNvSpPr>
            <a:spLocks noGrp="1"/>
          </p:cNvSpPr>
          <p:nvPr>
            <p:ph type="body" sz="quarter" idx="21"/>
          </p:nvPr>
        </p:nvSpPr>
        <p:spPr>
          <a:xfrm>
            <a:off x="4278312" y="1708393"/>
            <a:ext cx="6411913" cy="352426"/>
          </a:xfrm>
          <a:prstGeom prst="rect">
            <a:avLst/>
          </a:prstGeom>
        </p:spPr>
        <p:txBody>
          <a:bodyPr>
            <a:normAutofit/>
          </a:bodyPr>
          <a:lstStyle/>
          <a:p>
            <a:pPr>
              <a:defRPr b="1"/>
            </a:pPr>
            <a:endParaRPr/>
          </a:p>
        </p:txBody>
      </p:sp>
      <p:pic>
        <p:nvPicPr>
          <p:cNvPr id="111" name="Deloitte_Cyber_Pulse_Surround_Isolated_RGB.png" descr="Deloitte_Cyber_Pulse_Surround_Isolated_RGB.png"/>
          <p:cNvPicPr>
            <a:picLocks noChangeAspect="1"/>
          </p:cNvPicPr>
          <p:nvPr/>
        </p:nvPicPr>
        <p:blipFill>
          <a:blip r:embed="rId2">
            <a:alphaModFix amt="20000"/>
          </a:blip>
          <a:stretch>
            <a:fillRect/>
          </a:stretch>
        </p:blipFill>
        <p:spPr>
          <a:xfrm rot="12840000">
            <a:off x="-3689061" y="-6326768"/>
            <a:ext cx="34687173" cy="19511536"/>
          </a:xfrm>
          <a:prstGeom prst="rect">
            <a:avLst/>
          </a:prstGeom>
          <a:ln w="12700">
            <a:miter lim="400000"/>
          </a:ln>
        </p:spPr>
      </p:pic>
      <p:pic>
        <p:nvPicPr>
          <p:cNvPr id="112" name="Deloitte_Cyber_Pulse_Surround_Isolated_RGB.png" descr="Deloitte_Cyber_Pulse_Surround_Isolated_RGB.png"/>
          <p:cNvPicPr>
            <a:picLocks noChangeAspect="1"/>
          </p:cNvPicPr>
          <p:nvPr/>
        </p:nvPicPr>
        <p:blipFill>
          <a:blip r:embed="rId2">
            <a:alphaModFix amt="20000"/>
          </a:blip>
          <a:stretch>
            <a:fillRect/>
          </a:stretch>
        </p:blipFill>
        <p:spPr>
          <a:xfrm rot="8040000">
            <a:off x="7899595" y="191851"/>
            <a:ext cx="11509860" cy="6474297"/>
          </a:xfrm>
          <a:prstGeom prst="rect">
            <a:avLst/>
          </a:prstGeom>
          <a:ln w="12700">
            <a:miter lim="400000"/>
          </a:ln>
        </p:spPr>
      </p:pic>
      <p:sp>
        <p:nvSpPr>
          <p:cNvPr id="14" name="TextBox 13">
            <a:extLst>
              <a:ext uri="{FF2B5EF4-FFF2-40B4-BE49-F238E27FC236}">
                <a16:creationId xmlns:a16="http://schemas.microsoft.com/office/drawing/2014/main" id="{02B519B9-D452-4A1E-B42B-3064DA412E76}"/>
              </a:ext>
            </a:extLst>
          </p:cNvPr>
          <p:cNvSpPr txBox="1"/>
          <p:nvPr userDrawn="1"/>
        </p:nvSpPr>
        <p:spPr>
          <a:xfrm>
            <a:off x="11686646" y="6645763"/>
            <a:ext cx="307975" cy="123111"/>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800" smtClean="0">
                <a:solidFill>
                  <a:schemeClr val="tx2">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pPr algn="r">
                <a:spcBef>
                  <a:spcPts val="800"/>
                </a:spcBef>
                <a:buSzPct val="100000"/>
                <a:buFont typeface="Arial"/>
                <a:buNone/>
              </a:pPr>
              <a:t>‹#›</a:t>
            </a:fld>
            <a:endParaRPr lang="en-US" sz="800">
              <a:solidFill>
                <a:schemeClr val="tx2">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TextBox 1">
            <a:extLst>
              <a:ext uri="{FF2B5EF4-FFF2-40B4-BE49-F238E27FC236}">
                <a16:creationId xmlns:a16="http://schemas.microsoft.com/office/drawing/2014/main" id="{3C9DCEED-734E-7314-CCF7-BBBB901C9CF1}"/>
              </a:ext>
            </a:extLst>
          </p:cNvPr>
          <p:cNvSpPr txBox="1"/>
          <p:nvPr userDrawn="1"/>
        </p:nvSpPr>
        <p:spPr>
          <a:xfrm>
            <a:off x="469900" y="6645763"/>
            <a:ext cx="3473450" cy="107722"/>
          </a:xfrm>
          <a:prstGeom prst="rect">
            <a:avLst/>
          </a:prstGeom>
          <a:noFill/>
        </p:spPr>
        <p:txBody>
          <a:bodyPr wrap="square" lIns="0" tIns="0" rIns="0" bIns="0" rtlCol="0">
            <a:spAutoFit/>
          </a:bodyPr>
          <a:lstStyle/>
          <a:p>
            <a:pPr defTabSz="1219170" hangingPunct="1">
              <a:spcBef>
                <a:spcPts val="800"/>
              </a:spcBef>
              <a:buSzPct val="100000"/>
              <a:buFont typeface="Arial"/>
              <a:buNone/>
            </a:pPr>
            <a:r>
              <a:rPr lang="en-US" sz="700" kern="1200" dirty="0">
                <a:solidFill>
                  <a:srgbClr val="000000"/>
                </a:solidFill>
                <a:latin typeface="+mn-lt"/>
                <a:ea typeface="Verdana" panose="020B0604030504040204" pitchFamily="34" charset="0"/>
                <a:cs typeface="Open Sans Light" panose="020B0306030504020204" pitchFamily="34" charset="0"/>
              </a:rPr>
              <a:t>© 2024 Deloitte &amp; Touche Advisory Saudi Limited. All rights reserved.</a:t>
            </a:r>
          </a:p>
        </p:txBody>
      </p:sp>
    </p:spTree>
    <p:extLst>
      <p:ext uri="{BB962C8B-B14F-4D97-AF65-F5344CB8AC3E}">
        <p14:creationId xmlns:p14="http://schemas.microsoft.com/office/powerpoint/2010/main" val="1113107971"/>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1_Content_2 copy">
    <p:spTree>
      <p:nvGrpSpPr>
        <p:cNvPr id="1" name=""/>
        <p:cNvGrpSpPr/>
        <p:nvPr/>
      </p:nvGrpSpPr>
      <p:grpSpPr>
        <a:xfrm>
          <a:off x="0" y="0"/>
          <a:ext cx="0" cy="0"/>
          <a:chOff x="0" y="0"/>
          <a:chExt cx="0" cy="0"/>
        </a:xfrm>
      </p:grpSpPr>
      <p:pic>
        <p:nvPicPr>
          <p:cNvPr id="175" name="Deloitte_Cyber_Pulse_Surround_Isolated_RGB.png" descr="Deloitte_Cyber_Pulse_Surround_Isolated_RGB.png"/>
          <p:cNvPicPr>
            <a:picLocks noChangeAspect="1"/>
          </p:cNvPicPr>
          <p:nvPr/>
        </p:nvPicPr>
        <p:blipFill>
          <a:blip r:embed="rId2">
            <a:alphaModFix amt="30000"/>
          </a:blip>
          <a:stretch>
            <a:fillRect/>
          </a:stretch>
        </p:blipFill>
        <p:spPr>
          <a:xfrm rot="3900000">
            <a:off x="-23533629" y="-9896961"/>
            <a:ext cx="47381189" cy="26651922"/>
          </a:xfrm>
          <a:prstGeom prst="rect">
            <a:avLst/>
          </a:prstGeom>
          <a:ln w="12700">
            <a:miter lim="400000"/>
          </a:ln>
        </p:spPr>
      </p:pic>
      <p:pic>
        <p:nvPicPr>
          <p:cNvPr id="176" name="Deloitte_Cyber_Pulse_Surround_Isolated_RGB.png" descr="Deloitte_Cyber_Pulse_Surround_Isolated_RGB.png"/>
          <p:cNvPicPr>
            <a:picLocks noChangeAspect="1"/>
          </p:cNvPicPr>
          <p:nvPr/>
        </p:nvPicPr>
        <p:blipFill>
          <a:blip r:embed="rId2">
            <a:alphaModFix amt="30000"/>
          </a:blip>
          <a:stretch>
            <a:fillRect/>
          </a:stretch>
        </p:blipFill>
        <p:spPr>
          <a:xfrm>
            <a:off x="-14195075" y="-4644024"/>
            <a:ext cx="28704078" cy="16146046"/>
          </a:xfrm>
          <a:prstGeom prst="rect">
            <a:avLst/>
          </a:prstGeom>
          <a:ln w="12700">
            <a:miter lim="400000"/>
          </a:ln>
        </p:spPr>
      </p:pic>
      <p:pic>
        <p:nvPicPr>
          <p:cNvPr id="177" name="Deloitte_Cyber_Pulse_Surround_Isolated_RGB.png" descr="Deloitte_Cyber_Pulse_Surround_Isolated_RGB.png"/>
          <p:cNvPicPr>
            <a:picLocks noChangeAspect="1"/>
          </p:cNvPicPr>
          <p:nvPr/>
        </p:nvPicPr>
        <p:blipFill>
          <a:blip r:embed="rId2">
            <a:alphaModFix amt="30000"/>
          </a:blip>
          <a:stretch>
            <a:fillRect/>
          </a:stretch>
        </p:blipFill>
        <p:spPr>
          <a:xfrm rot="16800000">
            <a:off x="-5691154" y="139433"/>
            <a:ext cx="11696236" cy="6579133"/>
          </a:xfrm>
          <a:prstGeom prst="rect">
            <a:avLst/>
          </a:prstGeom>
          <a:ln w="12700">
            <a:miter lim="400000"/>
          </a:ln>
        </p:spPr>
      </p:pic>
      <p:sp>
        <p:nvSpPr>
          <p:cNvPr id="11" name="TextBox 10">
            <a:extLst>
              <a:ext uri="{FF2B5EF4-FFF2-40B4-BE49-F238E27FC236}">
                <a16:creationId xmlns:a16="http://schemas.microsoft.com/office/drawing/2014/main" id="{C873C72F-00F7-447B-A8D4-40754F86B2AB}"/>
              </a:ext>
            </a:extLst>
          </p:cNvPr>
          <p:cNvSpPr txBox="1"/>
          <p:nvPr userDrawn="1"/>
        </p:nvSpPr>
        <p:spPr>
          <a:xfrm>
            <a:off x="11686646" y="6645763"/>
            <a:ext cx="307975" cy="123111"/>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800" smtClean="0">
                <a:solidFill>
                  <a:schemeClr val="tx2">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pPr algn="r">
                <a:spcBef>
                  <a:spcPts val="800"/>
                </a:spcBef>
                <a:buSzPct val="100000"/>
                <a:buFont typeface="Arial"/>
                <a:buNone/>
              </a:pPr>
              <a:t>‹#›</a:t>
            </a:fld>
            <a:endParaRPr lang="en-US" sz="800">
              <a:solidFill>
                <a:schemeClr val="tx2">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TextBox 2">
            <a:extLst>
              <a:ext uri="{FF2B5EF4-FFF2-40B4-BE49-F238E27FC236}">
                <a16:creationId xmlns:a16="http://schemas.microsoft.com/office/drawing/2014/main" id="{270AAE54-DB83-BF32-09EA-7CA572F6D484}"/>
              </a:ext>
            </a:extLst>
          </p:cNvPr>
          <p:cNvSpPr txBox="1"/>
          <p:nvPr userDrawn="1"/>
        </p:nvSpPr>
        <p:spPr>
          <a:xfrm>
            <a:off x="469900" y="6645763"/>
            <a:ext cx="3473450" cy="107722"/>
          </a:xfrm>
          <a:prstGeom prst="rect">
            <a:avLst/>
          </a:prstGeom>
          <a:noFill/>
        </p:spPr>
        <p:txBody>
          <a:bodyPr wrap="square" lIns="0" tIns="0" rIns="0" bIns="0" rtlCol="0">
            <a:spAutoFit/>
          </a:bodyPr>
          <a:lstStyle/>
          <a:p>
            <a:pPr defTabSz="1219170" hangingPunct="1">
              <a:spcBef>
                <a:spcPts val="800"/>
              </a:spcBef>
              <a:buSzPct val="100000"/>
              <a:buFont typeface="Arial"/>
              <a:buNone/>
            </a:pPr>
            <a:r>
              <a:rPr lang="en-US" sz="700" kern="1200" dirty="0">
                <a:solidFill>
                  <a:srgbClr val="000000"/>
                </a:solidFill>
                <a:latin typeface="+mn-lt"/>
                <a:ea typeface="Verdana" panose="020B0604030504040204" pitchFamily="34" charset="0"/>
                <a:cs typeface="Open Sans Light" panose="020B0306030504020204" pitchFamily="34" charset="0"/>
              </a:rPr>
              <a:t>© 2024 Deloitte &amp; Touche Advisory Saudi Limited. All rights reserved.</a:t>
            </a:r>
          </a:p>
        </p:txBody>
      </p:sp>
    </p:spTree>
    <p:extLst>
      <p:ext uri="{BB962C8B-B14F-4D97-AF65-F5344CB8AC3E}">
        <p14:creationId xmlns:p14="http://schemas.microsoft.com/office/powerpoint/2010/main" val="3231307214"/>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9_Cont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18D5F0-81F1-424D-AD01-0328C3DE05E1}"/>
              </a:ext>
            </a:extLst>
          </p:cNvPr>
          <p:cNvPicPr>
            <a:picLocks noChangeAspect="1"/>
          </p:cNvPicPr>
          <p:nvPr userDrawn="1"/>
        </p:nvPicPr>
        <p:blipFill>
          <a:blip r:embed="rId2"/>
          <a:stretch>
            <a:fillRect/>
          </a:stretch>
        </p:blipFill>
        <p:spPr>
          <a:xfrm>
            <a:off x="-81534" y="-57389"/>
            <a:ext cx="12355068" cy="6972777"/>
          </a:xfrm>
          <a:prstGeom prst="rect">
            <a:avLst/>
          </a:prstGeom>
        </p:spPr>
      </p:pic>
      <p:sp>
        <p:nvSpPr>
          <p:cNvPr id="15" name="Body Level One…">
            <a:extLst>
              <a:ext uri="{FF2B5EF4-FFF2-40B4-BE49-F238E27FC236}">
                <a16:creationId xmlns:a16="http://schemas.microsoft.com/office/drawing/2014/main" id="{56312AC7-0B61-4677-BE26-1EFCB17DD64F}"/>
              </a:ext>
            </a:extLst>
          </p:cNvPr>
          <p:cNvSpPr txBox="1">
            <a:spLocks noGrp="1"/>
          </p:cNvSpPr>
          <p:nvPr>
            <p:ph type="body" sz="quarter" idx="1" hasCustomPrompt="1"/>
          </p:nvPr>
        </p:nvSpPr>
        <p:spPr>
          <a:xfrm>
            <a:off x="482412" y="781887"/>
            <a:ext cx="7432863" cy="454081"/>
          </a:xfrm>
          <a:prstGeom prst="rect">
            <a:avLst/>
          </a:prstGeom>
        </p:spPr>
        <p:txBody>
          <a:bodyPr>
            <a:normAutofit/>
          </a:bodyPr>
          <a:lstStyle>
            <a:lvl1pPr defTabSz="914400">
              <a:defRPr sz="1400">
                <a:solidFill>
                  <a:srgbClr val="404040"/>
                </a:solidFill>
                <a:latin typeface="Open Sans Light"/>
                <a:ea typeface="Open Sans Light"/>
                <a:cs typeface="Open Sans Light"/>
                <a:sym typeface="Open Sans Light"/>
              </a:defRPr>
            </a:lvl1pPr>
            <a:lvl2pPr marL="148166" indent="-148166" defTabSz="914400">
              <a:defRPr sz="1400">
                <a:solidFill>
                  <a:srgbClr val="404040"/>
                </a:solidFill>
                <a:latin typeface="Open Sans Light"/>
                <a:ea typeface="Open Sans Light"/>
                <a:cs typeface="Open Sans Light"/>
                <a:sym typeface="Open Sans Light"/>
              </a:defRPr>
            </a:lvl2pPr>
            <a:lvl3pPr marL="300566" indent="-148166" defTabSz="914400">
              <a:defRPr sz="1400">
                <a:solidFill>
                  <a:srgbClr val="404040"/>
                </a:solidFill>
                <a:latin typeface="Open Sans Light"/>
                <a:ea typeface="Open Sans Light"/>
                <a:cs typeface="Open Sans Light"/>
                <a:sym typeface="Open Sans Light"/>
              </a:defRPr>
            </a:lvl3pPr>
            <a:lvl4pPr marL="452966" indent="-148166" defTabSz="914400">
              <a:defRPr sz="1400">
                <a:solidFill>
                  <a:srgbClr val="404040"/>
                </a:solidFill>
                <a:latin typeface="Open Sans Light"/>
                <a:ea typeface="Open Sans Light"/>
                <a:cs typeface="Open Sans Light"/>
                <a:sym typeface="Open Sans Light"/>
              </a:defRPr>
            </a:lvl4pPr>
            <a:lvl5pPr marL="605366" indent="-148166" defTabSz="914400">
              <a:defRPr sz="1400">
                <a:solidFill>
                  <a:srgbClr val="404040"/>
                </a:solidFill>
                <a:latin typeface="Open Sans Light"/>
                <a:ea typeface="Open Sans Light"/>
                <a:cs typeface="Open Sans Light"/>
                <a:sym typeface="Open Sans Light"/>
              </a:defRPr>
            </a:lvl5pPr>
          </a:lstStyle>
          <a:p>
            <a:r>
              <a:t>Click to add subtitle</a:t>
            </a:r>
          </a:p>
          <a:p>
            <a:pPr lvl="1"/>
            <a:endParaRPr/>
          </a:p>
          <a:p>
            <a:pPr lvl="2"/>
            <a:endParaRPr/>
          </a:p>
          <a:p>
            <a:pPr lvl="3"/>
            <a:endParaRPr/>
          </a:p>
          <a:p>
            <a:pPr lvl="4"/>
            <a:endParaRPr/>
          </a:p>
        </p:txBody>
      </p:sp>
      <p:sp>
        <p:nvSpPr>
          <p:cNvPr id="16" name="Title Text">
            <a:extLst>
              <a:ext uri="{FF2B5EF4-FFF2-40B4-BE49-F238E27FC236}">
                <a16:creationId xmlns:a16="http://schemas.microsoft.com/office/drawing/2014/main" id="{EBBA9E5C-42C9-450F-9F83-58BE6DB32A51}"/>
              </a:ext>
            </a:extLst>
          </p:cNvPr>
          <p:cNvSpPr txBox="1">
            <a:spLocks noGrp="1"/>
          </p:cNvSpPr>
          <p:nvPr>
            <p:ph type="title"/>
          </p:nvPr>
        </p:nvSpPr>
        <p:spPr>
          <a:xfrm>
            <a:off x="469901" y="402587"/>
            <a:ext cx="8242301" cy="379302"/>
          </a:xfrm>
          <a:prstGeom prst="rect">
            <a:avLst/>
          </a:prstGeom>
        </p:spPr>
        <p:txBody>
          <a:bodyPr/>
          <a:lstStyle/>
          <a:p>
            <a:r>
              <a:t>Title Text</a:t>
            </a:r>
          </a:p>
        </p:txBody>
      </p:sp>
      <p:sp>
        <p:nvSpPr>
          <p:cNvPr id="2" name="TextBox 1">
            <a:extLst>
              <a:ext uri="{FF2B5EF4-FFF2-40B4-BE49-F238E27FC236}">
                <a16:creationId xmlns:a16="http://schemas.microsoft.com/office/drawing/2014/main" id="{E9782564-BD2D-5118-B25A-A400BFAAB13B}"/>
              </a:ext>
            </a:extLst>
          </p:cNvPr>
          <p:cNvSpPr txBox="1"/>
          <p:nvPr userDrawn="1"/>
        </p:nvSpPr>
        <p:spPr>
          <a:xfrm>
            <a:off x="11686646" y="6645763"/>
            <a:ext cx="307975" cy="123111"/>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800" smtClean="0">
                <a:solidFill>
                  <a:schemeClr val="tx2">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pPr algn="r">
                <a:spcBef>
                  <a:spcPts val="800"/>
                </a:spcBef>
                <a:buSzPct val="100000"/>
                <a:buFont typeface="Arial"/>
                <a:buNone/>
              </a:pPr>
              <a:t>‹#›</a:t>
            </a:fld>
            <a:endParaRPr lang="en-US" sz="800">
              <a:solidFill>
                <a:schemeClr val="tx2">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TextBox 3">
            <a:extLst>
              <a:ext uri="{FF2B5EF4-FFF2-40B4-BE49-F238E27FC236}">
                <a16:creationId xmlns:a16="http://schemas.microsoft.com/office/drawing/2014/main" id="{AEF50FF2-62D0-3C3C-F804-653AF978AD84}"/>
              </a:ext>
            </a:extLst>
          </p:cNvPr>
          <p:cNvSpPr txBox="1"/>
          <p:nvPr userDrawn="1"/>
        </p:nvSpPr>
        <p:spPr>
          <a:xfrm>
            <a:off x="469900" y="6645763"/>
            <a:ext cx="3473450" cy="107722"/>
          </a:xfrm>
          <a:prstGeom prst="rect">
            <a:avLst/>
          </a:prstGeom>
          <a:noFill/>
        </p:spPr>
        <p:txBody>
          <a:bodyPr wrap="square" lIns="0" tIns="0" rIns="0" bIns="0" rtlCol="0">
            <a:spAutoFit/>
          </a:bodyPr>
          <a:lstStyle/>
          <a:p>
            <a:pPr defTabSz="1219170" hangingPunct="1">
              <a:spcBef>
                <a:spcPts val="800"/>
              </a:spcBef>
              <a:buSzPct val="100000"/>
              <a:buFont typeface="Arial"/>
              <a:buNone/>
            </a:pPr>
            <a:r>
              <a:rPr lang="en-US" sz="700" kern="1200" dirty="0">
                <a:solidFill>
                  <a:srgbClr val="000000"/>
                </a:solidFill>
                <a:latin typeface="+mn-lt"/>
                <a:ea typeface="Verdana" panose="020B0604030504040204" pitchFamily="34" charset="0"/>
                <a:cs typeface="Open Sans Light" panose="020B0306030504020204" pitchFamily="34" charset="0"/>
              </a:rPr>
              <a:t>© 2024 Deloitte &amp; Touche Advisory Saudi Limited. All rights reserved.</a:t>
            </a:r>
          </a:p>
        </p:txBody>
      </p:sp>
    </p:spTree>
    <p:extLst>
      <p:ext uri="{BB962C8B-B14F-4D97-AF65-F5344CB8AC3E}">
        <p14:creationId xmlns:p14="http://schemas.microsoft.com/office/powerpoint/2010/main" val="2357810075"/>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latin typeface="Calibri" panose="020F0502020204030204" pitchFamily="34" charset="0"/>
                <a:cs typeface="Calibri" panose="020F0502020204030204" pitchFamily="34" charset="0"/>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atin typeface="Calibri" panose="020F0502020204030204" pitchFamily="34" charset="0"/>
                <a:cs typeface="Calibri" panose="020F0502020204030204" pitchFamily="34" charset="0"/>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rmAutofit/>
          </a:bodyPr>
          <a:lstStyle>
            <a:lvl1pPr>
              <a:defRPr sz="1200">
                <a:latin typeface="Calibri" panose="020F0502020204030204" pitchFamily="34" charset="0"/>
                <a:cs typeface="Calibri" panose="020F0502020204030204" pitchFamily="34" charset="0"/>
              </a:defRPr>
            </a:lvl1pPr>
          </a:lstStyle>
          <a:p>
            <a:r>
              <a:rPr lang="en-US"/>
              <a:t>Click icon to add chart</a:t>
            </a:r>
            <a:endParaRPr lang="en-GB"/>
          </a:p>
        </p:txBody>
      </p:sp>
      <p:sp>
        <p:nvSpPr>
          <p:cNvPr id="18" name="Text Placeholder 8"/>
          <p:cNvSpPr>
            <a:spLocks noGrp="1"/>
          </p:cNvSpPr>
          <p:nvPr>
            <p:ph type="body" sz="quarter" idx="18"/>
          </p:nvPr>
        </p:nvSpPr>
        <p:spPr>
          <a:xfrm>
            <a:off x="501652" y="1700214"/>
            <a:ext cx="11188699" cy="357187"/>
          </a:xfrm>
        </p:spPr>
        <p:txBody>
          <a:bodyPr>
            <a:normAutofit/>
          </a:bodyPr>
          <a:lstStyle>
            <a:lvl1pPr>
              <a:defRPr sz="1200">
                <a:latin typeface="Calibri" panose="020F0502020204030204" pitchFamily="34" charset="0"/>
                <a:cs typeface="Calibri" panose="020F0502020204030204" pitchFamily="34" charset="0"/>
              </a:defRPr>
            </a:lvl1p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51200956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latin typeface="Calibri" panose="020F0502020204030204" pitchFamily="34" charset="0"/>
                <a:cs typeface="Calibri" panose="020F0502020204030204" pitchFamily="34" charset="0"/>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atin typeface="Calibri" panose="020F0502020204030204" pitchFamily="34" charset="0"/>
                <a:cs typeface="Calibri" panose="020F0502020204030204" pitchFamily="34" charset="0"/>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rmAutofit/>
          </a:bodyPr>
          <a:lstStyle>
            <a:lvl1pPr>
              <a:defRPr sz="1200">
                <a:latin typeface="Calibri" panose="020F0502020204030204" pitchFamily="34" charset="0"/>
                <a:cs typeface="Calibri" panose="020F0502020204030204" pitchFamily="34" charset="0"/>
              </a:defRPr>
            </a:lvl1pPr>
          </a:lstStyle>
          <a:p>
            <a:r>
              <a:rPr lang="en-US"/>
              <a:t>Click icon to add chart</a:t>
            </a:r>
            <a:endParaRPr lang="en-GB"/>
          </a:p>
        </p:txBody>
      </p:sp>
      <p:sp>
        <p:nvSpPr>
          <p:cNvPr id="18" name="Text Placeholder 8"/>
          <p:cNvSpPr>
            <a:spLocks noGrp="1"/>
          </p:cNvSpPr>
          <p:nvPr>
            <p:ph type="body" sz="quarter" idx="18"/>
          </p:nvPr>
        </p:nvSpPr>
        <p:spPr>
          <a:xfrm>
            <a:off x="501652" y="1700214"/>
            <a:ext cx="11188699" cy="357187"/>
          </a:xfrm>
        </p:spPr>
        <p:txBody>
          <a:bodyPr>
            <a:normAutofit/>
          </a:bodyPr>
          <a:lstStyle>
            <a:lvl1pPr>
              <a:defRPr sz="1200">
                <a:latin typeface="Calibri" panose="020F0502020204030204" pitchFamily="34" charset="0"/>
                <a:cs typeface="Calibri" panose="020F0502020204030204" pitchFamily="34" charset="0"/>
              </a:defRPr>
            </a:lvl1p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285151661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6966930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1228060" y="5624830"/>
            <a:ext cx="2743200" cy="365125"/>
          </a:xfrm>
          <a:prstGeom prst="rect">
            <a:avLst/>
          </a:prstGeom>
        </p:spPr>
        <p:txBody>
          <a:bodyPr/>
          <a:lstStyle/>
          <a:p>
            <a:fld id="{7199CA2E-8D49-4D2A-BD5B-8BA8C6570D76}" type="datetimeFigureOut">
              <a:rPr lang="en-US" smtClean="0"/>
              <a:t>1/19/2024</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51A5ABC8-7F1F-4B09-9BCE-606DC876E028}" type="slidenum">
              <a:rPr lang="en-US" smtClean="0"/>
              <a:t>‹#›</a:t>
            </a:fld>
            <a:endParaRPr lang="en-US"/>
          </a:p>
        </p:txBody>
      </p:sp>
      <p:sp>
        <p:nvSpPr>
          <p:cNvPr id="5" name="Rectangle 4">
            <a:extLst>
              <a:ext uri="{FF2B5EF4-FFF2-40B4-BE49-F238E27FC236}">
                <a16:creationId xmlns:a16="http://schemas.microsoft.com/office/drawing/2014/main" id="{7532A876-E59C-499F-8796-39B1A849E358}"/>
              </a:ext>
            </a:extLst>
          </p:cNvPr>
          <p:cNvSpPr/>
          <p:nvPr userDrawn="1"/>
        </p:nvSpPr>
        <p:spPr>
          <a:xfrm>
            <a:off x="0" y="1"/>
            <a:ext cx="2456121" cy="6614160"/>
          </a:xfrm>
          <a:prstGeom prst="rect">
            <a:avLst/>
          </a:prstGeom>
          <a:solidFill>
            <a:srgbClr val="00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0242383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3" Type="http://schemas.openxmlformats.org/officeDocument/2006/relationships/slideLayout" Target="../slideLayouts/slideLayout9.xml"/><Relationship Id="rId21" Type="http://schemas.openxmlformats.org/officeDocument/2006/relationships/tags" Target="../tags/tag1.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theme" Target="../theme/theme2.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image" Target="../media/image6.emf"/><Relationship Id="rId10" Type="http://schemas.openxmlformats.org/officeDocument/2006/relationships/slideLayout" Target="../slideLayouts/slideLayout16.xml"/><Relationship Id="rId19" Type="http://schemas.openxmlformats.org/officeDocument/2006/relationships/slideLayout" Target="../slideLayouts/slideLayout25.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28.xml"/><Relationship Id="rId7" Type="http://schemas.openxmlformats.org/officeDocument/2006/relationships/image" Target="../media/image9.png"/><Relationship Id="rId12" Type="http://schemas.openxmlformats.org/officeDocument/2006/relationships/image" Target="../media/image6.emf"/><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ags" Target="../tags/tag2.xml"/><Relationship Id="rId11" Type="http://schemas.openxmlformats.org/officeDocument/2006/relationships/oleObject" Target="../embeddings/oleObject2.bin"/><Relationship Id="rId5" Type="http://schemas.openxmlformats.org/officeDocument/2006/relationships/theme" Target="../theme/theme3.xml"/><Relationship Id="rId10" Type="http://schemas.microsoft.com/office/2007/relationships/hdphoto" Target="../media/hdphoto2.wdp"/><Relationship Id="rId4" Type="http://schemas.openxmlformats.org/officeDocument/2006/relationships/slideLayout" Target="../slideLayouts/slideLayout29.xml"/><Relationship Id="rId9"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Title Text"/>
          <p:cNvSpPr txBox="1">
            <a:spLocks noGrp="1"/>
          </p:cNvSpPr>
          <p:nvPr>
            <p:ph type="title"/>
          </p:nvPr>
        </p:nvSpPr>
        <p:spPr>
          <a:xfrm>
            <a:off x="469900" y="402585"/>
            <a:ext cx="11252200" cy="69215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p>
            <a:r>
              <a:t>Title Text</a:t>
            </a:r>
          </a:p>
        </p:txBody>
      </p:sp>
      <p:sp>
        <p:nvSpPr>
          <p:cNvPr id="6" name="Body Level One…"/>
          <p:cNvSpPr txBox="1">
            <a:spLocks noGrp="1"/>
          </p:cNvSpPr>
          <p:nvPr>
            <p:ph type="body" idx="1"/>
          </p:nvPr>
        </p:nvSpPr>
        <p:spPr>
          <a:xfrm>
            <a:off x="609600" y="1600200"/>
            <a:ext cx="10972800" cy="39542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Body Level One</a:t>
            </a:r>
          </a:p>
          <a:p>
            <a:pPr lvl="1"/>
            <a:r>
              <a:t>Body Level Two</a:t>
            </a:r>
          </a:p>
          <a:p>
            <a:pPr lvl="2"/>
            <a:r>
              <a:t>Body Level Three</a:t>
            </a:r>
          </a:p>
          <a:p>
            <a:pPr lvl="3"/>
            <a:r>
              <a:t>Body Level Four</a:t>
            </a:r>
          </a:p>
          <a:p>
            <a:pPr lvl="4"/>
            <a:r>
              <a:t>Body Level Five</a:t>
            </a:r>
          </a:p>
        </p:txBody>
      </p:sp>
      <p:sp>
        <p:nvSpPr>
          <p:cNvPr id="10" name="TextBox 9">
            <a:extLst>
              <a:ext uri="{FF2B5EF4-FFF2-40B4-BE49-F238E27FC236}">
                <a16:creationId xmlns:a16="http://schemas.microsoft.com/office/drawing/2014/main" id="{161B543E-1C98-40D1-8FE2-8B80F1326F87}"/>
              </a:ext>
            </a:extLst>
          </p:cNvPr>
          <p:cNvSpPr txBox="1"/>
          <p:nvPr userDrawn="1"/>
        </p:nvSpPr>
        <p:spPr>
          <a:xfrm>
            <a:off x="469900" y="6645763"/>
            <a:ext cx="3473450" cy="107722"/>
          </a:xfrm>
          <a:prstGeom prst="rect">
            <a:avLst/>
          </a:prstGeom>
          <a:noFill/>
        </p:spPr>
        <p:txBody>
          <a:bodyPr wrap="square" lIns="0" tIns="0" rIns="0" bIns="0" rtlCol="0">
            <a:spAutoFit/>
          </a:bodyPr>
          <a:lstStyle/>
          <a:p>
            <a:pPr defTabSz="1219170" hangingPunct="1">
              <a:spcBef>
                <a:spcPts val="800"/>
              </a:spcBef>
              <a:buSzPct val="100000"/>
              <a:buFont typeface="Arial"/>
              <a:buNone/>
            </a:pPr>
            <a:r>
              <a:rPr lang="en-US" sz="700" kern="1200" dirty="0">
                <a:solidFill>
                  <a:srgbClr val="000000"/>
                </a:solidFill>
                <a:latin typeface="+mn-lt"/>
                <a:ea typeface="Verdana" panose="020B0604030504040204" pitchFamily="34" charset="0"/>
                <a:cs typeface="Open Sans Light" panose="020B0306030504020204" pitchFamily="34" charset="0"/>
              </a:rPr>
              <a:t>© 2024 Deloitte &amp; Touche Advisory Saudi Limited. All rights reserved.</a:t>
            </a:r>
          </a:p>
        </p:txBody>
      </p:sp>
      <p:sp>
        <p:nvSpPr>
          <p:cNvPr id="7" name="TextBox 6">
            <a:extLst>
              <a:ext uri="{FF2B5EF4-FFF2-40B4-BE49-F238E27FC236}">
                <a16:creationId xmlns:a16="http://schemas.microsoft.com/office/drawing/2014/main" id="{1C8F9BDC-69FB-402D-85F3-F927147F6807}"/>
              </a:ext>
            </a:extLst>
          </p:cNvPr>
          <p:cNvSpPr txBox="1"/>
          <p:nvPr userDrawn="1"/>
        </p:nvSpPr>
        <p:spPr>
          <a:xfrm>
            <a:off x="11534246" y="6662329"/>
            <a:ext cx="307975" cy="123111"/>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800" smtClean="0">
                <a:solidFill>
                  <a:schemeClr val="tx1"/>
                </a:solidFill>
                <a:latin typeface="+mn-lt"/>
                <a:ea typeface="Verdana" panose="020B0604030504040204" pitchFamily="34" charset="0"/>
                <a:cs typeface="Calibri" panose="020F0502020204030204" pitchFamily="34" charset="0"/>
              </a:rPr>
              <a:pPr algn="r">
                <a:spcBef>
                  <a:spcPts val="800"/>
                </a:spcBef>
                <a:buSzPct val="100000"/>
                <a:buFont typeface="Arial"/>
                <a:buNone/>
              </a:pPr>
              <a:t>‹#›</a:t>
            </a:fld>
            <a:endParaRPr lang="en-US" sz="800">
              <a:solidFill>
                <a:schemeClr val="tx1"/>
              </a:solidFill>
              <a:latin typeface="+mn-lt"/>
              <a:ea typeface="Verdana" panose="020B060403050404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5A9519E9-BBEE-45BF-A364-E7F303600008}"/>
              </a:ext>
            </a:extLst>
          </p:cNvPr>
          <p:cNvSpPr txBox="1"/>
          <p:nvPr userDrawn="1"/>
        </p:nvSpPr>
        <p:spPr>
          <a:xfrm>
            <a:off x="11686646" y="6645763"/>
            <a:ext cx="307975" cy="123111"/>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800" smtClean="0">
                <a:solidFill>
                  <a:schemeClr val="tx2">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pPr algn="r">
                <a:spcBef>
                  <a:spcPts val="800"/>
                </a:spcBef>
                <a:buSzPct val="100000"/>
                <a:buFont typeface="Arial"/>
                <a:buNone/>
              </a:pPr>
              <a:t>‹#›</a:t>
            </a:fld>
            <a:endParaRPr lang="en-US" sz="800">
              <a:solidFill>
                <a:schemeClr val="tx2">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564118489"/>
      </p:ext>
    </p:extLst>
  </p:cSld>
  <p:clrMap bg1="dk1" tx1="lt1" bg2="dk2" tx2="lt2" accent1="accent1" accent2="accent2" accent3="accent3" accent4="accent4" accent5="accent5" accent6="accent6" hlink="hlink" folHlink="folHlink"/>
  <p:sldLayoutIdLst>
    <p:sldLayoutId id="2147483692" r:id="rId1"/>
    <p:sldLayoutId id="2147483694" r:id="rId2"/>
    <p:sldLayoutId id="2147483695" r:id="rId3"/>
    <p:sldLayoutId id="2147483696" r:id="rId4"/>
    <p:sldLayoutId id="2147483712" r:id="rId5"/>
    <p:sldLayoutId id="2147483744" r:id="rId6"/>
  </p:sldLayoutIdLst>
  <p:transition spd="med"/>
  <p:hf hdr="0" ftr="0" dt="0"/>
  <p:txStyles>
    <p:titleStyle>
      <a:lvl1pPr marL="0" marR="0" indent="0" algn="l" defTabSz="1219169" rtl="0" latinLnBrk="0">
        <a:lnSpc>
          <a:spcPct val="100000"/>
        </a:lnSpc>
        <a:spcBef>
          <a:spcPts val="0"/>
        </a:spcBef>
        <a:spcAft>
          <a:spcPts val="0"/>
        </a:spcAft>
        <a:buClrTx/>
        <a:buSzTx/>
        <a:buFontTx/>
        <a:buNone/>
        <a:tabLst/>
        <a:defRPr sz="2000" b="1" i="0" u="none" strike="noStrike" cap="none" spc="0" baseline="0">
          <a:solidFill>
            <a:srgbClr val="000000"/>
          </a:solidFill>
          <a:uFillTx/>
          <a:latin typeface="Open Sans Semibold"/>
          <a:ea typeface="Open Sans Semibold"/>
          <a:cs typeface="Open Sans Semibold"/>
          <a:sym typeface="Open Sans Semibold"/>
        </a:defRPr>
      </a:lvl1pPr>
      <a:lvl2pPr marL="0" marR="0" indent="0" algn="l" defTabSz="1219169" rtl="0" latinLnBrk="0">
        <a:lnSpc>
          <a:spcPct val="100000"/>
        </a:lnSpc>
        <a:spcBef>
          <a:spcPts val="0"/>
        </a:spcBef>
        <a:spcAft>
          <a:spcPts val="0"/>
        </a:spcAft>
        <a:buClrTx/>
        <a:buSzTx/>
        <a:buFontTx/>
        <a:buNone/>
        <a:tabLst/>
        <a:defRPr sz="2000" b="1" i="0" u="none" strike="noStrike" cap="none" spc="0" baseline="0">
          <a:solidFill>
            <a:srgbClr val="000000"/>
          </a:solidFill>
          <a:uFillTx/>
          <a:latin typeface="Open Sans Semibold"/>
          <a:ea typeface="Open Sans Semibold"/>
          <a:cs typeface="Open Sans Semibold"/>
          <a:sym typeface="Open Sans Semibold"/>
        </a:defRPr>
      </a:lvl2pPr>
      <a:lvl3pPr marL="0" marR="0" indent="0" algn="l" defTabSz="1219169" rtl="0" latinLnBrk="0">
        <a:lnSpc>
          <a:spcPct val="100000"/>
        </a:lnSpc>
        <a:spcBef>
          <a:spcPts val="0"/>
        </a:spcBef>
        <a:spcAft>
          <a:spcPts val="0"/>
        </a:spcAft>
        <a:buClrTx/>
        <a:buSzTx/>
        <a:buFontTx/>
        <a:buNone/>
        <a:tabLst/>
        <a:defRPr sz="2000" b="1" i="0" u="none" strike="noStrike" cap="none" spc="0" baseline="0">
          <a:solidFill>
            <a:srgbClr val="000000"/>
          </a:solidFill>
          <a:uFillTx/>
          <a:latin typeface="Open Sans Semibold"/>
          <a:ea typeface="Open Sans Semibold"/>
          <a:cs typeface="Open Sans Semibold"/>
          <a:sym typeface="Open Sans Semibold"/>
        </a:defRPr>
      </a:lvl3pPr>
      <a:lvl4pPr marL="0" marR="0" indent="0" algn="l" defTabSz="1219169" rtl="0" latinLnBrk="0">
        <a:lnSpc>
          <a:spcPct val="100000"/>
        </a:lnSpc>
        <a:spcBef>
          <a:spcPts val="0"/>
        </a:spcBef>
        <a:spcAft>
          <a:spcPts val="0"/>
        </a:spcAft>
        <a:buClrTx/>
        <a:buSzTx/>
        <a:buFontTx/>
        <a:buNone/>
        <a:tabLst/>
        <a:defRPr sz="2000" b="1" i="0" u="none" strike="noStrike" cap="none" spc="0" baseline="0">
          <a:solidFill>
            <a:srgbClr val="000000"/>
          </a:solidFill>
          <a:uFillTx/>
          <a:latin typeface="Open Sans Semibold"/>
          <a:ea typeface="Open Sans Semibold"/>
          <a:cs typeface="Open Sans Semibold"/>
          <a:sym typeface="Open Sans Semibold"/>
        </a:defRPr>
      </a:lvl4pPr>
      <a:lvl5pPr marL="0" marR="0" indent="0" algn="l" defTabSz="1219169" rtl="0" latinLnBrk="0">
        <a:lnSpc>
          <a:spcPct val="100000"/>
        </a:lnSpc>
        <a:spcBef>
          <a:spcPts val="0"/>
        </a:spcBef>
        <a:spcAft>
          <a:spcPts val="0"/>
        </a:spcAft>
        <a:buClrTx/>
        <a:buSzTx/>
        <a:buFontTx/>
        <a:buNone/>
        <a:tabLst/>
        <a:defRPr sz="2000" b="1" i="0" u="none" strike="noStrike" cap="none" spc="0" baseline="0">
          <a:solidFill>
            <a:srgbClr val="000000"/>
          </a:solidFill>
          <a:uFillTx/>
          <a:latin typeface="Open Sans Semibold"/>
          <a:ea typeface="Open Sans Semibold"/>
          <a:cs typeface="Open Sans Semibold"/>
          <a:sym typeface="Open Sans Semibold"/>
        </a:defRPr>
      </a:lvl5pPr>
      <a:lvl6pPr marL="0" marR="0" indent="0" algn="l" defTabSz="1219169" rtl="0" latinLnBrk="0">
        <a:lnSpc>
          <a:spcPct val="100000"/>
        </a:lnSpc>
        <a:spcBef>
          <a:spcPts val="0"/>
        </a:spcBef>
        <a:spcAft>
          <a:spcPts val="0"/>
        </a:spcAft>
        <a:buClrTx/>
        <a:buSzTx/>
        <a:buFontTx/>
        <a:buNone/>
        <a:tabLst/>
        <a:defRPr sz="2000" b="1" i="0" u="none" strike="noStrike" cap="none" spc="0" baseline="0">
          <a:solidFill>
            <a:srgbClr val="000000"/>
          </a:solidFill>
          <a:uFillTx/>
          <a:latin typeface="Open Sans Semibold"/>
          <a:ea typeface="Open Sans Semibold"/>
          <a:cs typeface="Open Sans Semibold"/>
          <a:sym typeface="Open Sans Semibold"/>
        </a:defRPr>
      </a:lvl6pPr>
      <a:lvl7pPr marL="0" marR="0" indent="0" algn="l" defTabSz="1219169" rtl="0" latinLnBrk="0">
        <a:lnSpc>
          <a:spcPct val="100000"/>
        </a:lnSpc>
        <a:spcBef>
          <a:spcPts val="0"/>
        </a:spcBef>
        <a:spcAft>
          <a:spcPts val="0"/>
        </a:spcAft>
        <a:buClrTx/>
        <a:buSzTx/>
        <a:buFontTx/>
        <a:buNone/>
        <a:tabLst/>
        <a:defRPr sz="2000" b="1" i="0" u="none" strike="noStrike" cap="none" spc="0" baseline="0">
          <a:solidFill>
            <a:srgbClr val="000000"/>
          </a:solidFill>
          <a:uFillTx/>
          <a:latin typeface="Open Sans Semibold"/>
          <a:ea typeface="Open Sans Semibold"/>
          <a:cs typeface="Open Sans Semibold"/>
          <a:sym typeface="Open Sans Semibold"/>
        </a:defRPr>
      </a:lvl7pPr>
      <a:lvl8pPr marL="0" marR="0" indent="0" algn="l" defTabSz="1219169" rtl="0" latinLnBrk="0">
        <a:lnSpc>
          <a:spcPct val="100000"/>
        </a:lnSpc>
        <a:spcBef>
          <a:spcPts val="0"/>
        </a:spcBef>
        <a:spcAft>
          <a:spcPts val="0"/>
        </a:spcAft>
        <a:buClrTx/>
        <a:buSzTx/>
        <a:buFontTx/>
        <a:buNone/>
        <a:tabLst/>
        <a:defRPr sz="2000" b="1" i="0" u="none" strike="noStrike" cap="none" spc="0" baseline="0">
          <a:solidFill>
            <a:srgbClr val="000000"/>
          </a:solidFill>
          <a:uFillTx/>
          <a:latin typeface="Open Sans Semibold"/>
          <a:ea typeface="Open Sans Semibold"/>
          <a:cs typeface="Open Sans Semibold"/>
          <a:sym typeface="Open Sans Semibold"/>
        </a:defRPr>
      </a:lvl8pPr>
      <a:lvl9pPr marL="0" marR="0" indent="0" algn="l" defTabSz="1219169" rtl="0" latinLnBrk="0">
        <a:lnSpc>
          <a:spcPct val="100000"/>
        </a:lnSpc>
        <a:spcBef>
          <a:spcPts val="0"/>
        </a:spcBef>
        <a:spcAft>
          <a:spcPts val="0"/>
        </a:spcAft>
        <a:buClrTx/>
        <a:buSzTx/>
        <a:buFontTx/>
        <a:buNone/>
        <a:tabLst/>
        <a:defRPr sz="2000" b="1" i="0" u="none" strike="noStrike" cap="none" spc="0" baseline="0">
          <a:solidFill>
            <a:srgbClr val="000000"/>
          </a:solidFill>
          <a:uFillTx/>
          <a:latin typeface="Open Sans Semibold"/>
          <a:ea typeface="Open Sans Semibold"/>
          <a:cs typeface="Open Sans Semibold"/>
          <a:sym typeface="Open Sans Semibold"/>
        </a:defRPr>
      </a:lvl9pPr>
    </p:titleStyle>
    <p:bodyStyle>
      <a:lvl1pPr marL="0" marR="0" indent="0" algn="l" defTabSz="1219169" rtl="0" latinLnBrk="0">
        <a:lnSpc>
          <a:spcPct val="100000"/>
        </a:lnSpc>
        <a:spcBef>
          <a:spcPts val="1300"/>
        </a:spcBef>
        <a:spcAft>
          <a:spcPts val="0"/>
        </a:spcAft>
        <a:buClrTx/>
        <a:buSzTx/>
        <a:buFontTx/>
        <a:buNone/>
        <a:tabLst/>
        <a:defRPr sz="1200" b="0" i="0" u="none" strike="noStrike" cap="none" spc="0" baseline="0">
          <a:solidFill>
            <a:srgbClr val="000000"/>
          </a:solidFill>
          <a:uFillTx/>
          <a:latin typeface="Open Sans"/>
          <a:ea typeface="Open Sans"/>
          <a:cs typeface="Open Sans"/>
          <a:sym typeface="Open Sans"/>
        </a:defRPr>
      </a:lvl1pPr>
      <a:lvl2pPr marL="127000" marR="0" indent="-127000" algn="l" defTabSz="1219169" rtl="0" latinLnBrk="0">
        <a:lnSpc>
          <a:spcPct val="100000"/>
        </a:lnSpc>
        <a:spcBef>
          <a:spcPts val="1300"/>
        </a:spcBef>
        <a:spcAft>
          <a:spcPts val="0"/>
        </a:spcAft>
        <a:buClrTx/>
        <a:buSzPct val="100000"/>
        <a:buFontTx/>
        <a:buChar char="•"/>
        <a:tabLst/>
        <a:defRPr sz="1200" b="0" i="0" u="none" strike="noStrike" cap="none" spc="0" baseline="0">
          <a:solidFill>
            <a:srgbClr val="000000"/>
          </a:solidFill>
          <a:uFillTx/>
          <a:latin typeface="Open Sans"/>
          <a:ea typeface="Open Sans"/>
          <a:cs typeface="Open Sans"/>
          <a:sym typeface="Open Sans"/>
        </a:defRPr>
      </a:lvl2pPr>
      <a:lvl3pPr marL="279400" marR="0" indent="-127000" algn="l" defTabSz="1219169" rtl="0" latinLnBrk="0">
        <a:lnSpc>
          <a:spcPct val="100000"/>
        </a:lnSpc>
        <a:spcBef>
          <a:spcPts val="1300"/>
        </a:spcBef>
        <a:spcAft>
          <a:spcPts val="0"/>
        </a:spcAft>
        <a:buClrTx/>
        <a:buSzPct val="100000"/>
        <a:buFontTx/>
        <a:buChar char="−"/>
        <a:tabLst/>
        <a:defRPr sz="1200" b="0" i="0" u="none" strike="noStrike" cap="none" spc="0" baseline="0">
          <a:solidFill>
            <a:srgbClr val="000000"/>
          </a:solidFill>
          <a:uFillTx/>
          <a:latin typeface="Open Sans"/>
          <a:ea typeface="Open Sans"/>
          <a:cs typeface="Open Sans"/>
          <a:sym typeface="Open Sans"/>
        </a:defRPr>
      </a:lvl3pPr>
      <a:lvl4pPr marL="431800" marR="0" indent="-127000" algn="l" defTabSz="1219169" rtl="0" latinLnBrk="0">
        <a:lnSpc>
          <a:spcPct val="100000"/>
        </a:lnSpc>
        <a:spcBef>
          <a:spcPts val="1300"/>
        </a:spcBef>
        <a:spcAft>
          <a:spcPts val="0"/>
        </a:spcAft>
        <a:buClrTx/>
        <a:buSzPct val="100000"/>
        <a:buFontTx/>
        <a:buChar char="◦"/>
        <a:tabLst/>
        <a:defRPr sz="1200" b="0" i="0" u="none" strike="noStrike" cap="none" spc="0" baseline="0">
          <a:solidFill>
            <a:srgbClr val="000000"/>
          </a:solidFill>
          <a:uFillTx/>
          <a:latin typeface="Open Sans"/>
          <a:ea typeface="Open Sans"/>
          <a:cs typeface="Open Sans"/>
          <a:sym typeface="Open Sans"/>
        </a:defRPr>
      </a:lvl4pPr>
      <a:lvl5pPr marL="584200" marR="0" indent="-127000" algn="l" defTabSz="1219169" rtl="0" latinLnBrk="0">
        <a:lnSpc>
          <a:spcPct val="100000"/>
        </a:lnSpc>
        <a:spcBef>
          <a:spcPts val="1300"/>
        </a:spcBef>
        <a:spcAft>
          <a:spcPts val="0"/>
        </a:spcAft>
        <a:buClrTx/>
        <a:buSzPct val="100000"/>
        <a:buFontTx/>
        <a:buChar char="−"/>
        <a:tabLst/>
        <a:defRPr sz="1200" b="0" i="0" u="none" strike="noStrike" cap="none" spc="0" baseline="0">
          <a:solidFill>
            <a:srgbClr val="000000"/>
          </a:solidFill>
          <a:uFillTx/>
          <a:latin typeface="Open Sans"/>
          <a:ea typeface="Open Sans"/>
          <a:cs typeface="Open Sans"/>
          <a:sym typeface="Open Sans"/>
        </a:defRPr>
      </a:lvl5pPr>
      <a:lvl6pPr marL="651583" marR="0" indent="-176395" algn="l" defTabSz="1219169" rtl="0" latinLnBrk="0">
        <a:lnSpc>
          <a:spcPct val="100000"/>
        </a:lnSpc>
        <a:spcBef>
          <a:spcPts val="1300"/>
        </a:spcBef>
        <a:spcAft>
          <a:spcPts val="0"/>
        </a:spcAft>
        <a:buClrTx/>
        <a:buSzPct val="100000"/>
        <a:buFontTx/>
        <a:buChar char="−"/>
        <a:tabLst/>
        <a:defRPr sz="1200" b="0" i="0" u="none" strike="noStrike" cap="none" spc="0" baseline="0">
          <a:solidFill>
            <a:srgbClr val="000000"/>
          </a:solidFill>
          <a:uFillTx/>
          <a:latin typeface="Open Sans"/>
          <a:ea typeface="Open Sans"/>
          <a:cs typeface="Open Sans"/>
          <a:sym typeface="Open Sans"/>
        </a:defRPr>
      </a:lvl6pPr>
      <a:lvl7pPr marL="651583" marR="0" indent="-176395" algn="l" defTabSz="1219169" rtl="0" latinLnBrk="0">
        <a:lnSpc>
          <a:spcPct val="100000"/>
        </a:lnSpc>
        <a:spcBef>
          <a:spcPts val="1300"/>
        </a:spcBef>
        <a:spcAft>
          <a:spcPts val="0"/>
        </a:spcAft>
        <a:buClrTx/>
        <a:buSzPct val="100000"/>
        <a:buFontTx/>
        <a:buChar char="−"/>
        <a:tabLst/>
        <a:defRPr sz="1200" b="0" i="0" u="none" strike="noStrike" cap="none" spc="0" baseline="0">
          <a:solidFill>
            <a:srgbClr val="000000"/>
          </a:solidFill>
          <a:uFillTx/>
          <a:latin typeface="Open Sans"/>
          <a:ea typeface="Open Sans"/>
          <a:cs typeface="Open Sans"/>
          <a:sym typeface="Open Sans"/>
        </a:defRPr>
      </a:lvl7pPr>
      <a:lvl8pPr marL="651583" marR="0" indent="-176395" algn="l" defTabSz="1219169" rtl="0" latinLnBrk="0">
        <a:lnSpc>
          <a:spcPct val="100000"/>
        </a:lnSpc>
        <a:spcBef>
          <a:spcPts val="1300"/>
        </a:spcBef>
        <a:spcAft>
          <a:spcPts val="0"/>
        </a:spcAft>
        <a:buClrTx/>
        <a:buSzPct val="100000"/>
        <a:buFontTx/>
        <a:buChar char="−"/>
        <a:tabLst/>
        <a:defRPr sz="1200" b="0" i="0" u="none" strike="noStrike" cap="none" spc="0" baseline="0">
          <a:solidFill>
            <a:srgbClr val="000000"/>
          </a:solidFill>
          <a:uFillTx/>
          <a:latin typeface="Open Sans"/>
          <a:ea typeface="Open Sans"/>
          <a:cs typeface="Open Sans"/>
          <a:sym typeface="Open Sans"/>
        </a:defRPr>
      </a:lvl8pPr>
      <a:lvl9pPr marL="651583" marR="0" indent="-176395" algn="l" defTabSz="1219169" rtl="0" latinLnBrk="0">
        <a:lnSpc>
          <a:spcPct val="100000"/>
        </a:lnSpc>
        <a:spcBef>
          <a:spcPts val="1300"/>
        </a:spcBef>
        <a:spcAft>
          <a:spcPts val="0"/>
        </a:spcAft>
        <a:buClrTx/>
        <a:buSzPct val="100000"/>
        <a:buFontTx/>
        <a:buChar char="−"/>
        <a:tabLst/>
        <a:defRPr sz="1200" b="0" i="0" u="none" strike="noStrike" cap="none" spc="0" baseline="0">
          <a:solidFill>
            <a:srgbClr val="000000"/>
          </a:solidFill>
          <a:uFillTx/>
          <a:latin typeface="Open Sans"/>
          <a:ea typeface="Open Sans"/>
          <a:cs typeface="Open Sans"/>
          <a:sym typeface="Open Sans"/>
        </a:defRPr>
      </a:lvl9pPr>
    </p:bodyStyle>
    <p:otherStyle>
      <a:lvl1pPr marL="0" marR="0" indent="0" algn="l" defTabSz="914400" rtl="0" latinLnBrk="0">
        <a:lnSpc>
          <a:spcPct val="100000"/>
        </a:lnSpc>
        <a:spcBef>
          <a:spcPts val="0"/>
        </a:spcBef>
        <a:spcAft>
          <a:spcPts val="0"/>
        </a:spcAft>
        <a:buClrTx/>
        <a:buSzTx/>
        <a:buFontTx/>
        <a:buNone/>
        <a:tabLst/>
        <a:defRPr sz="700" b="0" i="0" u="none" strike="noStrike" cap="none" spc="0" baseline="0">
          <a:solidFill>
            <a:schemeClr val="tx1"/>
          </a:solidFill>
          <a:uFillTx/>
          <a:latin typeface="+mn-lt"/>
          <a:ea typeface="+mn-ea"/>
          <a:cs typeface="+mn-cs"/>
          <a:sym typeface="Open Sans Light"/>
        </a:defRPr>
      </a:lvl1pPr>
      <a:lvl2pPr marL="0" marR="0" indent="457200" algn="l" defTabSz="914400" rtl="0" latinLnBrk="0">
        <a:lnSpc>
          <a:spcPct val="100000"/>
        </a:lnSpc>
        <a:spcBef>
          <a:spcPts val="0"/>
        </a:spcBef>
        <a:spcAft>
          <a:spcPts val="0"/>
        </a:spcAft>
        <a:buClrTx/>
        <a:buSzTx/>
        <a:buFontTx/>
        <a:buNone/>
        <a:tabLst/>
        <a:defRPr sz="700" b="0" i="0" u="none" strike="noStrike" cap="none" spc="0" baseline="0">
          <a:solidFill>
            <a:schemeClr val="tx1"/>
          </a:solidFill>
          <a:uFillTx/>
          <a:latin typeface="+mn-lt"/>
          <a:ea typeface="+mn-ea"/>
          <a:cs typeface="+mn-cs"/>
          <a:sym typeface="Open Sans Light"/>
        </a:defRPr>
      </a:lvl2pPr>
      <a:lvl3pPr marL="0" marR="0" indent="914400" algn="l" defTabSz="914400" rtl="0" latinLnBrk="0">
        <a:lnSpc>
          <a:spcPct val="100000"/>
        </a:lnSpc>
        <a:spcBef>
          <a:spcPts val="0"/>
        </a:spcBef>
        <a:spcAft>
          <a:spcPts val="0"/>
        </a:spcAft>
        <a:buClrTx/>
        <a:buSzTx/>
        <a:buFontTx/>
        <a:buNone/>
        <a:tabLst/>
        <a:defRPr sz="700" b="0" i="0" u="none" strike="noStrike" cap="none" spc="0" baseline="0">
          <a:solidFill>
            <a:schemeClr val="tx1"/>
          </a:solidFill>
          <a:uFillTx/>
          <a:latin typeface="+mn-lt"/>
          <a:ea typeface="+mn-ea"/>
          <a:cs typeface="+mn-cs"/>
          <a:sym typeface="Open Sans Light"/>
        </a:defRPr>
      </a:lvl3pPr>
      <a:lvl4pPr marL="0" marR="0" indent="1371600" algn="l" defTabSz="914400" rtl="0" latinLnBrk="0">
        <a:lnSpc>
          <a:spcPct val="100000"/>
        </a:lnSpc>
        <a:spcBef>
          <a:spcPts val="0"/>
        </a:spcBef>
        <a:spcAft>
          <a:spcPts val="0"/>
        </a:spcAft>
        <a:buClrTx/>
        <a:buSzTx/>
        <a:buFontTx/>
        <a:buNone/>
        <a:tabLst/>
        <a:defRPr sz="700" b="0" i="0" u="none" strike="noStrike" cap="none" spc="0" baseline="0">
          <a:solidFill>
            <a:schemeClr val="tx1"/>
          </a:solidFill>
          <a:uFillTx/>
          <a:latin typeface="+mn-lt"/>
          <a:ea typeface="+mn-ea"/>
          <a:cs typeface="+mn-cs"/>
          <a:sym typeface="Open Sans Light"/>
        </a:defRPr>
      </a:lvl4pPr>
      <a:lvl5pPr marL="0" marR="0" indent="1828800" algn="l" defTabSz="914400" rtl="0" latinLnBrk="0">
        <a:lnSpc>
          <a:spcPct val="100000"/>
        </a:lnSpc>
        <a:spcBef>
          <a:spcPts val="0"/>
        </a:spcBef>
        <a:spcAft>
          <a:spcPts val="0"/>
        </a:spcAft>
        <a:buClrTx/>
        <a:buSzTx/>
        <a:buFontTx/>
        <a:buNone/>
        <a:tabLst/>
        <a:defRPr sz="700" b="0" i="0" u="none" strike="noStrike" cap="none" spc="0" baseline="0">
          <a:solidFill>
            <a:schemeClr val="tx1"/>
          </a:solidFill>
          <a:uFillTx/>
          <a:latin typeface="+mn-lt"/>
          <a:ea typeface="+mn-ea"/>
          <a:cs typeface="+mn-cs"/>
          <a:sym typeface="Open Sans Light"/>
        </a:defRPr>
      </a:lvl5pPr>
      <a:lvl6pPr marL="0" marR="0" indent="2286000" algn="l" defTabSz="914400" rtl="0" latinLnBrk="0">
        <a:lnSpc>
          <a:spcPct val="100000"/>
        </a:lnSpc>
        <a:spcBef>
          <a:spcPts val="0"/>
        </a:spcBef>
        <a:spcAft>
          <a:spcPts val="0"/>
        </a:spcAft>
        <a:buClrTx/>
        <a:buSzTx/>
        <a:buFontTx/>
        <a:buNone/>
        <a:tabLst/>
        <a:defRPr sz="700" b="0" i="0" u="none" strike="noStrike" cap="none" spc="0" baseline="0">
          <a:solidFill>
            <a:schemeClr val="tx1"/>
          </a:solidFill>
          <a:uFillTx/>
          <a:latin typeface="+mn-lt"/>
          <a:ea typeface="+mn-ea"/>
          <a:cs typeface="+mn-cs"/>
          <a:sym typeface="Open Sans Light"/>
        </a:defRPr>
      </a:lvl6pPr>
      <a:lvl7pPr marL="0" marR="0" indent="2743200" algn="l" defTabSz="914400" rtl="0" latinLnBrk="0">
        <a:lnSpc>
          <a:spcPct val="100000"/>
        </a:lnSpc>
        <a:spcBef>
          <a:spcPts val="0"/>
        </a:spcBef>
        <a:spcAft>
          <a:spcPts val="0"/>
        </a:spcAft>
        <a:buClrTx/>
        <a:buSzTx/>
        <a:buFontTx/>
        <a:buNone/>
        <a:tabLst/>
        <a:defRPr sz="700" b="0" i="0" u="none" strike="noStrike" cap="none" spc="0" baseline="0">
          <a:solidFill>
            <a:schemeClr val="tx1"/>
          </a:solidFill>
          <a:uFillTx/>
          <a:latin typeface="+mn-lt"/>
          <a:ea typeface="+mn-ea"/>
          <a:cs typeface="+mn-cs"/>
          <a:sym typeface="Open Sans Light"/>
        </a:defRPr>
      </a:lvl7pPr>
      <a:lvl8pPr marL="0" marR="0" indent="3200400" algn="l" defTabSz="914400" rtl="0" latinLnBrk="0">
        <a:lnSpc>
          <a:spcPct val="100000"/>
        </a:lnSpc>
        <a:spcBef>
          <a:spcPts val="0"/>
        </a:spcBef>
        <a:spcAft>
          <a:spcPts val="0"/>
        </a:spcAft>
        <a:buClrTx/>
        <a:buSzTx/>
        <a:buFontTx/>
        <a:buNone/>
        <a:tabLst/>
        <a:defRPr sz="700" b="0" i="0" u="none" strike="noStrike" cap="none" spc="0" baseline="0">
          <a:solidFill>
            <a:schemeClr val="tx1"/>
          </a:solidFill>
          <a:uFillTx/>
          <a:latin typeface="+mn-lt"/>
          <a:ea typeface="+mn-ea"/>
          <a:cs typeface="+mn-cs"/>
          <a:sym typeface="Open Sans Light"/>
        </a:defRPr>
      </a:lvl8pPr>
      <a:lvl9pPr marL="0" marR="0" indent="3657600" algn="l" defTabSz="914400" rtl="0" latinLnBrk="0">
        <a:lnSpc>
          <a:spcPct val="100000"/>
        </a:lnSpc>
        <a:spcBef>
          <a:spcPts val="0"/>
        </a:spcBef>
        <a:spcAft>
          <a:spcPts val="0"/>
        </a:spcAft>
        <a:buClrTx/>
        <a:buSzTx/>
        <a:buFontTx/>
        <a:buNone/>
        <a:tabLst/>
        <a:defRPr sz="700" b="0" i="0" u="none" strike="noStrike" cap="none" spc="0" baseline="0">
          <a:solidFill>
            <a:schemeClr val="tx1"/>
          </a:solidFill>
          <a:uFillTx/>
          <a:latin typeface="+mn-lt"/>
          <a:ea typeface="+mn-ea"/>
          <a:cs typeface="+mn-cs"/>
          <a:sym typeface="Open Sans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1"/>
            </p:custDataLst>
            <p:extLst>
              <p:ext uri="{D42A27DB-BD31-4B8C-83A1-F6EECF244321}">
                <p14:modId xmlns:p14="http://schemas.microsoft.com/office/powerpoint/2010/main" val="40757737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4" name="Object 3" hidden="1"/>
                      <p:cNvPicPr/>
                      <p:nvPr/>
                    </p:nvPicPr>
                    <p:blipFill>
                      <a:blip r:embed="rId23"/>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Box 9"/>
          <p:cNvSpPr txBox="1"/>
          <p:nvPr userDrawn="1"/>
        </p:nvSpPr>
        <p:spPr>
          <a:xfrm>
            <a:off x="11432148" y="6683817"/>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6" name="TextBox 5">
            <a:extLst>
              <a:ext uri="{FF2B5EF4-FFF2-40B4-BE49-F238E27FC236}">
                <a16:creationId xmlns:a16="http://schemas.microsoft.com/office/drawing/2014/main" id="{E7D5D29A-95B9-9492-5B4A-E5B63054DFEC}"/>
              </a:ext>
            </a:extLst>
          </p:cNvPr>
          <p:cNvSpPr txBox="1"/>
          <p:nvPr userDrawn="1"/>
        </p:nvSpPr>
        <p:spPr>
          <a:xfrm>
            <a:off x="469900" y="6645763"/>
            <a:ext cx="3473450" cy="107722"/>
          </a:xfrm>
          <a:prstGeom prst="rect">
            <a:avLst/>
          </a:prstGeom>
          <a:noFill/>
        </p:spPr>
        <p:txBody>
          <a:bodyPr wrap="square" lIns="0" tIns="0" rIns="0" bIns="0" rtlCol="0">
            <a:spAutoFit/>
          </a:bodyPr>
          <a:lstStyle/>
          <a:p>
            <a:pPr defTabSz="1219170" hangingPunct="1">
              <a:spcBef>
                <a:spcPts val="800"/>
              </a:spcBef>
              <a:buSzPct val="100000"/>
              <a:buFont typeface="Arial"/>
              <a:buNone/>
            </a:pPr>
            <a:r>
              <a:rPr lang="en-US" kern="1200" dirty="0">
                <a:solidFill>
                  <a:srgbClr val="000000"/>
                </a:solidFill>
                <a:latin typeface="Calibri"/>
                <a:ea typeface="Verdana" panose="020B0604030504040204" pitchFamily="34" charset="0"/>
                <a:cs typeface="Open Sans Light" panose="020B0306030504020204" pitchFamily="34" charset="0"/>
              </a:rPr>
              <a:t>© 2024 Deloitte &amp; Touche Advisory Saudi Limited. All rights reserved.</a:t>
            </a:r>
          </a:p>
        </p:txBody>
      </p:sp>
    </p:spTree>
    <p:extLst>
      <p:ext uri="{BB962C8B-B14F-4D97-AF65-F5344CB8AC3E}">
        <p14:creationId xmlns:p14="http://schemas.microsoft.com/office/powerpoint/2010/main" val="625659656"/>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Lst>
  <p:transition>
    <p:fade/>
  </p:transition>
  <p:hf hdr="0" dt="0"/>
  <p:txStyles>
    <p:titleStyle>
      <a:lvl1pPr algn="l" defTabSz="914400" rtl="0" eaLnBrk="1" latinLnBrk="0" hangingPunct="1">
        <a:spcBef>
          <a:spcPct val="0"/>
        </a:spcBef>
        <a:buNone/>
        <a:defRPr sz="2000" kern="1200">
          <a:solidFill>
            <a:schemeClr val="tx1"/>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Calibri" panose="020F0502020204030204" pitchFamily="34" charset="0"/>
          <a:ea typeface="+mn-ea"/>
          <a:cs typeface="Calibri" panose="020F0502020204030204" pitchFamily="34" charset="0"/>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Calibri" panose="020F0502020204030204" pitchFamily="34" charset="0"/>
          <a:ea typeface="+mn-ea"/>
          <a:cs typeface="Calibri" panose="020F05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Calibri" panose="020F0502020204030204" pitchFamily="34" charset="0"/>
          <a:ea typeface="+mn-ea"/>
          <a:cs typeface="Calibri" panose="020F05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Calibri" panose="020F0502020204030204" pitchFamily="34" charset="0"/>
          <a:ea typeface="+mn-ea"/>
          <a:cs typeface="Calibri" panose="020F05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5098">
          <p15:clr>
            <a:srgbClr val="F26B43"/>
          </p15:clr>
        </p15:guide>
        <p15:guide id="1" pos="3834">
          <p15:clr>
            <a:srgbClr val="F26B43"/>
          </p15:clr>
        </p15:guide>
        <p15:guide id="2" orient="horz" pos="4020">
          <p15:clr>
            <a:srgbClr val="F26B43"/>
          </p15:clr>
        </p15:guide>
        <p15:guide id="3" pos="237">
          <p15:clr>
            <a:srgbClr val="F26B43"/>
          </p15:clr>
        </p15:guide>
        <p15:guide id="4" pos="5523">
          <p15:clr>
            <a:srgbClr val="F26B43"/>
          </p15:clr>
        </p15:guide>
        <p15:guide id="5" orient="horz" pos="200">
          <p15:clr>
            <a:srgbClr val="F26B43"/>
          </p15:clr>
        </p15:guide>
        <p15:guide id="6" orient="horz" pos="4080">
          <p15:clr>
            <a:srgbClr val="F26B43"/>
          </p15:clr>
        </p15:guide>
        <p15:guide id="7" pos="3721">
          <p15:clr>
            <a:srgbClr val="F26B43"/>
          </p15:clr>
        </p15:guide>
        <p15:guide id="8" orient="horz" pos="236">
          <p15:clr>
            <a:srgbClr val="F26B43"/>
          </p15:clr>
        </p15:guide>
        <p15:guide id="9" pos="1022">
          <p15:clr>
            <a:srgbClr val="F26B43"/>
          </p15:clr>
        </p15:guide>
        <p15:guide id="10" pos="1137">
          <p15:clr>
            <a:srgbClr val="F26B43"/>
          </p15:clr>
        </p15:guide>
        <p15:guide id="11" pos="1920">
          <p15:clr>
            <a:srgbClr val="F26B43"/>
          </p15:clr>
        </p15:guide>
        <p15:guide id="12" pos="2033">
          <p15:clr>
            <a:srgbClr val="F26B43"/>
          </p15:clr>
        </p15:guide>
        <p15:guide id="13" pos="4620">
          <p15:clr>
            <a:srgbClr val="F26B43"/>
          </p15:clr>
        </p15:guide>
        <p15:guide id="14" pos="2823">
          <p15:clr>
            <a:srgbClr val="F26B43"/>
          </p15:clr>
        </p15:guide>
        <p15:guide id="15" pos="2937">
          <p15:clr>
            <a:srgbClr val="F26B43"/>
          </p15:clr>
        </p15:guide>
        <p15:guide id="16" pos="2880">
          <p15:clr>
            <a:srgbClr val="F26B43"/>
          </p15:clr>
        </p15:guide>
        <p15:guide id="17" pos="4734">
          <p15:clr>
            <a:srgbClr val="F26B43"/>
          </p15:clr>
        </p15:guide>
        <p15:guide id="18" orient="horz" pos="640">
          <p15:clr>
            <a:srgbClr val="F26B43"/>
          </p15:clr>
        </p15:guide>
        <p15:guide id="19" orient="horz" pos="2160">
          <p15:clr>
            <a:srgbClr val="F26B43"/>
          </p15:clr>
        </p15:guide>
        <p15:guide id="20" orient="horz" pos="3968">
          <p15:clr>
            <a:srgbClr val="F26B43"/>
          </p15:clr>
        </p15:guide>
        <p15:guide id="21" pos="296">
          <p15:clr>
            <a:srgbClr val="F26B43"/>
          </p15:clr>
        </p15:guide>
        <p15:guide id="22" pos="7384">
          <p15:clr>
            <a:srgbClr val="F26B43"/>
          </p15:clr>
        </p15:guide>
        <p15:guide id="23" orient="horz" pos="1071">
          <p15:clr>
            <a:srgbClr val="F26B43"/>
          </p15:clr>
        </p15:guide>
        <p15:guide id="24" orient="horz" pos="245">
          <p15:clr>
            <a:srgbClr val="F26B43"/>
          </p15:clr>
        </p15:guide>
        <p15:guide id="25" orient="horz" pos="4081">
          <p15:clr>
            <a:srgbClr val="F26B43"/>
          </p15:clr>
        </p15:guide>
        <p15:guide id="26" pos="4986">
          <p15:clr>
            <a:srgbClr val="F26B43"/>
          </p15:clr>
        </p15:guide>
        <p15:guide id="27" pos="1382">
          <p15:clr>
            <a:srgbClr val="F26B43"/>
          </p15:clr>
        </p15:guide>
        <p15:guide id="28" pos="1496">
          <p15:clr>
            <a:srgbClr val="F26B43"/>
          </p15:clr>
        </p15:guide>
        <p15:guide id="29" pos="2581">
          <p15:clr>
            <a:srgbClr val="F26B43"/>
          </p15:clr>
        </p15:guide>
        <p15:guide id="30" pos="2695">
          <p15:clr>
            <a:srgbClr val="F26B43"/>
          </p15:clr>
        </p15:guide>
        <p15:guide id="31" pos="6185">
          <p15:clr>
            <a:srgbClr val="F26B43"/>
          </p15:clr>
        </p15:guide>
        <p15:guide id="32" pos="3783">
          <p15:clr>
            <a:srgbClr val="F26B43"/>
          </p15:clr>
        </p15:guide>
        <p15:guide id="33" pos="3896">
          <p15:clr>
            <a:srgbClr val="F26B43"/>
          </p15:clr>
        </p15:guide>
        <p15:guide id="34" pos="3840">
          <p15:clr>
            <a:srgbClr val="F26B43"/>
          </p15:clr>
        </p15:guide>
        <p15:guide id="35" pos="6299">
          <p15:clr>
            <a:srgbClr val="F26B43"/>
          </p15:clr>
        </p15:guide>
        <p15:guide id="36" orient="horz" pos="1049">
          <p15:clr>
            <a:srgbClr val="F26B43"/>
          </p15:clr>
        </p15:guide>
        <p15:guide id="37" orient="horz" pos="641">
          <p15:clr>
            <a:srgbClr val="F26B43"/>
          </p15:clr>
        </p15:guide>
        <p15:guide id="38"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7" name="Rectangle 66">
            <a:hlinkClick r:id="" action="ppaction://noaction"/>
            <a:extLst>
              <a:ext uri="{FF2B5EF4-FFF2-40B4-BE49-F238E27FC236}">
                <a16:creationId xmlns:a16="http://schemas.microsoft.com/office/drawing/2014/main" id="{6C85502E-9FA6-4D2A-8AE5-411D1608AA74}"/>
              </a:ext>
            </a:extLst>
          </p:cNvPr>
          <p:cNvSpPr/>
          <p:nvPr userDrawn="1"/>
        </p:nvSpPr>
        <p:spPr bwMode="gray">
          <a:xfrm>
            <a:off x="11307641" y="3904466"/>
            <a:ext cx="884213" cy="975609"/>
          </a:xfrm>
          <a:prstGeom prst="rect">
            <a:avLst/>
          </a:prstGeom>
          <a:solidFill>
            <a:srgbClr val="62B5E5">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sp>
        <p:nvSpPr>
          <p:cNvPr id="66" name="Rectangle 65">
            <a:hlinkClick r:id="" action="ppaction://noaction"/>
            <a:extLst>
              <a:ext uri="{FF2B5EF4-FFF2-40B4-BE49-F238E27FC236}">
                <a16:creationId xmlns:a16="http://schemas.microsoft.com/office/drawing/2014/main" id="{1FAAB899-0767-4C67-AFE3-64DE39DE5AA6}"/>
              </a:ext>
            </a:extLst>
          </p:cNvPr>
          <p:cNvSpPr/>
          <p:nvPr userDrawn="1"/>
        </p:nvSpPr>
        <p:spPr bwMode="gray">
          <a:xfrm>
            <a:off x="11307787" y="2953369"/>
            <a:ext cx="884213" cy="965124"/>
          </a:xfrm>
          <a:prstGeom prst="rect">
            <a:avLst/>
          </a:prstGeom>
          <a:solidFill>
            <a:srgbClr val="046A38">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sp>
        <p:nvSpPr>
          <p:cNvPr id="74" name="Rectangle 73">
            <a:extLst>
              <a:ext uri="{FF2B5EF4-FFF2-40B4-BE49-F238E27FC236}">
                <a16:creationId xmlns:a16="http://schemas.microsoft.com/office/drawing/2014/main" id="{B934452E-27F4-411F-AD7C-AAEEF24B351A}"/>
              </a:ext>
            </a:extLst>
          </p:cNvPr>
          <p:cNvSpPr/>
          <p:nvPr userDrawn="1"/>
        </p:nvSpPr>
        <p:spPr bwMode="gray">
          <a:xfrm>
            <a:off x="11307787" y="5745562"/>
            <a:ext cx="884213" cy="1112438"/>
          </a:xfrm>
          <a:prstGeom prst="rect">
            <a:avLst/>
          </a:prstGeom>
          <a:solidFill>
            <a:srgbClr val="343434"/>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sp>
        <p:nvSpPr>
          <p:cNvPr id="75" name="Rectangle 74">
            <a:extLst>
              <a:ext uri="{FF2B5EF4-FFF2-40B4-BE49-F238E27FC236}">
                <a16:creationId xmlns:a16="http://schemas.microsoft.com/office/drawing/2014/main" id="{6D907470-A248-48B9-8A40-3F282D0786C8}"/>
              </a:ext>
            </a:extLst>
          </p:cNvPr>
          <p:cNvSpPr/>
          <p:nvPr userDrawn="1"/>
        </p:nvSpPr>
        <p:spPr>
          <a:xfrm>
            <a:off x="11349439" y="5969718"/>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Appendix</a:t>
            </a:r>
            <a:endParaRPr lang="en-US" sz="891" b="0" dirty="0">
              <a:solidFill>
                <a:schemeClr val="bg1"/>
              </a:solidFill>
              <a:latin typeface="Calibri" panose="020F0502020204030204" pitchFamily="34" charset="0"/>
            </a:endParaRPr>
          </a:p>
        </p:txBody>
      </p:sp>
      <p:grpSp>
        <p:nvGrpSpPr>
          <p:cNvPr id="128" name="Group 127">
            <a:extLst>
              <a:ext uri="{FF2B5EF4-FFF2-40B4-BE49-F238E27FC236}">
                <a16:creationId xmlns:a16="http://schemas.microsoft.com/office/drawing/2014/main" id="{FA382298-5FA0-4E27-B707-74214319422A}"/>
              </a:ext>
            </a:extLst>
          </p:cNvPr>
          <p:cNvGrpSpPr/>
          <p:nvPr userDrawn="1"/>
        </p:nvGrpSpPr>
        <p:grpSpPr>
          <a:xfrm>
            <a:off x="11501750" y="6555510"/>
            <a:ext cx="496285" cy="143992"/>
            <a:chOff x="12956047" y="8113587"/>
            <a:chExt cx="496285" cy="143992"/>
          </a:xfrm>
        </p:grpSpPr>
        <p:sp>
          <p:nvSpPr>
            <p:cNvPr id="129" name="object 21">
              <a:hlinkClick r:id="" action="ppaction://hlinkshowjump?jump=nextslide" highlightClick="1"/>
              <a:extLst>
                <a:ext uri="{FF2B5EF4-FFF2-40B4-BE49-F238E27FC236}">
                  <a16:creationId xmlns:a16="http://schemas.microsoft.com/office/drawing/2014/main" id="{559D8513-CE40-4CAF-81A9-D1ACB4AE6A71}"/>
                </a:ext>
              </a:extLst>
            </p:cNvPr>
            <p:cNvSpPr/>
            <p:nvPr userDrawn="1"/>
          </p:nvSpPr>
          <p:spPr>
            <a:xfrm>
              <a:off x="13308327" y="8113587"/>
              <a:ext cx="144005" cy="143992"/>
            </a:xfrm>
            <a:prstGeom prst="rect">
              <a:avLst/>
            </a:prstGeom>
            <a:blipFill>
              <a:blip r:embed="rId7" cstate="screen">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tretch>
                <a:fillRect/>
              </a:stretch>
            </a:blipFill>
          </p:spPr>
          <p:txBody>
            <a:bodyPr wrap="square" lIns="0" tIns="0" rIns="0" bIns="0" rtlCol="0"/>
            <a:lstStyle/>
            <a:p>
              <a:endParaRPr sz="2773" dirty="0">
                <a:latin typeface="Calibri" panose="020F0502020204030204" pitchFamily="34" charset="0"/>
              </a:endParaRPr>
            </a:p>
          </p:txBody>
        </p:sp>
        <p:sp>
          <p:nvSpPr>
            <p:cNvPr id="130" name="object 22">
              <a:hlinkClick r:id="" action="ppaction://hlinkshowjump?jump=previousslide" highlightClick="1"/>
              <a:extLst>
                <a:ext uri="{FF2B5EF4-FFF2-40B4-BE49-F238E27FC236}">
                  <a16:creationId xmlns:a16="http://schemas.microsoft.com/office/drawing/2014/main" id="{43A43445-EA00-4A60-967F-D7D9F60EA328}"/>
                </a:ext>
              </a:extLst>
            </p:cNvPr>
            <p:cNvSpPr/>
            <p:nvPr userDrawn="1"/>
          </p:nvSpPr>
          <p:spPr>
            <a:xfrm>
              <a:off x="12956047" y="8113587"/>
              <a:ext cx="144005" cy="143992"/>
            </a:xfrm>
            <a:prstGeom prst="rect">
              <a:avLst/>
            </a:prstGeom>
            <a:blipFill>
              <a:blip r:embed="rId9" cstate="screen">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a:ext>
                </a:extLst>
              </a:blip>
              <a:stretch>
                <a:fillRect/>
              </a:stretch>
            </a:blipFill>
            <a:ln>
              <a:noFill/>
            </a:ln>
          </p:spPr>
          <p:txBody>
            <a:bodyPr wrap="square" lIns="0" tIns="0" rIns="0" bIns="0" rtlCol="0"/>
            <a:lstStyle/>
            <a:p>
              <a:endParaRPr sz="2773" dirty="0">
                <a:latin typeface="Calibri" panose="020F0502020204030204" pitchFamily="34" charset="0"/>
              </a:endParaRPr>
            </a:p>
          </p:txBody>
        </p:sp>
      </p:grpSp>
      <p:graphicFrame>
        <p:nvGraphicFramePr>
          <p:cNvPr id="4" name="Object 3" hidden="1"/>
          <p:cNvGraphicFramePr>
            <a:graphicFrameLocks noChangeAspect="1"/>
          </p:cNvGraphicFramePr>
          <p:nvPr userDrawn="1">
            <p:custDataLst>
              <p:tags r:id="rId6"/>
            </p:custDataLst>
          </p:nvPr>
        </p:nvGraphicFramePr>
        <p:xfrm>
          <a:off x="2119" y="1607"/>
          <a:ext cx="2116"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2119" y="160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604"/>
            <a:ext cx="10251905" cy="692151"/>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userDrawn="1">
            <p:ph type="body" idx="1"/>
          </p:nvPr>
        </p:nvSpPr>
        <p:spPr>
          <a:xfrm>
            <a:off x="469909" y="1665290"/>
            <a:ext cx="10264159" cy="4633911"/>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grpSp>
        <p:nvGrpSpPr>
          <p:cNvPr id="6" name="Group 5">
            <a:extLst>
              <a:ext uri="{FF2B5EF4-FFF2-40B4-BE49-F238E27FC236}">
                <a16:creationId xmlns:a16="http://schemas.microsoft.com/office/drawing/2014/main" id="{6A57A2BA-92C0-45C4-8E16-5446BCD3D9C2}"/>
              </a:ext>
            </a:extLst>
          </p:cNvPr>
          <p:cNvGrpSpPr/>
          <p:nvPr userDrawn="1"/>
        </p:nvGrpSpPr>
        <p:grpSpPr>
          <a:xfrm>
            <a:off x="11307787" y="978701"/>
            <a:ext cx="884213" cy="978408"/>
            <a:chOff x="10576386" y="144060"/>
            <a:chExt cx="884213" cy="978408"/>
          </a:xfrm>
        </p:grpSpPr>
        <p:sp>
          <p:nvSpPr>
            <p:cNvPr id="76" name="Rectangle 75">
              <a:extLst>
                <a:ext uri="{FF2B5EF4-FFF2-40B4-BE49-F238E27FC236}">
                  <a16:creationId xmlns:a16="http://schemas.microsoft.com/office/drawing/2014/main" id="{452B2C53-C406-4353-93AE-531967BF8CB0}"/>
                </a:ext>
              </a:extLst>
            </p:cNvPr>
            <p:cNvSpPr/>
            <p:nvPr userDrawn="1"/>
          </p:nvSpPr>
          <p:spPr bwMode="gray">
            <a:xfrm>
              <a:off x="10576386" y="144060"/>
              <a:ext cx="884213" cy="978408"/>
            </a:xfrm>
            <a:prstGeom prst="rect">
              <a:avLst/>
            </a:prstGeom>
            <a:solidFill>
              <a:srgbClr val="7F7F7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77" name="Group 592">
              <a:extLst>
                <a:ext uri="{FF2B5EF4-FFF2-40B4-BE49-F238E27FC236}">
                  <a16:creationId xmlns:a16="http://schemas.microsoft.com/office/drawing/2014/main" id="{2302453D-9390-435B-918B-48353FBD1A65}"/>
                </a:ext>
              </a:extLst>
            </p:cNvPr>
            <p:cNvGrpSpPr>
              <a:grpSpLocks/>
            </p:cNvGrpSpPr>
            <p:nvPr userDrawn="1"/>
          </p:nvGrpSpPr>
          <p:grpSpPr bwMode="auto">
            <a:xfrm>
              <a:off x="10835612" y="271928"/>
              <a:ext cx="365760" cy="369676"/>
              <a:chOff x="373" y="1933"/>
              <a:chExt cx="341" cy="340"/>
            </a:xfrm>
            <a:solidFill>
              <a:schemeClr val="bg1"/>
            </a:solidFill>
          </p:grpSpPr>
          <p:sp>
            <p:nvSpPr>
              <p:cNvPr id="78" name="Freeform 77">
                <a:extLst>
                  <a:ext uri="{FF2B5EF4-FFF2-40B4-BE49-F238E27FC236}">
                    <a16:creationId xmlns:a16="http://schemas.microsoft.com/office/drawing/2014/main" id="{2B96DFC0-3179-4202-9D5F-05E1B8DF75BC}"/>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891" b="0" i="0" u="none" strike="noStrike" kern="0" cap="none" spc="0" normalizeH="0" baseline="0" noProof="0" dirty="0">
                  <a:ln>
                    <a:noFill/>
                  </a:ln>
                  <a:solidFill>
                    <a:prstClr val="black"/>
                  </a:solidFill>
                  <a:effectLst/>
                  <a:uLnTx/>
                  <a:uFillTx/>
                  <a:latin typeface="Calibri"/>
                  <a:ea typeface="+mn-ea"/>
                  <a:cs typeface="+mn-cs"/>
                </a:endParaRPr>
              </a:p>
            </p:txBody>
          </p:sp>
          <p:sp>
            <p:nvSpPr>
              <p:cNvPr id="79" name="Freeform 78">
                <a:extLst>
                  <a:ext uri="{FF2B5EF4-FFF2-40B4-BE49-F238E27FC236}">
                    <a16:creationId xmlns:a16="http://schemas.microsoft.com/office/drawing/2014/main" id="{EF767435-580F-47EE-BF25-5FD8E9D10125}"/>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891" b="0" i="0" u="none" strike="noStrike" kern="0" cap="none" spc="0" normalizeH="0" baseline="0" noProof="0" dirty="0">
                  <a:ln>
                    <a:noFill/>
                  </a:ln>
                  <a:solidFill>
                    <a:prstClr val="black"/>
                  </a:solidFill>
                  <a:effectLst/>
                  <a:uLnTx/>
                  <a:uFillTx/>
                  <a:latin typeface="Calibri"/>
                  <a:ea typeface="+mn-ea"/>
                  <a:cs typeface="+mn-cs"/>
                </a:endParaRPr>
              </a:p>
            </p:txBody>
          </p:sp>
        </p:grpSp>
      </p:grpSp>
      <p:grpSp>
        <p:nvGrpSpPr>
          <p:cNvPr id="105" name="Group 104">
            <a:extLst>
              <a:ext uri="{FF2B5EF4-FFF2-40B4-BE49-F238E27FC236}">
                <a16:creationId xmlns:a16="http://schemas.microsoft.com/office/drawing/2014/main" id="{9BB39C06-F26A-4111-BC2F-03379F92F894}"/>
              </a:ext>
            </a:extLst>
          </p:cNvPr>
          <p:cNvGrpSpPr/>
          <p:nvPr userDrawn="1"/>
        </p:nvGrpSpPr>
        <p:grpSpPr>
          <a:xfrm>
            <a:off x="11307787" y="0"/>
            <a:ext cx="884213" cy="978408"/>
            <a:chOff x="11320453" y="0"/>
            <a:chExt cx="884213" cy="978408"/>
          </a:xfrm>
        </p:grpSpPr>
        <p:sp>
          <p:nvSpPr>
            <p:cNvPr id="3" name="Rectangle 2">
              <a:extLst>
                <a:ext uri="{FF2B5EF4-FFF2-40B4-BE49-F238E27FC236}">
                  <a16:creationId xmlns:a16="http://schemas.microsoft.com/office/drawing/2014/main" id="{65FC472A-7D59-4D54-8FC9-7D6FA5E1EA47}"/>
                </a:ext>
              </a:extLst>
            </p:cNvPr>
            <p:cNvSpPr/>
            <p:nvPr userDrawn="1"/>
          </p:nvSpPr>
          <p:spPr bwMode="gray">
            <a:xfrm>
              <a:off x="11320453" y="0"/>
              <a:ext cx="884213" cy="978408"/>
            </a:xfrm>
            <a:prstGeom prst="rect">
              <a:avLst/>
            </a:prstGeom>
            <a:solidFill>
              <a:srgbClr val="00556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20" name="Group 19">
              <a:extLst>
                <a:ext uri="{FF2B5EF4-FFF2-40B4-BE49-F238E27FC236}">
                  <a16:creationId xmlns:a16="http://schemas.microsoft.com/office/drawing/2014/main" id="{9F17A192-3FD8-48E6-B53D-9EF7090C6044}"/>
                </a:ext>
              </a:extLst>
            </p:cNvPr>
            <p:cNvGrpSpPr/>
            <p:nvPr userDrawn="1"/>
          </p:nvGrpSpPr>
          <p:grpSpPr>
            <a:xfrm>
              <a:off x="11578568" y="107960"/>
              <a:ext cx="367982" cy="367982"/>
              <a:chOff x="6042955" y="3704076"/>
              <a:chExt cx="367982" cy="367982"/>
            </a:xfrm>
            <a:solidFill>
              <a:schemeClr val="bg1"/>
            </a:solidFill>
          </p:grpSpPr>
          <p:grpSp>
            <p:nvGrpSpPr>
              <p:cNvPr id="22" name="Group 21">
                <a:extLst>
                  <a:ext uri="{FF2B5EF4-FFF2-40B4-BE49-F238E27FC236}">
                    <a16:creationId xmlns:a16="http://schemas.microsoft.com/office/drawing/2014/main" id="{58A0B01D-64B0-4096-9E7F-DECD3B5567F6}"/>
                  </a:ext>
                </a:extLst>
              </p:cNvPr>
              <p:cNvGrpSpPr/>
              <p:nvPr/>
            </p:nvGrpSpPr>
            <p:grpSpPr>
              <a:xfrm>
                <a:off x="6131110" y="3758524"/>
                <a:ext cx="207980" cy="259087"/>
                <a:chOff x="1690688" y="5349875"/>
                <a:chExt cx="465138" cy="579438"/>
              </a:xfrm>
              <a:grpFill/>
            </p:grpSpPr>
            <p:sp>
              <p:nvSpPr>
                <p:cNvPr id="24" name="Freeform 68">
                  <a:extLst>
                    <a:ext uri="{FF2B5EF4-FFF2-40B4-BE49-F238E27FC236}">
                      <a16:creationId xmlns:a16="http://schemas.microsoft.com/office/drawing/2014/main" id="{6B823961-1297-4728-AA3F-690E6A76EF2B}"/>
                    </a:ext>
                  </a:extLst>
                </p:cNvPr>
                <p:cNvSpPr>
                  <a:spLocks/>
                </p:cNvSpPr>
                <p:nvPr/>
              </p:nvSpPr>
              <p:spPr bwMode="auto">
                <a:xfrm>
                  <a:off x="1781175" y="5778500"/>
                  <a:ext cx="273050" cy="23813"/>
                </a:xfrm>
                <a:custGeom>
                  <a:avLst/>
                  <a:gdLst>
                    <a:gd name="T0" fmla="*/ 109 w 114"/>
                    <a:gd name="T1" fmla="*/ 0 h 10"/>
                    <a:gd name="T2" fmla="*/ 5 w 114"/>
                    <a:gd name="T3" fmla="*/ 0 h 10"/>
                    <a:gd name="T4" fmla="*/ 0 w 114"/>
                    <a:gd name="T5" fmla="*/ 5 h 10"/>
                    <a:gd name="T6" fmla="*/ 5 w 114"/>
                    <a:gd name="T7" fmla="*/ 10 h 10"/>
                    <a:gd name="T8" fmla="*/ 109 w 114"/>
                    <a:gd name="T9" fmla="*/ 10 h 10"/>
                    <a:gd name="T10" fmla="*/ 114 w 114"/>
                    <a:gd name="T11" fmla="*/ 5 h 10"/>
                    <a:gd name="T12" fmla="*/ 109 w 11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4" h="10">
                      <a:moveTo>
                        <a:pt x="109" y="0"/>
                      </a:moveTo>
                      <a:cubicBezTo>
                        <a:pt x="5" y="0"/>
                        <a:pt x="5" y="0"/>
                        <a:pt x="5" y="0"/>
                      </a:cubicBezTo>
                      <a:cubicBezTo>
                        <a:pt x="2" y="0"/>
                        <a:pt x="0" y="2"/>
                        <a:pt x="0" y="5"/>
                      </a:cubicBezTo>
                      <a:cubicBezTo>
                        <a:pt x="0" y="7"/>
                        <a:pt x="2" y="10"/>
                        <a:pt x="5" y="10"/>
                      </a:cubicBezTo>
                      <a:cubicBezTo>
                        <a:pt x="109" y="10"/>
                        <a:pt x="109" y="10"/>
                        <a:pt x="109" y="10"/>
                      </a:cubicBezTo>
                      <a:cubicBezTo>
                        <a:pt x="111" y="10"/>
                        <a:pt x="114" y="7"/>
                        <a:pt x="114" y="5"/>
                      </a:cubicBezTo>
                      <a:cubicBezTo>
                        <a:pt x="114" y="2"/>
                        <a:pt x="111" y="0"/>
                        <a:pt x="10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25" name="Freeform 69">
                  <a:extLst>
                    <a:ext uri="{FF2B5EF4-FFF2-40B4-BE49-F238E27FC236}">
                      <a16:creationId xmlns:a16="http://schemas.microsoft.com/office/drawing/2014/main" id="{2CE5E292-BC45-4468-B71B-4A6ADB984718}"/>
                    </a:ext>
                  </a:extLst>
                </p:cNvPr>
                <p:cNvSpPr>
                  <a:spLocks/>
                </p:cNvSpPr>
                <p:nvPr/>
              </p:nvSpPr>
              <p:spPr bwMode="auto">
                <a:xfrm>
                  <a:off x="1781175" y="5695950"/>
                  <a:ext cx="273050" cy="23813"/>
                </a:xfrm>
                <a:custGeom>
                  <a:avLst/>
                  <a:gdLst>
                    <a:gd name="T0" fmla="*/ 109 w 114"/>
                    <a:gd name="T1" fmla="*/ 0 h 10"/>
                    <a:gd name="T2" fmla="*/ 5 w 114"/>
                    <a:gd name="T3" fmla="*/ 0 h 10"/>
                    <a:gd name="T4" fmla="*/ 0 w 114"/>
                    <a:gd name="T5" fmla="*/ 5 h 10"/>
                    <a:gd name="T6" fmla="*/ 5 w 114"/>
                    <a:gd name="T7" fmla="*/ 10 h 10"/>
                    <a:gd name="T8" fmla="*/ 109 w 114"/>
                    <a:gd name="T9" fmla="*/ 10 h 10"/>
                    <a:gd name="T10" fmla="*/ 114 w 114"/>
                    <a:gd name="T11" fmla="*/ 5 h 10"/>
                    <a:gd name="T12" fmla="*/ 109 w 11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4" h="10">
                      <a:moveTo>
                        <a:pt x="109" y="0"/>
                      </a:moveTo>
                      <a:cubicBezTo>
                        <a:pt x="5" y="0"/>
                        <a:pt x="5" y="0"/>
                        <a:pt x="5" y="0"/>
                      </a:cubicBezTo>
                      <a:cubicBezTo>
                        <a:pt x="2" y="0"/>
                        <a:pt x="0" y="2"/>
                        <a:pt x="0" y="5"/>
                      </a:cubicBezTo>
                      <a:cubicBezTo>
                        <a:pt x="0" y="7"/>
                        <a:pt x="2" y="10"/>
                        <a:pt x="5" y="10"/>
                      </a:cubicBezTo>
                      <a:cubicBezTo>
                        <a:pt x="109" y="10"/>
                        <a:pt x="109" y="10"/>
                        <a:pt x="109" y="10"/>
                      </a:cubicBezTo>
                      <a:cubicBezTo>
                        <a:pt x="111" y="10"/>
                        <a:pt x="114" y="7"/>
                        <a:pt x="114" y="5"/>
                      </a:cubicBezTo>
                      <a:cubicBezTo>
                        <a:pt x="114" y="2"/>
                        <a:pt x="111" y="0"/>
                        <a:pt x="10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26" name="Freeform 70">
                  <a:extLst>
                    <a:ext uri="{FF2B5EF4-FFF2-40B4-BE49-F238E27FC236}">
                      <a16:creationId xmlns:a16="http://schemas.microsoft.com/office/drawing/2014/main" id="{0BD6E49D-6BB9-4215-AC6E-CEF99CF5DFE5}"/>
                    </a:ext>
                  </a:extLst>
                </p:cNvPr>
                <p:cNvSpPr>
                  <a:spLocks/>
                </p:cNvSpPr>
                <p:nvPr/>
              </p:nvSpPr>
              <p:spPr bwMode="auto">
                <a:xfrm>
                  <a:off x="1781175" y="5614988"/>
                  <a:ext cx="273050" cy="23813"/>
                </a:xfrm>
                <a:custGeom>
                  <a:avLst/>
                  <a:gdLst>
                    <a:gd name="T0" fmla="*/ 109 w 114"/>
                    <a:gd name="T1" fmla="*/ 0 h 10"/>
                    <a:gd name="T2" fmla="*/ 5 w 114"/>
                    <a:gd name="T3" fmla="*/ 0 h 10"/>
                    <a:gd name="T4" fmla="*/ 0 w 114"/>
                    <a:gd name="T5" fmla="*/ 5 h 10"/>
                    <a:gd name="T6" fmla="*/ 5 w 114"/>
                    <a:gd name="T7" fmla="*/ 10 h 10"/>
                    <a:gd name="T8" fmla="*/ 109 w 114"/>
                    <a:gd name="T9" fmla="*/ 10 h 10"/>
                    <a:gd name="T10" fmla="*/ 114 w 114"/>
                    <a:gd name="T11" fmla="*/ 5 h 10"/>
                    <a:gd name="T12" fmla="*/ 109 w 11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4" h="10">
                      <a:moveTo>
                        <a:pt x="109" y="0"/>
                      </a:moveTo>
                      <a:cubicBezTo>
                        <a:pt x="5" y="0"/>
                        <a:pt x="5" y="0"/>
                        <a:pt x="5" y="0"/>
                      </a:cubicBezTo>
                      <a:cubicBezTo>
                        <a:pt x="2" y="0"/>
                        <a:pt x="0" y="2"/>
                        <a:pt x="0" y="5"/>
                      </a:cubicBezTo>
                      <a:cubicBezTo>
                        <a:pt x="0" y="7"/>
                        <a:pt x="2" y="10"/>
                        <a:pt x="5" y="10"/>
                      </a:cubicBezTo>
                      <a:cubicBezTo>
                        <a:pt x="109" y="10"/>
                        <a:pt x="109" y="10"/>
                        <a:pt x="109" y="10"/>
                      </a:cubicBezTo>
                      <a:cubicBezTo>
                        <a:pt x="111" y="10"/>
                        <a:pt x="114" y="7"/>
                        <a:pt x="114" y="5"/>
                      </a:cubicBezTo>
                      <a:cubicBezTo>
                        <a:pt x="114" y="2"/>
                        <a:pt x="111" y="0"/>
                        <a:pt x="10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27" name="Freeform 71">
                  <a:extLst>
                    <a:ext uri="{FF2B5EF4-FFF2-40B4-BE49-F238E27FC236}">
                      <a16:creationId xmlns:a16="http://schemas.microsoft.com/office/drawing/2014/main" id="{BEC31180-1130-48F0-A010-446019D55F3B}"/>
                    </a:ext>
                  </a:extLst>
                </p:cNvPr>
                <p:cNvSpPr>
                  <a:spLocks/>
                </p:cNvSpPr>
                <p:nvPr/>
              </p:nvSpPr>
              <p:spPr bwMode="auto">
                <a:xfrm>
                  <a:off x="1781175" y="5534025"/>
                  <a:ext cx="136525" cy="20638"/>
                </a:xfrm>
                <a:custGeom>
                  <a:avLst/>
                  <a:gdLst>
                    <a:gd name="T0" fmla="*/ 5 w 57"/>
                    <a:gd name="T1" fmla="*/ 9 h 9"/>
                    <a:gd name="T2" fmla="*/ 52 w 57"/>
                    <a:gd name="T3" fmla="*/ 9 h 9"/>
                    <a:gd name="T4" fmla="*/ 57 w 57"/>
                    <a:gd name="T5" fmla="*/ 5 h 9"/>
                    <a:gd name="T6" fmla="*/ 52 w 57"/>
                    <a:gd name="T7" fmla="*/ 0 h 9"/>
                    <a:gd name="T8" fmla="*/ 5 w 57"/>
                    <a:gd name="T9" fmla="*/ 0 h 9"/>
                    <a:gd name="T10" fmla="*/ 0 w 57"/>
                    <a:gd name="T11" fmla="*/ 5 h 9"/>
                    <a:gd name="T12" fmla="*/ 5 w 57"/>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57" h="9">
                      <a:moveTo>
                        <a:pt x="5" y="9"/>
                      </a:moveTo>
                      <a:cubicBezTo>
                        <a:pt x="52" y="9"/>
                        <a:pt x="52" y="9"/>
                        <a:pt x="52" y="9"/>
                      </a:cubicBezTo>
                      <a:cubicBezTo>
                        <a:pt x="54" y="9"/>
                        <a:pt x="57" y="7"/>
                        <a:pt x="57" y="5"/>
                      </a:cubicBezTo>
                      <a:cubicBezTo>
                        <a:pt x="57" y="2"/>
                        <a:pt x="54" y="0"/>
                        <a:pt x="52" y="0"/>
                      </a:cubicBezTo>
                      <a:cubicBezTo>
                        <a:pt x="5" y="0"/>
                        <a:pt x="5" y="0"/>
                        <a:pt x="5" y="0"/>
                      </a:cubicBezTo>
                      <a:cubicBezTo>
                        <a:pt x="2" y="0"/>
                        <a:pt x="0" y="2"/>
                        <a:pt x="0" y="5"/>
                      </a:cubicBezTo>
                      <a:cubicBezTo>
                        <a:pt x="0" y="7"/>
                        <a:pt x="2" y="9"/>
                        <a:pt x="5"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28" name="Freeform 72">
                  <a:extLst>
                    <a:ext uri="{FF2B5EF4-FFF2-40B4-BE49-F238E27FC236}">
                      <a16:creationId xmlns:a16="http://schemas.microsoft.com/office/drawing/2014/main" id="{5E1B587E-1556-4EFA-BCEE-B0244F9C99D3}"/>
                    </a:ext>
                  </a:extLst>
                </p:cNvPr>
                <p:cNvSpPr>
                  <a:spLocks noEditPoints="1"/>
                </p:cNvSpPr>
                <p:nvPr/>
              </p:nvSpPr>
              <p:spPr bwMode="auto">
                <a:xfrm>
                  <a:off x="1690688" y="5349875"/>
                  <a:ext cx="465138" cy="579438"/>
                </a:xfrm>
                <a:custGeom>
                  <a:avLst/>
                  <a:gdLst>
                    <a:gd name="T0" fmla="*/ 190 w 194"/>
                    <a:gd name="T1" fmla="*/ 37 h 242"/>
                    <a:gd name="T2" fmla="*/ 156 w 194"/>
                    <a:gd name="T3" fmla="*/ 4 h 242"/>
                    <a:gd name="T4" fmla="*/ 147 w 194"/>
                    <a:gd name="T5" fmla="*/ 0 h 242"/>
                    <a:gd name="T6" fmla="*/ 147 w 194"/>
                    <a:gd name="T7" fmla="*/ 0 h 242"/>
                    <a:gd name="T8" fmla="*/ 13 w 194"/>
                    <a:gd name="T9" fmla="*/ 0 h 242"/>
                    <a:gd name="T10" fmla="*/ 0 w 194"/>
                    <a:gd name="T11" fmla="*/ 13 h 242"/>
                    <a:gd name="T12" fmla="*/ 0 w 194"/>
                    <a:gd name="T13" fmla="*/ 229 h 242"/>
                    <a:gd name="T14" fmla="*/ 13 w 194"/>
                    <a:gd name="T15" fmla="*/ 242 h 242"/>
                    <a:gd name="T16" fmla="*/ 181 w 194"/>
                    <a:gd name="T17" fmla="*/ 242 h 242"/>
                    <a:gd name="T18" fmla="*/ 194 w 194"/>
                    <a:gd name="T19" fmla="*/ 229 h 242"/>
                    <a:gd name="T20" fmla="*/ 194 w 194"/>
                    <a:gd name="T21" fmla="*/ 46 h 242"/>
                    <a:gd name="T22" fmla="*/ 190 w 194"/>
                    <a:gd name="T23" fmla="*/ 37 h 242"/>
                    <a:gd name="T24" fmla="*/ 180 w 194"/>
                    <a:gd name="T25" fmla="*/ 41 h 242"/>
                    <a:gd name="T26" fmla="*/ 152 w 194"/>
                    <a:gd name="T27" fmla="*/ 41 h 242"/>
                    <a:gd name="T28" fmla="*/ 152 w 194"/>
                    <a:gd name="T29" fmla="*/ 13 h 242"/>
                    <a:gd name="T30" fmla="*/ 180 w 194"/>
                    <a:gd name="T31" fmla="*/ 41 h 242"/>
                    <a:gd name="T32" fmla="*/ 181 w 194"/>
                    <a:gd name="T33" fmla="*/ 232 h 242"/>
                    <a:gd name="T34" fmla="*/ 13 w 194"/>
                    <a:gd name="T35" fmla="*/ 232 h 242"/>
                    <a:gd name="T36" fmla="*/ 9 w 194"/>
                    <a:gd name="T37" fmla="*/ 229 h 242"/>
                    <a:gd name="T38" fmla="*/ 9 w 194"/>
                    <a:gd name="T39" fmla="*/ 13 h 242"/>
                    <a:gd name="T40" fmla="*/ 13 w 194"/>
                    <a:gd name="T41" fmla="*/ 10 h 242"/>
                    <a:gd name="T42" fmla="*/ 142 w 194"/>
                    <a:gd name="T43" fmla="*/ 10 h 242"/>
                    <a:gd name="T44" fmla="*/ 142 w 194"/>
                    <a:gd name="T45" fmla="*/ 46 h 242"/>
                    <a:gd name="T46" fmla="*/ 147 w 194"/>
                    <a:gd name="T47" fmla="*/ 51 h 242"/>
                    <a:gd name="T48" fmla="*/ 184 w 194"/>
                    <a:gd name="T49" fmla="*/ 51 h 242"/>
                    <a:gd name="T50" fmla="*/ 184 w 194"/>
                    <a:gd name="T51" fmla="*/ 229 h 242"/>
                    <a:gd name="T52" fmla="*/ 181 w 194"/>
                    <a:gd name="T53" fmla="*/ 23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4" h="242">
                      <a:moveTo>
                        <a:pt x="190" y="37"/>
                      </a:moveTo>
                      <a:cubicBezTo>
                        <a:pt x="156" y="4"/>
                        <a:pt x="156" y="4"/>
                        <a:pt x="156" y="4"/>
                      </a:cubicBezTo>
                      <a:cubicBezTo>
                        <a:pt x="153" y="1"/>
                        <a:pt x="150" y="0"/>
                        <a:pt x="147" y="0"/>
                      </a:cubicBezTo>
                      <a:cubicBezTo>
                        <a:pt x="147" y="0"/>
                        <a:pt x="147" y="0"/>
                        <a:pt x="147" y="0"/>
                      </a:cubicBezTo>
                      <a:cubicBezTo>
                        <a:pt x="13" y="0"/>
                        <a:pt x="13" y="0"/>
                        <a:pt x="13" y="0"/>
                      </a:cubicBezTo>
                      <a:cubicBezTo>
                        <a:pt x="5" y="0"/>
                        <a:pt x="0" y="6"/>
                        <a:pt x="0" y="13"/>
                      </a:cubicBezTo>
                      <a:cubicBezTo>
                        <a:pt x="0" y="229"/>
                        <a:pt x="0" y="229"/>
                        <a:pt x="0" y="229"/>
                      </a:cubicBezTo>
                      <a:cubicBezTo>
                        <a:pt x="0" y="236"/>
                        <a:pt x="5" y="242"/>
                        <a:pt x="13" y="242"/>
                      </a:cubicBezTo>
                      <a:cubicBezTo>
                        <a:pt x="181" y="242"/>
                        <a:pt x="181" y="242"/>
                        <a:pt x="181" y="242"/>
                      </a:cubicBezTo>
                      <a:cubicBezTo>
                        <a:pt x="188" y="242"/>
                        <a:pt x="194" y="236"/>
                        <a:pt x="194" y="229"/>
                      </a:cubicBezTo>
                      <a:cubicBezTo>
                        <a:pt x="194" y="46"/>
                        <a:pt x="194" y="46"/>
                        <a:pt x="194" y="46"/>
                      </a:cubicBezTo>
                      <a:cubicBezTo>
                        <a:pt x="194" y="43"/>
                        <a:pt x="192" y="39"/>
                        <a:pt x="190" y="37"/>
                      </a:cubicBezTo>
                      <a:close/>
                      <a:moveTo>
                        <a:pt x="180" y="41"/>
                      </a:moveTo>
                      <a:cubicBezTo>
                        <a:pt x="152" y="41"/>
                        <a:pt x="152" y="41"/>
                        <a:pt x="152" y="41"/>
                      </a:cubicBezTo>
                      <a:cubicBezTo>
                        <a:pt x="152" y="13"/>
                        <a:pt x="152" y="13"/>
                        <a:pt x="152" y="13"/>
                      </a:cubicBezTo>
                      <a:lnTo>
                        <a:pt x="180" y="41"/>
                      </a:lnTo>
                      <a:close/>
                      <a:moveTo>
                        <a:pt x="181" y="232"/>
                      </a:moveTo>
                      <a:cubicBezTo>
                        <a:pt x="13" y="232"/>
                        <a:pt x="13" y="232"/>
                        <a:pt x="13" y="232"/>
                      </a:cubicBezTo>
                      <a:cubicBezTo>
                        <a:pt x="11" y="232"/>
                        <a:pt x="9" y="231"/>
                        <a:pt x="9" y="229"/>
                      </a:cubicBezTo>
                      <a:cubicBezTo>
                        <a:pt x="9" y="13"/>
                        <a:pt x="9" y="13"/>
                        <a:pt x="9" y="13"/>
                      </a:cubicBezTo>
                      <a:cubicBezTo>
                        <a:pt x="9" y="11"/>
                        <a:pt x="11" y="10"/>
                        <a:pt x="13" y="10"/>
                      </a:cubicBezTo>
                      <a:cubicBezTo>
                        <a:pt x="142" y="10"/>
                        <a:pt x="142" y="10"/>
                        <a:pt x="142" y="10"/>
                      </a:cubicBezTo>
                      <a:cubicBezTo>
                        <a:pt x="142" y="46"/>
                        <a:pt x="142" y="46"/>
                        <a:pt x="142" y="46"/>
                      </a:cubicBezTo>
                      <a:cubicBezTo>
                        <a:pt x="142" y="49"/>
                        <a:pt x="144" y="51"/>
                        <a:pt x="147" y="51"/>
                      </a:cubicBezTo>
                      <a:cubicBezTo>
                        <a:pt x="184" y="51"/>
                        <a:pt x="184" y="51"/>
                        <a:pt x="184" y="51"/>
                      </a:cubicBezTo>
                      <a:cubicBezTo>
                        <a:pt x="184" y="229"/>
                        <a:pt x="184" y="229"/>
                        <a:pt x="184" y="229"/>
                      </a:cubicBezTo>
                      <a:cubicBezTo>
                        <a:pt x="184" y="231"/>
                        <a:pt x="182" y="232"/>
                        <a:pt x="181" y="2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23" name="Freeform 547">
                <a:extLst>
                  <a:ext uri="{FF2B5EF4-FFF2-40B4-BE49-F238E27FC236}">
                    <a16:creationId xmlns:a16="http://schemas.microsoft.com/office/drawing/2014/main" id="{E05B9567-C06F-4895-B96C-079437953971}"/>
                  </a:ext>
                </a:extLst>
              </p:cNvPr>
              <p:cNvSpPr>
                <a:spLocks noEditPoints="1"/>
              </p:cNvSpPr>
              <p:nvPr/>
            </p:nvSpPr>
            <p:spPr bwMode="auto">
              <a:xfrm>
                <a:off x="6042955" y="3704076"/>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891" b="0" i="0" u="none" strike="noStrike" kern="0" cap="none" spc="0" normalizeH="0" baseline="0" noProof="0" dirty="0">
                  <a:ln>
                    <a:noFill/>
                  </a:ln>
                  <a:solidFill>
                    <a:prstClr val="black"/>
                  </a:solidFill>
                  <a:effectLst/>
                  <a:uLnTx/>
                  <a:uFillTx/>
                  <a:latin typeface="Calibri"/>
                  <a:ea typeface="+mn-ea"/>
                  <a:cs typeface="+mn-cs"/>
                </a:endParaRPr>
              </a:p>
            </p:txBody>
          </p:sp>
        </p:grpSp>
      </p:grpSp>
      <p:grpSp>
        <p:nvGrpSpPr>
          <p:cNvPr id="97" name="Group 96">
            <a:extLst>
              <a:ext uri="{FF2B5EF4-FFF2-40B4-BE49-F238E27FC236}">
                <a16:creationId xmlns:a16="http://schemas.microsoft.com/office/drawing/2014/main" id="{52535618-950F-4AD7-9879-71AC75964C40}"/>
              </a:ext>
            </a:extLst>
          </p:cNvPr>
          <p:cNvGrpSpPr/>
          <p:nvPr userDrawn="1"/>
        </p:nvGrpSpPr>
        <p:grpSpPr>
          <a:xfrm>
            <a:off x="11307787" y="2933749"/>
            <a:ext cx="884213" cy="978408"/>
            <a:chOff x="10576386" y="144060"/>
            <a:chExt cx="884213" cy="978408"/>
          </a:xfrm>
          <a:solidFill>
            <a:srgbClr val="00ABAB"/>
          </a:solidFill>
        </p:grpSpPr>
        <p:sp>
          <p:nvSpPr>
            <p:cNvPr id="92" name="Rectangle 91">
              <a:extLst>
                <a:ext uri="{FF2B5EF4-FFF2-40B4-BE49-F238E27FC236}">
                  <a16:creationId xmlns:a16="http://schemas.microsoft.com/office/drawing/2014/main" id="{F323AD46-8660-48EE-92AD-6D2A6F4AA1C9}"/>
                </a:ext>
              </a:extLst>
            </p:cNvPr>
            <p:cNvSpPr/>
            <p:nvPr userDrawn="1"/>
          </p:nvSpPr>
          <p:spPr bwMode="gray">
            <a:xfrm>
              <a:off x="10576386" y="144060"/>
              <a:ext cx="884213" cy="978408"/>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94" name="Group 93">
              <a:extLst>
                <a:ext uri="{FF2B5EF4-FFF2-40B4-BE49-F238E27FC236}">
                  <a16:creationId xmlns:a16="http://schemas.microsoft.com/office/drawing/2014/main" id="{4B2371B7-590D-4ABB-BDC0-360DEF0B7FFD}"/>
                </a:ext>
              </a:extLst>
            </p:cNvPr>
            <p:cNvGrpSpPr/>
            <p:nvPr userDrawn="1"/>
          </p:nvGrpSpPr>
          <p:grpSpPr>
            <a:xfrm>
              <a:off x="10834501" y="254280"/>
              <a:ext cx="367982" cy="367982"/>
              <a:chOff x="7153126" y="1943100"/>
              <a:chExt cx="367982" cy="367982"/>
            </a:xfrm>
            <a:grpFill/>
          </p:grpSpPr>
          <p:sp>
            <p:nvSpPr>
              <p:cNvPr id="95" name="Freeform 903">
                <a:extLst>
                  <a:ext uri="{FF2B5EF4-FFF2-40B4-BE49-F238E27FC236}">
                    <a16:creationId xmlns:a16="http://schemas.microsoft.com/office/drawing/2014/main" id="{61F505EF-133A-48E6-A4FA-8980F74FC532}"/>
                  </a:ext>
                </a:extLst>
              </p:cNvPr>
              <p:cNvSpPr>
                <a:spLocks noEditPoints="1"/>
              </p:cNvSpPr>
              <p:nvPr/>
            </p:nvSpPr>
            <p:spPr bwMode="auto">
              <a:xfrm>
                <a:off x="7153126" y="1943100"/>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1982"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96" name="Freeform 118">
                <a:extLst>
                  <a:ext uri="{FF2B5EF4-FFF2-40B4-BE49-F238E27FC236}">
                    <a16:creationId xmlns:a16="http://schemas.microsoft.com/office/drawing/2014/main" id="{B4CF30F2-52CB-48DB-A00A-78AA01E6D16A}"/>
                  </a:ext>
                </a:extLst>
              </p:cNvPr>
              <p:cNvSpPr>
                <a:spLocks noChangeAspect="1"/>
              </p:cNvSpPr>
              <p:nvPr/>
            </p:nvSpPr>
            <p:spPr bwMode="auto">
              <a:xfrm>
                <a:off x="7213994" y="1999986"/>
                <a:ext cx="230527" cy="221307"/>
              </a:xfrm>
              <a:custGeom>
                <a:avLst/>
                <a:gdLst>
                  <a:gd name="T0" fmla="*/ 183 w 233"/>
                  <a:gd name="T1" fmla="*/ 167 h 224"/>
                  <a:gd name="T2" fmla="*/ 142 w 233"/>
                  <a:gd name="T3" fmla="*/ 126 h 224"/>
                  <a:gd name="T4" fmla="*/ 156 w 233"/>
                  <a:gd name="T5" fmla="*/ 96 h 224"/>
                  <a:gd name="T6" fmla="*/ 167 w 233"/>
                  <a:gd name="T7" fmla="*/ 75 h 224"/>
                  <a:gd name="T8" fmla="*/ 163 w 233"/>
                  <a:gd name="T9" fmla="*/ 65 h 224"/>
                  <a:gd name="T10" fmla="*/ 166 w 233"/>
                  <a:gd name="T11" fmla="*/ 43 h 224"/>
                  <a:gd name="T12" fmla="*/ 117 w 233"/>
                  <a:gd name="T13" fmla="*/ 0 h 224"/>
                  <a:gd name="T14" fmla="*/ 67 w 233"/>
                  <a:gd name="T15" fmla="*/ 43 h 224"/>
                  <a:gd name="T16" fmla="*/ 70 w 233"/>
                  <a:gd name="T17" fmla="*/ 65 h 224"/>
                  <a:gd name="T18" fmla="*/ 66 w 233"/>
                  <a:gd name="T19" fmla="*/ 75 h 224"/>
                  <a:gd name="T20" fmla="*/ 77 w 233"/>
                  <a:gd name="T21" fmla="*/ 96 h 224"/>
                  <a:gd name="T22" fmla="*/ 91 w 233"/>
                  <a:gd name="T23" fmla="*/ 126 h 224"/>
                  <a:gd name="T24" fmla="*/ 51 w 233"/>
                  <a:gd name="T25" fmla="*/ 167 h 224"/>
                  <a:gd name="T26" fmla="*/ 0 w 233"/>
                  <a:gd name="T27" fmla="*/ 197 h 224"/>
                  <a:gd name="T28" fmla="*/ 0 w 233"/>
                  <a:gd name="T29" fmla="*/ 224 h 224"/>
                  <a:gd name="T30" fmla="*/ 117 w 233"/>
                  <a:gd name="T31" fmla="*/ 224 h 224"/>
                  <a:gd name="T32" fmla="*/ 233 w 233"/>
                  <a:gd name="T33" fmla="*/ 224 h 224"/>
                  <a:gd name="T34" fmla="*/ 233 w 233"/>
                  <a:gd name="T35" fmla="*/ 197 h 224"/>
                  <a:gd name="T36" fmla="*/ 183 w 233"/>
                  <a:gd name="T37" fmla="*/ 16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3" h="224">
                    <a:moveTo>
                      <a:pt x="183" y="167"/>
                    </a:moveTo>
                    <a:cubicBezTo>
                      <a:pt x="152" y="156"/>
                      <a:pt x="142" y="146"/>
                      <a:pt x="142" y="126"/>
                    </a:cubicBezTo>
                    <a:cubicBezTo>
                      <a:pt x="142" y="114"/>
                      <a:pt x="152" y="118"/>
                      <a:pt x="156" y="96"/>
                    </a:cubicBezTo>
                    <a:cubicBezTo>
                      <a:pt x="157" y="87"/>
                      <a:pt x="166" y="96"/>
                      <a:pt x="167" y="75"/>
                    </a:cubicBezTo>
                    <a:cubicBezTo>
                      <a:pt x="167" y="67"/>
                      <a:pt x="163" y="65"/>
                      <a:pt x="163" y="65"/>
                    </a:cubicBezTo>
                    <a:cubicBezTo>
                      <a:pt x="163" y="65"/>
                      <a:pt x="165" y="52"/>
                      <a:pt x="166" y="43"/>
                    </a:cubicBezTo>
                    <a:cubicBezTo>
                      <a:pt x="167" y="31"/>
                      <a:pt x="159" y="0"/>
                      <a:pt x="117" y="0"/>
                    </a:cubicBezTo>
                    <a:cubicBezTo>
                      <a:pt x="74" y="0"/>
                      <a:pt x="66" y="31"/>
                      <a:pt x="67" y="43"/>
                    </a:cubicBezTo>
                    <a:cubicBezTo>
                      <a:pt x="68" y="52"/>
                      <a:pt x="70" y="65"/>
                      <a:pt x="70" y="65"/>
                    </a:cubicBezTo>
                    <a:cubicBezTo>
                      <a:pt x="70" y="65"/>
                      <a:pt x="66" y="67"/>
                      <a:pt x="66" y="75"/>
                    </a:cubicBezTo>
                    <a:cubicBezTo>
                      <a:pt x="67" y="96"/>
                      <a:pt x="76" y="87"/>
                      <a:pt x="77" y="96"/>
                    </a:cubicBezTo>
                    <a:cubicBezTo>
                      <a:pt x="82" y="118"/>
                      <a:pt x="91" y="114"/>
                      <a:pt x="91" y="126"/>
                    </a:cubicBezTo>
                    <a:cubicBezTo>
                      <a:pt x="91" y="146"/>
                      <a:pt x="81" y="156"/>
                      <a:pt x="51" y="167"/>
                    </a:cubicBezTo>
                    <a:cubicBezTo>
                      <a:pt x="20" y="178"/>
                      <a:pt x="0" y="190"/>
                      <a:pt x="0" y="197"/>
                    </a:cubicBezTo>
                    <a:cubicBezTo>
                      <a:pt x="0" y="205"/>
                      <a:pt x="0" y="224"/>
                      <a:pt x="0" y="224"/>
                    </a:cubicBezTo>
                    <a:cubicBezTo>
                      <a:pt x="117" y="224"/>
                      <a:pt x="117" y="224"/>
                      <a:pt x="117" y="224"/>
                    </a:cubicBezTo>
                    <a:cubicBezTo>
                      <a:pt x="233" y="224"/>
                      <a:pt x="233" y="224"/>
                      <a:pt x="233" y="224"/>
                    </a:cubicBezTo>
                    <a:cubicBezTo>
                      <a:pt x="233" y="224"/>
                      <a:pt x="233" y="205"/>
                      <a:pt x="233" y="197"/>
                    </a:cubicBezTo>
                    <a:cubicBezTo>
                      <a:pt x="233" y="190"/>
                      <a:pt x="213" y="178"/>
                      <a:pt x="183" y="167"/>
                    </a:cubicBezTo>
                    <a:close/>
                  </a:path>
                </a:pathLst>
              </a:custGeom>
              <a:grp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grpSp>
      </p:grpSp>
      <p:grpSp>
        <p:nvGrpSpPr>
          <p:cNvPr id="111" name="Group 110">
            <a:extLst>
              <a:ext uri="{FF2B5EF4-FFF2-40B4-BE49-F238E27FC236}">
                <a16:creationId xmlns:a16="http://schemas.microsoft.com/office/drawing/2014/main" id="{CB4FE53B-15EF-490D-BEA2-F8045E446B21}"/>
              </a:ext>
            </a:extLst>
          </p:cNvPr>
          <p:cNvGrpSpPr/>
          <p:nvPr userDrawn="1"/>
        </p:nvGrpSpPr>
        <p:grpSpPr>
          <a:xfrm>
            <a:off x="11307787" y="3885439"/>
            <a:ext cx="884213" cy="1008246"/>
            <a:chOff x="10576385" y="152400"/>
            <a:chExt cx="884213" cy="978408"/>
          </a:xfrm>
        </p:grpSpPr>
        <p:sp>
          <p:nvSpPr>
            <p:cNvPr id="106" name="Rectangle 105">
              <a:extLst>
                <a:ext uri="{FF2B5EF4-FFF2-40B4-BE49-F238E27FC236}">
                  <a16:creationId xmlns:a16="http://schemas.microsoft.com/office/drawing/2014/main" id="{88D691AE-DA2F-4DF1-AC3F-DDF1627E3081}"/>
                </a:ext>
              </a:extLst>
            </p:cNvPr>
            <p:cNvSpPr/>
            <p:nvPr userDrawn="1"/>
          </p:nvSpPr>
          <p:spPr bwMode="gray">
            <a:xfrm>
              <a:off x="10576385" y="152400"/>
              <a:ext cx="884213" cy="978408"/>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108" name="Group 48">
              <a:extLst>
                <a:ext uri="{FF2B5EF4-FFF2-40B4-BE49-F238E27FC236}">
                  <a16:creationId xmlns:a16="http://schemas.microsoft.com/office/drawing/2014/main" id="{8EE494FB-3BDC-4EDF-8EC3-4A82DD3087A1}"/>
                </a:ext>
              </a:extLst>
            </p:cNvPr>
            <p:cNvGrpSpPr>
              <a:grpSpLocks noChangeAspect="1"/>
            </p:cNvGrpSpPr>
            <p:nvPr userDrawn="1"/>
          </p:nvGrpSpPr>
          <p:grpSpPr bwMode="auto">
            <a:xfrm>
              <a:off x="10834676" y="260360"/>
              <a:ext cx="367631" cy="367631"/>
              <a:chOff x="4277" y="1990"/>
              <a:chExt cx="340" cy="340"/>
            </a:xfrm>
            <a:solidFill>
              <a:schemeClr val="bg1"/>
            </a:solidFill>
          </p:grpSpPr>
          <p:sp>
            <p:nvSpPr>
              <p:cNvPr id="109" name="Freeform 49">
                <a:extLst>
                  <a:ext uri="{FF2B5EF4-FFF2-40B4-BE49-F238E27FC236}">
                    <a16:creationId xmlns:a16="http://schemas.microsoft.com/office/drawing/2014/main" id="{17AD528F-9C4F-45E9-B80B-A32ADF2C35B1}"/>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110" name="Freeform 50">
                <a:extLst>
                  <a:ext uri="{FF2B5EF4-FFF2-40B4-BE49-F238E27FC236}">
                    <a16:creationId xmlns:a16="http://schemas.microsoft.com/office/drawing/2014/main" id="{6E138BF3-BBA7-4F81-912B-C243DF5AC186}"/>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grpSp>
      </p:grpSp>
      <p:grpSp>
        <p:nvGrpSpPr>
          <p:cNvPr id="126" name="Group 125">
            <a:extLst>
              <a:ext uri="{FF2B5EF4-FFF2-40B4-BE49-F238E27FC236}">
                <a16:creationId xmlns:a16="http://schemas.microsoft.com/office/drawing/2014/main" id="{0EE0564B-4411-4F83-B317-594B84DA0DB8}"/>
              </a:ext>
            </a:extLst>
          </p:cNvPr>
          <p:cNvGrpSpPr/>
          <p:nvPr userDrawn="1"/>
        </p:nvGrpSpPr>
        <p:grpSpPr>
          <a:xfrm>
            <a:off x="11307787" y="4885264"/>
            <a:ext cx="884213" cy="978408"/>
            <a:chOff x="10576385" y="152400"/>
            <a:chExt cx="884213" cy="978408"/>
          </a:xfrm>
        </p:grpSpPr>
        <p:sp>
          <p:nvSpPr>
            <p:cNvPr id="118" name="Rectangle 117">
              <a:extLst>
                <a:ext uri="{FF2B5EF4-FFF2-40B4-BE49-F238E27FC236}">
                  <a16:creationId xmlns:a16="http://schemas.microsoft.com/office/drawing/2014/main" id="{EF9C0ABE-D2F0-46AD-9A12-179F940F05DC}"/>
                </a:ext>
              </a:extLst>
            </p:cNvPr>
            <p:cNvSpPr/>
            <p:nvPr userDrawn="1"/>
          </p:nvSpPr>
          <p:spPr bwMode="gray">
            <a:xfrm>
              <a:off x="10576385" y="152400"/>
              <a:ext cx="884213" cy="978408"/>
            </a:xfrm>
            <a:prstGeom prst="rect">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120" name="Group 555">
              <a:extLst>
                <a:ext uri="{FF2B5EF4-FFF2-40B4-BE49-F238E27FC236}">
                  <a16:creationId xmlns:a16="http://schemas.microsoft.com/office/drawing/2014/main" id="{FE33A27F-57F3-4359-A4CE-61F85444064D}"/>
                </a:ext>
              </a:extLst>
            </p:cNvPr>
            <p:cNvGrpSpPr>
              <a:grpSpLocks noChangeAspect="1"/>
            </p:cNvGrpSpPr>
            <p:nvPr userDrawn="1"/>
          </p:nvGrpSpPr>
          <p:grpSpPr bwMode="auto">
            <a:xfrm>
              <a:off x="10833438" y="257395"/>
              <a:ext cx="370106" cy="369021"/>
              <a:chOff x="1130" y="1948"/>
              <a:chExt cx="341" cy="340"/>
            </a:xfrm>
            <a:solidFill>
              <a:schemeClr val="bg1"/>
            </a:solidFill>
          </p:grpSpPr>
          <p:sp>
            <p:nvSpPr>
              <p:cNvPr id="121" name="Freeform 556">
                <a:extLst>
                  <a:ext uri="{FF2B5EF4-FFF2-40B4-BE49-F238E27FC236}">
                    <a16:creationId xmlns:a16="http://schemas.microsoft.com/office/drawing/2014/main" id="{9195C5F7-1EEE-4EF7-B979-B3D2BAEB7AB5}"/>
                  </a:ext>
                </a:extLst>
              </p:cNvPr>
              <p:cNvSpPr>
                <a:spLocks noEditPoints="1"/>
              </p:cNvSpPr>
              <p:nvPr/>
            </p:nvSpPr>
            <p:spPr bwMode="auto">
              <a:xfrm>
                <a:off x="1130" y="194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122" name="Freeform 557">
                <a:extLst>
                  <a:ext uri="{FF2B5EF4-FFF2-40B4-BE49-F238E27FC236}">
                    <a16:creationId xmlns:a16="http://schemas.microsoft.com/office/drawing/2014/main" id="{0B9538E8-019F-4B1D-A1EC-ACCDCB03E039}"/>
                  </a:ext>
                </a:extLst>
              </p:cNvPr>
              <p:cNvSpPr>
                <a:spLocks/>
              </p:cNvSpPr>
              <p:nvPr/>
            </p:nvSpPr>
            <p:spPr bwMode="auto">
              <a:xfrm>
                <a:off x="1322" y="2068"/>
                <a:ext cx="85" cy="14"/>
              </a:xfrm>
              <a:custGeom>
                <a:avLst/>
                <a:gdLst>
                  <a:gd name="T0" fmla="*/ 10 w 128"/>
                  <a:gd name="T1" fmla="*/ 21 h 21"/>
                  <a:gd name="T2" fmla="*/ 117 w 128"/>
                  <a:gd name="T3" fmla="*/ 21 h 21"/>
                  <a:gd name="T4" fmla="*/ 128 w 128"/>
                  <a:gd name="T5" fmla="*/ 11 h 21"/>
                  <a:gd name="T6" fmla="*/ 117 w 128"/>
                  <a:gd name="T7" fmla="*/ 0 h 21"/>
                  <a:gd name="T8" fmla="*/ 10 w 128"/>
                  <a:gd name="T9" fmla="*/ 0 h 21"/>
                  <a:gd name="T10" fmla="*/ 0 w 128"/>
                  <a:gd name="T11" fmla="*/ 11 h 21"/>
                  <a:gd name="T12" fmla="*/ 10 w 12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0" y="21"/>
                    </a:moveTo>
                    <a:cubicBezTo>
                      <a:pt x="117" y="21"/>
                      <a:pt x="117" y="21"/>
                      <a:pt x="117" y="21"/>
                    </a:cubicBezTo>
                    <a:cubicBezTo>
                      <a:pt x="123" y="21"/>
                      <a:pt x="128" y="17"/>
                      <a:pt x="128" y="11"/>
                    </a:cubicBezTo>
                    <a:cubicBezTo>
                      <a:pt x="128" y="5"/>
                      <a:pt x="123" y="0"/>
                      <a:pt x="117"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123" name="Freeform 558">
                <a:extLst>
                  <a:ext uri="{FF2B5EF4-FFF2-40B4-BE49-F238E27FC236}">
                    <a16:creationId xmlns:a16="http://schemas.microsoft.com/office/drawing/2014/main" id="{005E2682-1E6B-439A-A456-BA5EFC751271}"/>
                  </a:ext>
                </a:extLst>
              </p:cNvPr>
              <p:cNvSpPr>
                <a:spLocks/>
              </p:cNvSpPr>
              <p:nvPr/>
            </p:nvSpPr>
            <p:spPr bwMode="auto">
              <a:xfrm>
                <a:off x="1322" y="2097"/>
                <a:ext cx="85" cy="14"/>
              </a:xfrm>
              <a:custGeom>
                <a:avLst/>
                <a:gdLst>
                  <a:gd name="T0" fmla="*/ 117 w 128"/>
                  <a:gd name="T1" fmla="*/ 0 h 21"/>
                  <a:gd name="T2" fmla="*/ 10 w 128"/>
                  <a:gd name="T3" fmla="*/ 0 h 21"/>
                  <a:gd name="T4" fmla="*/ 0 w 128"/>
                  <a:gd name="T5" fmla="*/ 10 h 21"/>
                  <a:gd name="T6" fmla="*/ 10 w 128"/>
                  <a:gd name="T7" fmla="*/ 21 h 21"/>
                  <a:gd name="T8" fmla="*/ 117 w 128"/>
                  <a:gd name="T9" fmla="*/ 21 h 21"/>
                  <a:gd name="T10" fmla="*/ 128 w 128"/>
                  <a:gd name="T11" fmla="*/ 10 h 21"/>
                  <a:gd name="T12" fmla="*/ 117 w 128"/>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17" y="0"/>
                    </a:moveTo>
                    <a:cubicBezTo>
                      <a:pt x="10" y="0"/>
                      <a:pt x="10" y="0"/>
                      <a:pt x="10" y="0"/>
                    </a:cubicBezTo>
                    <a:cubicBezTo>
                      <a:pt x="4" y="0"/>
                      <a:pt x="0" y="4"/>
                      <a:pt x="0" y="10"/>
                    </a:cubicBezTo>
                    <a:cubicBezTo>
                      <a:pt x="0" y="16"/>
                      <a:pt x="4" y="21"/>
                      <a:pt x="10" y="21"/>
                    </a:cubicBezTo>
                    <a:cubicBezTo>
                      <a:pt x="117" y="21"/>
                      <a:pt x="117" y="21"/>
                      <a:pt x="117" y="21"/>
                    </a:cubicBezTo>
                    <a:cubicBezTo>
                      <a:pt x="123" y="21"/>
                      <a:pt x="128" y="16"/>
                      <a:pt x="128" y="10"/>
                    </a:cubicBezTo>
                    <a:cubicBezTo>
                      <a:pt x="128" y="4"/>
                      <a:pt x="123" y="0"/>
                      <a:pt x="1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124" name="Freeform 559">
                <a:extLst>
                  <a:ext uri="{FF2B5EF4-FFF2-40B4-BE49-F238E27FC236}">
                    <a16:creationId xmlns:a16="http://schemas.microsoft.com/office/drawing/2014/main" id="{50782D0F-C253-485F-A5C1-D4CE2265D525}"/>
                  </a:ext>
                </a:extLst>
              </p:cNvPr>
              <p:cNvSpPr>
                <a:spLocks/>
              </p:cNvSpPr>
              <p:nvPr/>
            </p:nvSpPr>
            <p:spPr bwMode="auto">
              <a:xfrm>
                <a:off x="1322" y="2125"/>
                <a:ext cx="85" cy="14"/>
              </a:xfrm>
              <a:custGeom>
                <a:avLst/>
                <a:gdLst>
                  <a:gd name="T0" fmla="*/ 117 w 128"/>
                  <a:gd name="T1" fmla="*/ 0 h 22"/>
                  <a:gd name="T2" fmla="*/ 10 w 128"/>
                  <a:gd name="T3" fmla="*/ 0 h 22"/>
                  <a:gd name="T4" fmla="*/ 0 w 128"/>
                  <a:gd name="T5" fmla="*/ 11 h 22"/>
                  <a:gd name="T6" fmla="*/ 10 w 128"/>
                  <a:gd name="T7" fmla="*/ 22 h 22"/>
                  <a:gd name="T8" fmla="*/ 117 w 128"/>
                  <a:gd name="T9" fmla="*/ 22 h 22"/>
                  <a:gd name="T10" fmla="*/ 128 w 128"/>
                  <a:gd name="T11" fmla="*/ 11 h 22"/>
                  <a:gd name="T12" fmla="*/ 117 w 12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28" h="22">
                    <a:moveTo>
                      <a:pt x="117" y="0"/>
                    </a:moveTo>
                    <a:cubicBezTo>
                      <a:pt x="10" y="0"/>
                      <a:pt x="10" y="0"/>
                      <a:pt x="10" y="0"/>
                    </a:cubicBezTo>
                    <a:cubicBezTo>
                      <a:pt x="4" y="0"/>
                      <a:pt x="0" y="5"/>
                      <a:pt x="0" y="11"/>
                    </a:cubicBezTo>
                    <a:cubicBezTo>
                      <a:pt x="0" y="17"/>
                      <a:pt x="4" y="22"/>
                      <a:pt x="10" y="22"/>
                    </a:cubicBezTo>
                    <a:cubicBezTo>
                      <a:pt x="117" y="22"/>
                      <a:pt x="117" y="22"/>
                      <a:pt x="117" y="22"/>
                    </a:cubicBezTo>
                    <a:cubicBezTo>
                      <a:pt x="123" y="22"/>
                      <a:pt x="128" y="17"/>
                      <a:pt x="128" y="11"/>
                    </a:cubicBezTo>
                    <a:cubicBezTo>
                      <a:pt x="128" y="5"/>
                      <a:pt x="123" y="0"/>
                      <a:pt x="1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125" name="Freeform 560">
                <a:extLst>
                  <a:ext uri="{FF2B5EF4-FFF2-40B4-BE49-F238E27FC236}">
                    <a16:creationId xmlns:a16="http://schemas.microsoft.com/office/drawing/2014/main" id="{5C432577-4E76-40D9-B251-C8BBB77BA002}"/>
                  </a:ext>
                </a:extLst>
              </p:cNvPr>
              <p:cNvSpPr>
                <a:spLocks/>
              </p:cNvSpPr>
              <p:nvPr/>
            </p:nvSpPr>
            <p:spPr bwMode="auto">
              <a:xfrm>
                <a:off x="1193" y="2051"/>
                <a:ext cx="143" cy="139"/>
              </a:xfrm>
              <a:custGeom>
                <a:avLst/>
                <a:gdLst>
                  <a:gd name="T0" fmla="*/ 209 w 216"/>
                  <a:gd name="T1" fmla="*/ 187 h 209"/>
                  <a:gd name="T2" fmla="*/ 173 w 216"/>
                  <a:gd name="T3" fmla="*/ 179 h 209"/>
                  <a:gd name="T4" fmla="*/ 156 w 216"/>
                  <a:gd name="T5" fmla="*/ 176 h 209"/>
                  <a:gd name="T6" fmla="*/ 145 w 216"/>
                  <a:gd name="T7" fmla="*/ 147 h 209"/>
                  <a:gd name="T8" fmla="*/ 167 w 216"/>
                  <a:gd name="T9" fmla="*/ 96 h 209"/>
                  <a:gd name="T10" fmla="*/ 157 w 216"/>
                  <a:gd name="T11" fmla="*/ 22 h 209"/>
                  <a:gd name="T12" fmla="*/ 109 w 216"/>
                  <a:gd name="T13" fmla="*/ 0 h 209"/>
                  <a:gd name="T14" fmla="*/ 59 w 216"/>
                  <a:gd name="T15" fmla="*/ 22 h 209"/>
                  <a:gd name="T16" fmla="*/ 50 w 216"/>
                  <a:gd name="T17" fmla="*/ 96 h 209"/>
                  <a:gd name="T18" fmla="*/ 72 w 216"/>
                  <a:gd name="T19" fmla="*/ 147 h 209"/>
                  <a:gd name="T20" fmla="*/ 61 w 216"/>
                  <a:gd name="T21" fmla="*/ 176 h 209"/>
                  <a:gd name="T22" fmla="*/ 43 w 216"/>
                  <a:gd name="T23" fmla="*/ 179 h 209"/>
                  <a:gd name="T24" fmla="*/ 7 w 216"/>
                  <a:gd name="T25" fmla="*/ 187 h 209"/>
                  <a:gd name="T26" fmla="*/ 3 w 216"/>
                  <a:gd name="T27" fmla="*/ 202 h 209"/>
                  <a:gd name="T28" fmla="*/ 17 w 216"/>
                  <a:gd name="T29" fmla="*/ 206 h 209"/>
                  <a:gd name="T30" fmla="*/ 45 w 216"/>
                  <a:gd name="T31" fmla="*/ 201 h 209"/>
                  <a:gd name="T32" fmla="*/ 70 w 216"/>
                  <a:gd name="T33" fmla="*/ 196 h 209"/>
                  <a:gd name="T34" fmla="*/ 91 w 216"/>
                  <a:gd name="T35" fmla="*/ 163 h 209"/>
                  <a:gd name="T36" fmla="*/ 90 w 216"/>
                  <a:gd name="T37" fmla="*/ 135 h 209"/>
                  <a:gd name="T38" fmla="*/ 71 w 216"/>
                  <a:gd name="T39" fmla="*/ 91 h 209"/>
                  <a:gd name="T40" fmla="*/ 76 w 216"/>
                  <a:gd name="T41" fmla="*/ 36 h 209"/>
                  <a:gd name="T42" fmla="*/ 109 w 216"/>
                  <a:gd name="T43" fmla="*/ 22 h 209"/>
                  <a:gd name="T44" fmla="*/ 141 w 216"/>
                  <a:gd name="T45" fmla="*/ 36 h 209"/>
                  <a:gd name="T46" fmla="*/ 146 w 216"/>
                  <a:gd name="T47" fmla="*/ 91 h 209"/>
                  <a:gd name="T48" fmla="*/ 127 w 216"/>
                  <a:gd name="T49" fmla="*/ 135 h 209"/>
                  <a:gd name="T50" fmla="*/ 125 w 216"/>
                  <a:gd name="T51" fmla="*/ 163 h 209"/>
                  <a:gd name="T52" fmla="*/ 146 w 216"/>
                  <a:gd name="T53" fmla="*/ 196 h 209"/>
                  <a:gd name="T54" fmla="*/ 171 w 216"/>
                  <a:gd name="T55" fmla="*/ 201 h 209"/>
                  <a:gd name="T56" fmla="*/ 199 w 216"/>
                  <a:gd name="T57" fmla="*/ 206 h 209"/>
                  <a:gd name="T58" fmla="*/ 204 w 216"/>
                  <a:gd name="T59" fmla="*/ 207 h 209"/>
                  <a:gd name="T60" fmla="*/ 214 w 216"/>
                  <a:gd name="T61" fmla="*/ 202 h 209"/>
                  <a:gd name="T62" fmla="*/ 209 w 216"/>
                  <a:gd name="T63" fmla="*/ 18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209">
                    <a:moveTo>
                      <a:pt x="209" y="187"/>
                    </a:moveTo>
                    <a:cubicBezTo>
                      <a:pt x="199" y="182"/>
                      <a:pt x="185" y="180"/>
                      <a:pt x="173" y="179"/>
                    </a:cubicBezTo>
                    <a:cubicBezTo>
                      <a:pt x="166" y="179"/>
                      <a:pt x="158" y="178"/>
                      <a:pt x="156" y="176"/>
                    </a:cubicBezTo>
                    <a:cubicBezTo>
                      <a:pt x="149" y="173"/>
                      <a:pt x="143" y="153"/>
                      <a:pt x="145" y="147"/>
                    </a:cubicBezTo>
                    <a:cubicBezTo>
                      <a:pt x="153" y="134"/>
                      <a:pt x="162" y="114"/>
                      <a:pt x="167" y="96"/>
                    </a:cubicBezTo>
                    <a:cubicBezTo>
                      <a:pt x="174" y="64"/>
                      <a:pt x="171" y="39"/>
                      <a:pt x="157" y="22"/>
                    </a:cubicBezTo>
                    <a:cubicBezTo>
                      <a:pt x="139" y="0"/>
                      <a:pt x="109" y="0"/>
                      <a:pt x="109" y="0"/>
                    </a:cubicBezTo>
                    <a:cubicBezTo>
                      <a:pt x="107" y="0"/>
                      <a:pt x="78" y="0"/>
                      <a:pt x="59" y="22"/>
                    </a:cubicBezTo>
                    <a:cubicBezTo>
                      <a:pt x="45" y="39"/>
                      <a:pt x="42" y="64"/>
                      <a:pt x="50" y="96"/>
                    </a:cubicBezTo>
                    <a:cubicBezTo>
                      <a:pt x="54" y="114"/>
                      <a:pt x="63" y="134"/>
                      <a:pt x="72" y="147"/>
                    </a:cubicBezTo>
                    <a:cubicBezTo>
                      <a:pt x="73" y="153"/>
                      <a:pt x="67" y="173"/>
                      <a:pt x="61" y="176"/>
                    </a:cubicBezTo>
                    <a:cubicBezTo>
                      <a:pt x="58" y="178"/>
                      <a:pt x="50" y="179"/>
                      <a:pt x="43" y="179"/>
                    </a:cubicBezTo>
                    <a:cubicBezTo>
                      <a:pt x="31" y="180"/>
                      <a:pt x="18" y="182"/>
                      <a:pt x="7" y="187"/>
                    </a:cubicBezTo>
                    <a:cubicBezTo>
                      <a:pt x="2" y="190"/>
                      <a:pt x="0" y="196"/>
                      <a:pt x="3" y="202"/>
                    </a:cubicBezTo>
                    <a:cubicBezTo>
                      <a:pt x="6" y="207"/>
                      <a:pt x="12" y="209"/>
                      <a:pt x="17" y="206"/>
                    </a:cubicBezTo>
                    <a:cubicBezTo>
                      <a:pt x="24" y="202"/>
                      <a:pt x="35" y="201"/>
                      <a:pt x="45" y="201"/>
                    </a:cubicBezTo>
                    <a:cubicBezTo>
                      <a:pt x="55" y="200"/>
                      <a:pt x="64" y="199"/>
                      <a:pt x="70" y="196"/>
                    </a:cubicBezTo>
                    <a:cubicBezTo>
                      <a:pt x="84" y="189"/>
                      <a:pt x="90" y="169"/>
                      <a:pt x="91" y="163"/>
                    </a:cubicBezTo>
                    <a:cubicBezTo>
                      <a:pt x="93" y="154"/>
                      <a:pt x="95" y="142"/>
                      <a:pt x="90" y="135"/>
                    </a:cubicBezTo>
                    <a:cubicBezTo>
                      <a:pt x="82" y="125"/>
                      <a:pt x="74" y="106"/>
                      <a:pt x="71" y="91"/>
                    </a:cubicBezTo>
                    <a:cubicBezTo>
                      <a:pt x="65" y="66"/>
                      <a:pt x="66" y="47"/>
                      <a:pt x="76" y="36"/>
                    </a:cubicBezTo>
                    <a:cubicBezTo>
                      <a:pt x="87" y="21"/>
                      <a:pt x="108" y="21"/>
                      <a:pt x="109" y="22"/>
                    </a:cubicBezTo>
                    <a:cubicBezTo>
                      <a:pt x="109" y="21"/>
                      <a:pt x="129" y="21"/>
                      <a:pt x="141" y="36"/>
                    </a:cubicBezTo>
                    <a:cubicBezTo>
                      <a:pt x="150" y="47"/>
                      <a:pt x="152" y="66"/>
                      <a:pt x="146" y="91"/>
                    </a:cubicBezTo>
                    <a:cubicBezTo>
                      <a:pt x="142" y="106"/>
                      <a:pt x="134" y="125"/>
                      <a:pt x="127" y="135"/>
                    </a:cubicBezTo>
                    <a:cubicBezTo>
                      <a:pt x="122" y="142"/>
                      <a:pt x="123" y="154"/>
                      <a:pt x="125" y="163"/>
                    </a:cubicBezTo>
                    <a:cubicBezTo>
                      <a:pt x="127" y="169"/>
                      <a:pt x="133" y="189"/>
                      <a:pt x="146" y="196"/>
                    </a:cubicBezTo>
                    <a:cubicBezTo>
                      <a:pt x="153" y="199"/>
                      <a:pt x="161" y="200"/>
                      <a:pt x="171" y="201"/>
                    </a:cubicBezTo>
                    <a:cubicBezTo>
                      <a:pt x="181" y="201"/>
                      <a:pt x="192" y="202"/>
                      <a:pt x="199" y="206"/>
                    </a:cubicBezTo>
                    <a:cubicBezTo>
                      <a:pt x="201" y="207"/>
                      <a:pt x="202" y="207"/>
                      <a:pt x="204" y="207"/>
                    </a:cubicBezTo>
                    <a:cubicBezTo>
                      <a:pt x="208" y="207"/>
                      <a:pt x="212" y="205"/>
                      <a:pt x="214" y="202"/>
                    </a:cubicBezTo>
                    <a:cubicBezTo>
                      <a:pt x="216" y="196"/>
                      <a:pt x="214" y="190"/>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grpSp>
      </p:grpSp>
      <p:sp>
        <p:nvSpPr>
          <p:cNvPr id="57" name="Rectangle 56">
            <a:extLst>
              <a:ext uri="{FF2B5EF4-FFF2-40B4-BE49-F238E27FC236}">
                <a16:creationId xmlns:a16="http://schemas.microsoft.com/office/drawing/2014/main" id="{0E50772F-1BDB-4F39-A749-4285C798E568}"/>
              </a:ext>
            </a:extLst>
          </p:cNvPr>
          <p:cNvSpPr/>
          <p:nvPr userDrawn="1"/>
        </p:nvSpPr>
        <p:spPr>
          <a:xfrm>
            <a:off x="11349439" y="1508981"/>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Executive summary</a:t>
            </a:r>
            <a:endParaRPr lang="en-US" sz="891" b="0" dirty="0">
              <a:solidFill>
                <a:schemeClr val="bg1"/>
              </a:solidFill>
              <a:latin typeface="Calibri" panose="020F0502020204030204" pitchFamily="34" charset="0"/>
            </a:endParaRPr>
          </a:p>
        </p:txBody>
      </p:sp>
      <p:sp>
        <p:nvSpPr>
          <p:cNvPr id="58" name="Rectangle 57">
            <a:extLst>
              <a:ext uri="{FF2B5EF4-FFF2-40B4-BE49-F238E27FC236}">
                <a16:creationId xmlns:a16="http://schemas.microsoft.com/office/drawing/2014/main" id="{86181D55-D3EF-4EAF-8728-CAAC57B6CE83}"/>
              </a:ext>
            </a:extLst>
          </p:cNvPr>
          <p:cNvSpPr/>
          <p:nvPr userDrawn="1"/>
        </p:nvSpPr>
        <p:spPr>
          <a:xfrm>
            <a:off x="11349439" y="521940"/>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Cover </a:t>
            </a:r>
          </a:p>
          <a:p>
            <a:pPr algn="ctr"/>
            <a:r>
              <a:rPr lang="en-US" sz="891" b="0" i="0" spc="-25" dirty="0">
                <a:solidFill>
                  <a:schemeClr val="bg1"/>
                </a:solidFill>
                <a:latin typeface="Calibri" panose="020F0502020204030204" pitchFamily="34" charset="0"/>
                <a:cs typeface="Open Sans Light"/>
              </a:rPr>
              <a:t>letter</a:t>
            </a:r>
            <a:endParaRPr lang="en-US" sz="891" b="0" dirty="0">
              <a:solidFill>
                <a:schemeClr val="bg1"/>
              </a:solidFill>
              <a:latin typeface="Calibri" panose="020F0502020204030204" pitchFamily="34" charset="0"/>
            </a:endParaRPr>
          </a:p>
        </p:txBody>
      </p:sp>
      <p:sp>
        <p:nvSpPr>
          <p:cNvPr id="59" name="Rectangle 58">
            <a:extLst>
              <a:ext uri="{FF2B5EF4-FFF2-40B4-BE49-F238E27FC236}">
                <a16:creationId xmlns:a16="http://schemas.microsoft.com/office/drawing/2014/main" id="{D803F228-5429-4EBB-A8E1-F4BD4F281C2A}"/>
              </a:ext>
            </a:extLst>
          </p:cNvPr>
          <p:cNvSpPr/>
          <p:nvPr userDrawn="1"/>
        </p:nvSpPr>
        <p:spPr>
          <a:xfrm>
            <a:off x="11349439" y="3464029"/>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Approach &amp; Methodology</a:t>
            </a:r>
            <a:endParaRPr lang="en-US" sz="891" b="0" dirty="0">
              <a:solidFill>
                <a:schemeClr val="bg1"/>
              </a:solidFill>
              <a:latin typeface="Calibri" panose="020F0502020204030204" pitchFamily="34" charset="0"/>
            </a:endParaRPr>
          </a:p>
        </p:txBody>
      </p:sp>
      <p:sp>
        <p:nvSpPr>
          <p:cNvPr id="60" name="Rectangle 59">
            <a:extLst>
              <a:ext uri="{FF2B5EF4-FFF2-40B4-BE49-F238E27FC236}">
                <a16:creationId xmlns:a16="http://schemas.microsoft.com/office/drawing/2014/main" id="{2E334B7A-F745-49AD-803E-FD0D26F74A97}"/>
              </a:ext>
            </a:extLst>
          </p:cNvPr>
          <p:cNvSpPr/>
          <p:nvPr userDrawn="1"/>
        </p:nvSpPr>
        <p:spPr>
          <a:xfrm>
            <a:off x="11349439" y="4435932"/>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Timeline and Assumptions</a:t>
            </a:r>
            <a:endParaRPr lang="en-US" sz="891" b="0" dirty="0">
              <a:solidFill>
                <a:schemeClr val="bg1"/>
              </a:solidFill>
              <a:latin typeface="Calibri" panose="020F0502020204030204" pitchFamily="34" charset="0"/>
            </a:endParaRPr>
          </a:p>
        </p:txBody>
      </p:sp>
      <p:sp>
        <p:nvSpPr>
          <p:cNvPr id="61" name="Rectangle 60">
            <a:extLst>
              <a:ext uri="{FF2B5EF4-FFF2-40B4-BE49-F238E27FC236}">
                <a16:creationId xmlns:a16="http://schemas.microsoft.com/office/drawing/2014/main" id="{D571380E-A60C-4DBB-9E42-8DDC403DA12C}"/>
              </a:ext>
            </a:extLst>
          </p:cNvPr>
          <p:cNvSpPr/>
          <p:nvPr userDrawn="1"/>
        </p:nvSpPr>
        <p:spPr>
          <a:xfrm>
            <a:off x="11349439" y="5415544"/>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Our Team</a:t>
            </a:r>
            <a:endParaRPr lang="en-US" sz="891" b="0" dirty="0">
              <a:solidFill>
                <a:schemeClr val="bg1"/>
              </a:solidFill>
              <a:latin typeface="Calibri" panose="020F0502020204030204" pitchFamily="34" charset="0"/>
            </a:endParaRPr>
          </a:p>
        </p:txBody>
      </p:sp>
      <p:sp>
        <p:nvSpPr>
          <p:cNvPr id="69" name="Rectangle 68">
            <a:hlinkClick r:id="" action="ppaction://noaction"/>
            <a:extLst>
              <a:ext uri="{FF2B5EF4-FFF2-40B4-BE49-F238E27FC236}">
                <a16:creationId xmlns:a16="http://schemas.microsoft.com/office/drawing/2014/main" id="{37508B04-8A1E-4095-9F3D-76EAB96CAEDE}"/>
              </a:ext>
            </a:extLst>
          </p:cNvPr>
          <p:cNvSpPr/>
          <p:nvPr userDrawn="1"/>
        </p:nvSpPr>
        <p:spPr bwMode="gray">
          <a:xfrm>
            <a:off x="11307787" y="5863690"/>
            <a:ext cx="884213" cy="531181"/>
          </a:xfrm>
          <a:prstGeom prst="rect">
            <a:avLst/>
          </a:prstGeom>
          <a:solidFill>
            <a:srgbClr val="62B5E5">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10" name="Group 9">
            <a:extLst>
              <a:ext uri="{FF2B5EF4-FFF2-40B4-BE49-F238E27FC236}">
                <a16:creationId xmlns:a16="http://schemas.microsoft.com/office/drawing/2014/main" id="{E89ABCA5-1EDF-45E0-AA36-1870BB54143A}"/>
              </a:ext>
            </a:extLst>
          </p:cNvPr>
          <p:cNvGrpSpPr/>
          <p:nvPr userDrawn="1"/>
        </p:nvGrpSpPr>
        <p:grpSpPr>
          <a:xfrm>
            <a:off x="10835777" y="6454064"/>
            <a:ext cx="367881" cy="367881"/>
            <a:chOff x="2624423" y="132075"/>
            <a:chExt cx="864729" cy="864729"/>
          </a:xfrm>
        </p:grpSpPr>
        <p:sp>
          <p:nvSpPr>
            <p:cNvPr id="70" name="Oval 69">
              <a:extLst>
                <a:ext uri="{FF2B5EF4-FFF2-40B4-BE49-F238E27FC236}">
                  <a16:creationId xmlns:a16="http://schemas.microsoft.com/office/drawing/2014/main" id="{70227B36-408C-4979-9871-F1E1E961A3A8}"/>
                </a:ext>
              </a:extLst>
            </p:cNvPr>
            <p:cNvSpPr/>
            <p:nvPr userDrawn="1"/>
          </p:nvSpPr>
          <p:spPr bwMode="gray">
            <a:xfrm>
              <a:off x="2624423" y="132075"/>
              <a:ext cx="864729" cy="864729"/>
            </a:xfrm>
            <a:prstGeom prst="ellipse">
              <a:avLst/>
            </a:prstGeom>
            <a:solidFill>
              <a:srgbClr val="343434"/>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71" name="Group 22">
              <a:extLst>
                <a:ext uri="{FF2B5EF4-FFF2-40B4-BE49-F238E27FC236}">
                  <a16:creationId xmlns:a16="http://schemas.microsoft.com/office/drawing/2014/main" id="{BDED61B1-647D-4C1F-A8E6-DD0CA86E00AA}"/>
                </a:ext>
              </a:extLst>
            </p:cNvPr>
            <p:cNvGrpSpPr>
              <a:grpSpLocks noChangeAspect="1"/>
            </p:cNvGrpSpPr>
            <p:nvPr userDrawn="1"/>
          </p:nvGrpSpPr>
          <p:grpSpPr bwMode="auto">
            <a:xfrm>
              <a:off x="2678782" y="201682"/>
              <a:ext cx="757994" cy="757994"/>
              <a:chOff x="3448" y="418"/>
              <a:chExt cx="1517" cy="1517"/>
            </a:xfrm>
            <a:solidFill>
              <a:srgbClr val="343434"/>
            </a:solidFill>
          </p:grpSpPr>
          <p:sp>
            <p:nvSpPr>
              <p:cNvPr id="72" name="Freeform 23">
                <a:extLst>
                  <a:ext uri="{FF2B5EF4-FFF2-40B4-BE49-F238E27FC236}">
                    <a16:creationId xmlns:a16="http://schemas.microsoft.com/office/drawing/2014/main" id="{BEE35043-E370-410E-AD46-0084279EF030}"/>
                  </a:ext>
                </a:extLst>
              </p:cNvPr>
              <p:cNvSpPr>
                <a:spLocks noEditPoints="1"/>
              </p:cNvSpPr>
              <p:nvPr/>
            </p:nvSpPr>
            <p:spPr bwMode="auto">
              <a:xfrm>
                <a:off x="3731" y="700"/>
                <a:ext cx="954" cy="888"/>
              </a:xfrm>
              <a:custGeom>
                <a:avLst/>
                <a:gdLst>
                  <a:gd name="T0" fmla="*/ 241 w 402"/>
                  <a:gd name="T1" fmla="*/ 347 h 374"/>
                  <a:gd name="T2" fmla="*/ 334 w 402"/>
                  <a:gd name="T3" fmla="*/ 347 h 374"/>
                  <a:gd name="T4" fmla="*/ 334 w 402"/>
                  <a:gd name="T5" fmla="*/ 174 h 374"/>
                  <a:gd name="T6" fmla="*/ 347 w 402"/>
                  <a:gd name="T7" fmla="*/ 161 h 374"/>
                  <a:gd name="T8" fmla="*/ 351 w 402"/>
                  <a:gd name="T9" fmla="*/ 161 h 374"/>
                  <a:gd name="T10" fmla="*/ 201 w 402"/>
                  <a:gd name="T11" fmla="*/ 32 h 374"/>
                  <a:gd name="T12" fmla="*/ 51 w 402"/>
                  <a:gd name="T13" fmla="*/ 161 h 374"/>
                  <a:gd name="T14" fmla="*/ 55 w 402"/>
                  <a:gd name="T15" fmla="*/ 161 h 374"/>
                  <a:gd name="T16" fmla="*/ 68 w 402"/>
                  <a:gd name="T17" fmla="*/ 174 h 374"/>
                  <a:gd name="T18" fmla="*/ 68 w 402"/>
                  <a:gd name="T19" fmla="*/ 347 h 374"/>
                  <a:gd name="T20" fmla="*/ 161 w 402"/>
                  <a:gd name="T21" fmla="*/ 347 h 374"/>
                  <a:gd name="T22" fmla="*/ 161 w 402"/>
                  <a:gd name="T23" fmla="*/ 280 h 374"/>
                  <a:gd name="T24" fmla="*/ 174 w 402"/>
                  <a:gd name="T25" fmla="*/ 267 h 374"/>
                  <a:gd name="T26" fmla="*/ 228 w 402"/>
                  <a:gd name="T27" fmla="*/ 267 h 374"/>
                  <a:gd name="T28" fmla="*/ 241 w 402"/>
                  <a:gd name="T29" fmla="*/ 280 h 374"/>
                  <a:gd name="T30" fmla="*/ 241 w 402"/>
                  <a:gd name="T31" fmla="*/ 347 h 374"/>
                  <a:gd name="T32" fmla="*/ 347 w 402"/>
                  <a:gd name="T33" fmla="*/ 374 h 374"/>
                  <a:gd name="T34" fmla="*/ 228 w 402"/>
                  <a:gd name="T35" fmla="*/ 374 h 374"/>
                  <a:gd name="T36" fmla="*/ 214 w 402"/>
                  <a:gd name="T37" fmla="*/ 360 h 374"/>
                  <a:gd name="T38" fmla="*/ 214 w 402"/>
                  <a:gd name="T39" fmla="*/ 294 h 374"/>
                  <a:gd name="T40" fmla="*/ 188 w 402"/>
                  <a:gd name="T41" fmla="*/ 294 h 374"/>
                  <a:gd name="T42" fmla="*/ 188 w 402"/>
                  <a:gd name="T43" fmla="*/ 360 h 374"/>
                  <a:gd name="T44" fmla="*/ 174 w 402"/>
                  <a:gd name="T45" fmla="*/ 374 h 374"/>
                  <a:gd name="T46" fmla="*/ 55 w 402"/>
                  <a:gd name="T47" fmla="*/ 374 h 374"/>
                  <a:gd name="T48" fmla="*/ 41 w 402"/>
                  <a:gd name="T49" fmla="*/ 360 h 374"/>
                  <a:gd name="T50" fmla="*/ 41 w 402"/>
                  <a:gd name="T51" fmla="*/ 187 h 374"/>
                  <a:gd name="T52" fmla="*/ 15 w 402"/>
                  <a:gd name="T53" fmla="*/ 187 h 374"/>
                  <a:gd name="T54" fmla="*/ 2 w 402"/>
                  <a:gd name="T55" fmla="*/ 179 h 374"/>
                  <a:gd name="T56" fmla="*/ 6 w 402"/>
                  <a:gd name="T57" fmla="*/ 164 h 374"/>
                  <a:gd name="T58" fmla="*/ 192 w 402"/>
                  <a:gd name="T59" fmla="*/ 4 h 374"/>
                  <a:gd name="T60" fmla="*/ 210 w 402"/>
                  <a:gd name="T61" fmla="*/ 4 h 374"/>
                  <a:gd name="T62" fmla="*/ 396 w 402"/>
                  <a:gd name="T63" fmla="*/ 164 h 374"/>
                  <a:gd name="T64" fmla="*/ 400 w 402"/>
                  <a:gd name="T65" fmla="*/ 179 h 374"/>
                  <a:gd name="T66" fmla="*/ 387 w 402"/>
                  <a:gd name="T67" fmla="*/ 187 h 374"/>
                  <a:gd name="T68" fmla="*/ 361 w 402"/>
                  <a:gd name="T69" fmla="*/ 187 h 374"/>
                  <a:gd name="T70" fmla="*/ 361 w 402"/>
                  <a:gd name="T71" fmla="*/ 360 h 374"/>
                  <a:gd name="T72" fmla="*/ 347 w 402"/>
                  <a:gd name="T7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2" h="374">
                    <a:moveTo>
                      <a:pt x="241" y="347"/>
                    </a:moveTo>
                    <a:cubicBezTo>
                      <a:pt x="334" y="347"/>
                      <a:pt x="334" y="347"/>
                      <a:pt x="334" y="347"/>
                    </a:cubicBezTo>
                    <a:cubicBezTo>
                      <a:pt x="334" y="174"/>
                      <a:pt x="334" y="174"/>
                      <a:pt x="334" y="174"/>
                    </a:cubicBezTo>
                    <a:cubicBezTo>
                      <a:pt x="334" y="167"/>
                      <a:pt x="340" y="161"/>
                      <a:pt x="347" y="161"/>
                    </a:cubicBezTo>
                    <a:cubicBezTo>
                      <a:pt x="351" y="161"/>
                      <a:pt x="351" y="161"/>
                      <a:pt x="351" y="161"/>
                    </a:cubicBezTo>
                    <a:cubicBezTo>
                      <a:pt x="201" y="32"/>
                      <a:pt x="201" y="32"/>
                      <a:pt x="201" y="32"/>
                    </a:cubicBezTo>
                    <a:cubicBezTo>
                      <a:pt x="51" y="161"/>
                      <a:pt x="51" y="161"/>
                      <a:pt x="51" y="161"/>
                    </a:cubicBezTo>
                    <a:cubicBezTo>
                      <a:pt x="55" y="161"/>
                      <a:pt x="55" y="161"/>
                      <a:pt x="55" y="161"/>
                    </a:cubicBezTo>
                    <a:cubicBezTo>
                      <a:pt x="62" y="161"/>
                      <a:pt x="68" y="167"/>
                      <a:pt x="68" y="174"/>
                    </a:cubicBezTo>
                    <a:cubicBezTo>
                      <a:pt x="68" y="347"/>
                      <a:pt x="68" y="347"/>
                      <a:pt x="68" y="347"/>
                    </a:cubicBezTo>
                    <a:cubicBezTo>
                      <a:pt x="161" y="347"/>
                      <a:pt x="161" y="347"/>
                      <a:pt x="161" y="347"/>
                    </a:cubicBezTo>
                    <a:cubicBezTo>
                      <a:pt x="161" y="280"/>
                      <a:pt x="161" y="280"/>
                      <a:pt x="161" y="280"/>
                    </a:cubicBezTo>
                    <a:cubicBezTo>
                      <a:pt x="161" y="273"/>
                      <a:pt x="167" y="267"/>
                      <a:pt x="174" y="267"/>
                    </a:cubicBezTo>
                    <a:cubicBezTo>
                      <a:pt x="228" y="267"/>
                      <a:pt x="228" y="267"/>
                      <a:pt x="228" y="267"/>
                    </a:cubicBezTo>
                    <a:cubicBezTo>
                      <a:pt x="235" y="267"/>
                      <a:pt x="241" y="273"/>
                      <a:pt x="241" y="280"/>
                    </a:cubicBezTo>
                    <a:cubicBezTo>
                      <a:pt x="241" y="347"/>
                      <a:pt x="241" y="347"/>
                      <a:pt x="241" y="347"/>
                    </a:cubicBezTo>
                    <a:close/>
                    <a:moveTo>
                      <a:pt x="347" y="374"/>
                    </a:moveTo>
                    <a:cubicBezTo>
                      <a:pt x="228" y="374"/>
                      <a:pt x="228" y="374"/>
                      <a:pt x="228" y="374"/>
                    </a:cubicBezTo>
                    <a:cubicBezTo>
                      <a:pt x="220" y="374"/>
                      <a:pt x="214" y="368"/>
                      <a:pt x="214" y="360"/>
                    </a:cubicBezTo>
                    <a:cubicBezTo>
                      <a:pt x="214" y="294"/>
                      <a:pt x="214" y="294"/>
                      <a:pt x="214" y="294"/>
                    </a:cubicBezTo>
                    <a:cubicBezTo>
                      <a:pt x="188" y="294"/>
                      <a:pt x="188" y="294"/>
                      <a:pt x="188" y="294"/>
                    </a:cubicBezTo>
                    <a:cubicBezTo>
                      <a:pt x="188" y="360"/>
                      <a:pt x="188" y="360"/>
                      <a:pt x="188" y="360"/>
                    </a:cubicBezTo>
                    <a:cubicBezTo>
                      <a:pt x="188" y="368"/>
                      <a:pt x="182" y="374"/>
                      <a:pt x="174" y="374"/>
                    </a:cubicBezTo>
                    <a:cubicBezTo>
                      <a:pt x="55" y="374"/>
                      <a:pt x="55" y="374"/>
                      <a:pt x="55" y="374"/>
                    </a:cubicBezTo>
                    <a:cubicBezTo>
                      <a:pt x="47" y="374"/>
                      <a:pt x="41" y="368"/>
                      <a:pt x="41" y="360"/>
                    </a:cubicBezTo>
                    <a:cubicBezTo>
                      <a:pt x="41" y="187"/>
                      <a:pt x="41" y="187"/>
                      <a:pt x="41" y="187"/>
                    </a:cubicBezTo>
                    <a:cubicBezTo>
                      <a:pt x="15" y="187"/>
                      <a:pt x="15" y="187"/>
                      <a:pt x="15" y="187"/>
                    </a:cubicBezTo>
                    <a:cubicBezTo>
                      <a:pt x="9" y="187"/>
                      <a:pt x="4" y="184"/>
                      <a:pt x="2" y="179"/>
                    </a:cubicBezTo>
                    <a:cubicBezTo>
                      <a:pt x="0" y="173"/>
                      <a:pt x="2" y="167"/>
                      <a:pt x="6" y="164"/>
                    </a:cubicBezTo>
                    <a:cubicBezTo>
                      <a:pt x="192" y="4"/>
                      <a:pt x="192" y="4"/>
                      <a:pt x="192" y="4"/>
                    </a:cubicBezTo>
                    <a:cubicBezTo>
                      <a:pt x="197" y="0"/>
                      <a:pt x="205" y="0"/>
                      <a:pt x="210" y="4"/>
                    </a:cubicBezTo>
                    <a:cubicBezTo>
                      <a:pt x="396" y="164"/>
                      <a:pt x="396" y="164"/>
                      <a:pt x="396" y="164"/>
                    </a:cubicBezTo>
                    <a:cubicBezTo>
                      <a:pt x="400" y="167"/>
                      <a:pt x="402" y="173"/>
                      <a:pt x="400" y="179"/>
                    </a:cubicBezTo>
                    <a:cubicBezTo>
                      <a:pt x="398" y="184"/>
                      <a:pt x="393" y="187"/>
                      <a:pt x="387" y="187"/>
                    </a:cubicBezTo>
                    <a:cubicBezTo>
                      <a:pt x="361" y="187"/>
                      <a:pt x="361" y="187"/>
                      <a:pt x="361" y="187"/>
                    </a:cubicBezTo>
                    <a:cubicBezTo>
                      <a:pt x="361" y="360"/>
                      <a:pt x="361" y="360"/>
                      <a:pt x="361" y="360"/>
                    </a:cubicBezTo>
                    <a:cubicBezTo>
                      <a:pt x="361" y="368"/>
                      <a:pt x="355" y="374"/>
                      <a:pt x="347" y="37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82" dirty="0">
                  <a:latin typeface="Calibri" panose="020F0502020204030204" pitchFamily="34" charset="0"/>
                </a:endParaRPr>
              </a:p>
            </p:txBody>
          </p:sp>
          <p:sp>
            <p:nvSpPr>
              <p:cNvPr id="73" name="Freeform 24">
                <a:extLst>
                  <a:ext uri="{FF2B5EF4-FFF2-40B4-BE49-F238E27FC236}">
                    <a16:creationId xmlns:a16="http://schemas.microsoft.com/office/drawing/2014/main" id="{E75DF944-A29E-4121-A562-E363B55C3144}"/>
                  </a:ext>
                </a:extLst>
              </p:cNvPr>
              <p:cNvSpPr>
                <a:spLocks noEditPoints="1"/>
              </p:cNvSpPr>
              <p:nvPr/>
            </p:nvSpPr>
            <p:spPr bwMode="auto">
              <a:xfrm>
                <a:off x="3448" y="418"/>
                <a:ext cx="1517" cy="1517"/>
              </a:xfrm>
              <a:custGeom>
                <a:avLst/>
                <a:gdLst>
                  <a:gd name="T0" fmla="*/ 320 w 639"/>
                  <a:gd name="T1" fmla="*/ 0 h 639"/>
                  <a:gd name="T2" fmla="*/ 0 w 639"/>
                  <a:gd name="T3" fmla="*/ 320 h 639"/>
                  <a:gd name="T4" fmla="*/ 320 w 639"/>
                  <a:gd name="T5" fmla="*/ 639 h 639"/>
                  <a:gd name="T6" fmla="*/ 639 w 639"/>
                  <a:gd name="T7" fmla="*/ 320 h 639"/>
                  <a:gd name="T8" fmla="*/ 320 w 639"/>
                  <a:gd name="T9" fmla="*/ 0 h 639"/>
                  <a:gd name="T10" fmla="*/ 320 w 639"/>
                  <a:gd name="T11" fmla="*/ 0 h 639"/>
                  <a:gd name="T12" fmla="*/ 320 w 639"/>
                  <a:gd name="T13" fmla="*/ 27 h 639"/>
                  <a:gd name="T14" fmla="*/ 613 w 639"/>
                  <a:gd name="T15" fmla="*/ 320 h 639"/>
                  <a:gd name="T16" fmla="*/ 320 w 639"/>
                  <a:gd name="T17" fmla="*/ 612 h 639"/>
                  <a:gd name="T18" fmla="*/ 27 w 639"/>
                  <a:gd name="T19" fmla="*/ 320 h 639"/>
                  <a:gd name="T20" fmla="*/ 320 w 639"/>
                  <a:gd name="T21" fmla="*/ 27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9" h="639">
                    <a:moveTo>
                      <a:pt x="320" y="0"/>
                    </a:moveTo>
                    <a:cubicBezTo>
                      <a:pt x="144" y="0"/>
                      <a:pt x="0" y="143"/>
                      <a:pt x="0" y="320"/>
                    </a:cubicBezTo>
                    <a:cubicBezTo>
                      <a:pt x="0" y="496"/>
                      <a:pt x="144" y="639"/>
                      <a:pt x="320" y="639"/>
                    </a:cubicBezTo>
                    <a:cubicBezTo>
                      <a:pt x="496" y="639"/>
                      <a:pt x="639" y="496"/>
                      <a:pt x="639" y="320"/>
                    </a:cubicBezTo>
                    <a:cubicBezTo>
                      <a:pt x="639" y="143"/>
                      <a:pt x="496" y="0"/>
                      <a:pt x="320" y="0"/>
                    </a:cubicBezTo>
                    <a:cubicBezTo>
                      <a:pt x="320" y="0"/>
                      <a:pt x="320" y="0"/>
                      <a:pt x="320" y="0"/>
                    </a:cubicBezTo>
                    <a:close/>
                    <a:moveTo>
                      <a:pt x="320" y="27"/>
                    </a:moveTo>
                    <a:cubicBezTo>
                      <a:pt x="481" y="27"/>
                      <a:pt x="613" y="158"/>
                      <a:pt x="613" y="320"/>
                    </a:cubicBezTo>
                    <a:cubicBezTo>
                      <a:pt x="613" y="481"/>
                      <a:pt x="481" y="612"/>
                      <a:pt x="320" y="612"/>
                    </a:cubicBezTo>
                    <a:cubicBezTo>
                      <a:pt x="158" y="612"/>
                      <a:pt x="27" y="481"/>
                      <a:pt x="27" y="320"/>
                    </a:cubicBezTo>
                    <a:cubicBezTo>
                      <a:pt x="27" y="158"/>
                      <a:pt x="158" y="27"/>
                      <a:pt x="320"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82" dirty="0">
                  <a:latin typeface="Calibri" panose="020F0502020204030204" pitchFamily="34" charset="0"/>
                </a:endParaRPr>
              </a:p>
            </p:txBody>
          </p:sp>
        </p:grpSp>
      </p:grpSp>
      <p:sp>
        <p:nvSpPr>
          <p:cNvPr id="12" name="Oval 11">
            <a:hlinkClick r:id="" action="ppaction://noaction"/>
            <a:extLst>
              <a:ext uri="{FF2B5EF4-FFF2-40B4-BE49-F238E27FC236}">
                <a16:creationId xmlns:a16="http://schemas.microsoft.com/office/drawing/2014/main" id="{7CB1D6A2-E1B4-44E0-BF40-A6F4EC77BB05}"/>
              </a:ext>
            </a:extLst>
          </p:cNvPr>
          <p:cNvSpPr/>
          <p:nvPr userDrawn="1"/>
        </p:nvSpPr>
        <p:spPr bwMode="gray">
          <a:xfrm>
            <a:off x="10795524" y="6454864"/>
            <a:ext cx="427074" cy="427074"/>
          </a:xfrm>
          <a:prstGeom prst="ellipse">
            <a:avLst/>
          </a:prstGeom>
          <a:solidFill>
            <a:srgbClr val="62B5E5">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panose="020F0502020204030204" pitchFamily="34" charset="0"/>
            </a:endParaRPr>
          </a:p>
        </p:txBody>
      </p:sp>
      <p:sp>
        <p:nvSpPr>
          <p:cNvPr id="13" name="TextBox 12">
            <a:extLst>
              <a:ext uri="{FF2B5EF4-FFF2-40B4-BE49-F238E27FC236}">
                <a16:creationId xmlns:a16="http://schemas.microsoft.com/office/drawing/2014/main" id="{C1C83C94-3725-4252-8B8E-0E63D55631D1}"/>
              </a:ext>
            </a:extLst>
          </p:cNvPr>
          <p:cNvSpPr txBox="1"/>
          <p:nvPr userDrawn="1"/>
        </p:nvSpPr>
        <p:spPr bwMode="gray">
          <a:xfrm>
            <a:off x="11621841" y="6525041"/>
            <a:ext cx="255537" cy="200440"/>
          </a:xfrm>
          <a:prstGeom prst="rect">
            <a:avLst/>
          </a:prstGeom>
        </p:spPr>
        <p:txBody>
          <a:bodyPr wrap="square" lIns="0" rIns="0" rtlCol="0" anchor="b" anchorCtr="0">
            <a:noAutofit/>
          </a:bodyPr>
          <a:lstStyle/>
          <a:p>
            <a:pPr algn="ctr">
              <a:lnSpc>
                <a:spcPts val="891"/>
              </a:lnSpc>
            </a:pPr>
            <a:fld id="{7CA6D80E-4757-49F8-A753-97B21278F7E3}" type="slidenum">
              <a:rPr lang="en-US" sz="691" b="1" smtClean="0">
                <a:solidFill>
                  <a:schemeClr val="bg1"/>
                </a:solidFill>
                <a:latin typeface="Calibri" panose="020F0502020204030204" pitchFamily="34" charset="0"/>
              </a:rPr>
              <a:pPr algn="ctr">
                <a:lnSpc>
                  <a:spcPts val="891"/>
                </a:lnSpc>
              </a:pPr>
              <a:t>‹#›</a:t>
            </a:fld>
            <a:endParaRPr lang="en-US" sz="691" b="1" dirty="0">
              <a:solidFill>
                <a:schemeClr val="bg1"/>
              </a:solidFill>
              <a:latin typeface="Calibri" panose="020F0502020204030204" pitchFamily="34" charset="0"/>
            </a:endParaRPr>
          </a:p>
        </p:txBody>
      </p:sp>
      <p:sp>
        <p:nvSpPr>
          <p:cNvPr id="102" name="Rectangle 101">
            <a:extLst>
              <a:ext uri="{FF2B5EF4-FFF2-40B4-BE49-F238E27FC236}">
                <a16:creationId xmlns:a16="http://schemas.microsoft.com/office/drawing/2014/main" id="{2035DA86-FE41-42B0-918A-7D15D32FCE21}"/>
              </a:ext>
            </a:extLst>
          </p:cNvPr>
          <p:cNvSpPr/>
          <p:nvPr userDrawn="1"/>
        </p:nvSpPr>
        <p:spPr bwMode="gray">
          <a:xfrm>
            <a:off x="11307787" y="1955994"/>
            <a:ext cx="884213" cy="978408"/>
          </a:xfrm>
          <a:prstGeom prst="rect">
            <a:avLst/>
          </a:prstGeom>
          <a:solidFill>
            <a:srgbClr val="00A3E0"/>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sp>
        <p:nvSpPr>
          <p:cNvPr id="103" name="Rectangle 102">
            <a:extLst>
              <a:ext uri="{FF2B5EF4-FFF2-40B4-BE49-F238E27FC236}">
                <a16:creationId xmlns:a16="http://schemas.microsoft.com/office/drawing/2014/main" id="{B581F638-53E3-4627-A1A2-845D5F6A7B90}"/>
              </a:ext>
            </a:extLst>
          </p:cNvPr>
          <p:cNvSpPr/>
          <p:nvPr userDrawn="1"/>
        </p:nvSpPr>
        <p:spPr>
          <a:xfrm>
            <a:off x="11349439" y="2486274"/>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Our Capabilities</a:t>
            </a:r>
            <a:endParaRPr lang="en-US" sz="891" b="0" dirty="0">
              <a:solidFill>
                <a:schemeClr val="bg1"/>
              </a:solidFill>
              <a:latin typeface="Calibri" panose="020F0502020204030204" pitchFamily="34" charset="0"/>
            </a:endParaRPr>
          </a:p>
        </p:txBody>
      </p:sp>
      <p:grpSp>
        <p:nvGrpSpPr>
          <p:cNvPr id="104" name="Group 103">
            <a:extLst>
              <a:ext uri="{FF2B5EF4-FFF2-40B4-BE49-F238E27FC236}">
                <a16:creationId xmlns:a16="http://schemas.microsoft.com/office/drawing/2014/main" id="{B3F14A80-E7E9-48D0-8FA1-494046C5B8AC}"/>
              </a:ext>
            </a:extLst>
          </p:cNvPr>
          <p:cNvGrpSpPr/>
          <p:nvPr userDrawn="1"/>
        </p:nvGrpSpPr>
        <p:grpSpPr>
          <a:xfrm>
            <a:off x="11565911" y="2066214"/>
            <a:ext cx="367982" cy="367982"/>
            <a:chOff x="7104733" y="1340898"/>
            <a:chExt cx="367982" cy="367982"/>
          </a:xfrm>
          <a:solidFill>
            <a:schemeClr val="bg1"/>
          </a:solidFill>
        </p:grpSpPr>
        <p:grpSp>
          <p:nvGrpSpPr>
            <p:cNvPr id="107" name="Group 106">
              <a:extLst>
                <a:ext uri="{FF2B5EF4-FFF2-40B4-BE49-F238E27FC236}">
                  <a16:creationId xmlns:a16="http://schemas.microsoft.com/office/drawing/2014/main" id="{14F2021D-A27F-4402-9BF8-F2BBA3C6919E}"/>
                </a:ext>
              </a:extLst>
            </p:cNvPr>
            <p:cNvGrpSpPr/>
            <p:nvPr/>
          </p:nvGrpSpPr>
          <p:grpSpPr>
            <a:xfrm>
              <a:off x="7169563" y="1396188"/>
              <a:ext cx="224761" cy="257402"/>
              <a:chOff x="9812338" y="2919413"/>
              <a:chExt cx="382588" cy="438150"/>
            </a:xfrm>
            <a:grpFill/>
          </p:grpSpPr>
          <p:sp>
            <p:nvSpPr>
              <p:cNvPr id="113" name="Freeform 503">
                <a:extLst>
                  <a:ext uri="{FF2B5EF4-FFF2-40B4-BE49-F238E27FC236}">
                    <a16:creationId xmlns:a16="http://schemas.microsoft.com/office/drawing/2014/main" id="{CA751255-E8B2-46C9-B642-4676463DF6A0}"/>
                  </a:ext>
                </a:extLst>
              </p:cNvPr>
              <p:cNvSpPr>
                <a:spLocks noEditPoints="1"/>
              </p:cNvSpPr>
              <p:nvPr/>
            </p:nvSpPr>
            <p:spPr bwMode="auto">
              <a:xfrm>
                <a:off x="9812338" y="2919413"/>
                <a:ext cx="382588" cy="438150"/>
              </a:xfrm>
              <a:custGeom>
                <a:avLst/>
                <a:gdLst>
                  <a:gd name="T0" fmla="*/ 200 w 206"/>
                  <a:gd name="T1" fmla="*/ 59 h 236"/>
                  <a:gd name="T2" fmla="*/ 117 w 206"/>
                  <a:gd name="T3" fmla="*/ 0 h 236"/>
                  <a:gd name="T4" fmla="*/ 113 w 206"/>
                  <a:gd name="T5" fmla="*/ 0 h 236"/>
                  <a:gd name="T6" fmla="*/ 22 w 206"/>
                  <a:gd name="T7" fmla="*/ 71 h 236"/>
                  <a:gd name="T8" fmla="*/ 8 w 206"/>
                  <a:gd name="T9" fmla="*/ 111 h 236"/>
                  <a:gd name="T10" fmla="*/ 3 w 206"/>
                  <a:gd name="T11" fmla="*/ 127 h 236"/>
                  <a:gd name="T12" fmla="*/ 17 w 206"/>
                  <a:gd name="T13" fmla="*/ 134 h 236"/>
                  <a:gd name="T14" fmla="*/ 17 w 206"/>
                  <a:gd name="T15" fmla="*/ 137 h 236"/>
                  <a:gd name="T16" fmla="*/ 16 w 206"/>
                  <a:gd name="T17" fmla="*/ 143 h 236"/>
                  <a:gd name="T18" fmla="*/ 20 w 206"/>
                  <a:gd name="T19" fmla="*/ 151 h 236"/>
                  <a:gd name="T20" fmla="*/ 23 w 206"/>
                  <a:gd name="T21" fmla="*/ 163 h 236"/>
                  <a:gd name="T22" fmla="*/ 23 w 206"/>
                  <a:gd name="T23" fmla="*/ 171 h 236"/>
                  <a:gd name="T24" fmla="*/ 51 w 206"/>
                  <a:gd name="T25" fmla="*/ 192 h 236"/>
                  <a:gd name="T26" fmla="*/ 52 w 206"/>
                  <a:gd name="T27" fmla="*/ 192 h 236"/>
                  <a:gd name="T28" fmla="*/ 60 w 206"/>
                  <a:gd name="T29" fmla="*/ 191 h 236"/>
                  <a:gd name="T30" fmla="*/ 65 w 206"/>
                  <a:gd name="T31" fmla="*/ 193 h 236"/>
                  <a:gd name="T32" fmla="*/ 69 w 206"/>
                  <a:gd name="T33" fmla="*/ 198 h 236"/>
                  <a:gd name="T34" fmla="*/ 75 w 206"/>
                  <a:gd name="T35" fmla="*/ 216 h 236"/>
                  <a:gd name="T36" fmla="*/ 77 w 206"/>
                  <a:gd name="T37" fmla="*/ 232 h 236"/>
                  <a:gd name="T38" fmla="*/ 78 w 206"/>
                  <a:gd name="T39" fmla="*/ 233 h 236"/>
                  <a:gd name="T40" fmla="*/ 82 w 206"/>
                  <a:gd name="T41" fmla="*/ 236 h 236"/>
                  <a:gd name="T42" fmla="*/ 84 w 206"/>
                  <a:gd name="T43" fmla="*/ 236 h 236"/>
                  <a:gd name="T44" fmla="*/ 165 w 206"/>
                  <a:gd name="T45" fmla="*/ 212 h 236"/>
                  <a:gd name="T46" fmla="*/ 168 w 206"/>
                  <a:gd name="T47" fmla="*/ 206 h 236"/>
                  <a:gd name="T48" fmla="*/ 180 w 206"/>
                  <a:gd name="T49" fmla="*/ 143 h 236"/>
                  <a:gd name="T50" fmla="*/ 189 w 206"/>
                  <a:gd name="T51" fmla="*/ 128 h 236"/>
                  <a:gd name="T52" fmla="*/ 200 w 206"/>
                  <a:gd name="T53" fmla="*/ 59 h 236"/>
                  <a:gd name="T54" fmla="*/ 181 w 206"/>
                  <a:gd name="T55" fmla="*/ 123 h 236"/>
                  <a:gd name="T56" fmla="*/ 172 w 206"/>
                  <a:gd name="T57" fmla="*/ 138 h 236"/>
                  <a:gd name="T58" fmla="*/ 158 w 206"/>
                  <a:gd name="T59" fmla="*/ 204 h 236"/>
                  <a:gd name="T60" fmla="*/ 86 w 206"/>
                  <a:gd name="T61" fmla="*/ 225 h 236"/>
                  <a:gd name="T62" fmla="*/ 85 w 206"/>
                  <a:gd name="T63" fmla="*/ 216 h 236"/>
                  <a:gd name="T64" fmla="*/ 76 w 206"/>
                  <a:gd name="T65" fmla="*/ 191 h 236"/>
                  <a:gd name="T66" fmla="*/ 73 w 206"/>
                  <a:gd name="T67" fmla="*/ 187 h 236"/>
                  <a:gd name="T68" fmla="*/ 60 w 206"/>
                  <a:gd name="T69" fmla="*/ 181 h 236"/>
                  <a:gd name="T70" fmla="*/ 51 w 206"/>
                  <a:gd name="T71" fmla="*/ 182 h 236"/>
                  <a:gd name="T72" fmla="*/ 50 w 206"/>
                  <a:gd name="T73" fmla="*/ 183 h 236"/>
                  <a:gd name="T74" fmla="*/ 33 w 206"/>
                  <a:gd name="T75" fmla="*/ 171 h 236"/>
                  <a:gd name="T76" fmla="*/ 29 w 206"/>
                  <a:gd name="T77" fmla="*/ 156 h 236"/>
                  <a:gd name="T78" fmla="*/ 30 w 206"/>
                  <a:gd name="T79" fmla="*/ 153 h 236"/>
                  <a:gd name="T80" fmla="*/ 30 w 206"/>
                  <a:gd name="T81" fmla="*/ 152 h 236"/>
                  <a:gd name="T82" fmla="*/ 31 w 206"/>
                  <a:gd name="T83" fmla="*/ 148 h 236"/>
                  <a:gd name="T84" fmla="*/ 28 w 206"/>
                  <a:gd name="T85" fmla="*/ 145 h 236"/>
                  <a:gd name="T86" fmla="*/ 25 w 206"/>
                  <a:gd name="T87" fmla="*/ 143 h 236"/>
                  <a:gd name="T88" fmla="*/ 26 w 206"/>
                  <a:gd name="T89" fmla="*/ 140 h 236"/>
                  <a:gd name="T90" fmla="*/ 28 w 206"/>
                  <a:gd name="T91" fmla="*/ 131 h 236"/>
                  <a:gd name="T92" fmla="*/ 24 w 206"/>
                  <a:gd name="T93" fmla="*/ 125 h 236"/>
                  <a:gd name="T94" fmla="*/ 18 w 206"/>
                  <a:gd name="T95" fmla="*/ 125 h 236"/>
                  <a:gd name="T96" fmla="*/ 12 w 206"/>
                  <a:gd name="T97" fmla="*/ 124 h 236"/>
                  <a:gd name="T98" fmla="*/ 15 w 206"/>
                  <a:gd name="T99" fmla="*/ 118 h 236"/>
                  <a:gd name="T100" fmla="*/ 32 w 206"/>
                  <a:gd name="T101" fmla="*/ 72 h 236"/>
                  <a:gd name="T102" fmla="*/ 113 w 206"/>
                  <a:gd name="T103" fmla="*/ 10 h 236"/>
                  <a:gd name="T104" fmla="*/ 117 w 206"/>
                  <a:gd name="T105" fmla="*/ 10 h 236"/>
                  <a:gd name="T106" fmla="*/ 191 w 206"/>
                  <a:gd name="T107" fmla="*/ 60 h 236"/>
                  <a:gd name="T108" fmla="*/ 181 w 206"/>
                  <a:gd name="T109" fmla="*/ 12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6" h="236">
                    <a:moveTo>
                      <a:pt x="200" y="59"/>
                    </a:moveTo>
                    <a:cubicBezTo>
                      <a:pt x="193" y="11"/>
                      <a:pt x="128" y="0"/>
                      <a:pt x="117" y="0"/>
                    </a:cubicBezTo>
                    <a:cubicBezTo>
                      <a:pt x="113" y="0"/>
                      <a:pt x="113" y="0"/>
                      <a:pt x="113" y="0"/>
                    </a:cubicBezTo>
                    <a:cubicBezTo>
                      <a:pt x="34" y="0"/>
                      <a:pt x="24" y="54"/>
                      <a:pt x="22" y="71"/>
                    </a:cubicBezTo>
                    <a:cubicBezTo>
                      <a:pt x="21" y="82"/>
                      <a:pt x="16" y="103"/>
                      <a:pt x="8" y="111"/>
                    </a:cubicBezTo>
                    <a:cubicBezTo>
                      <a:pt x="6" y="114"/>
                      <a:pt x="0" y="120"/>
                      <a:pt x="3" y="127"/>
                    </a:cubicBezTo>
                    <a:cubicBezTo>
                      <a:pt x="5" y="134"/>
                      <a:pt x="13" y="134"/>
                      <a:pt x="17" y="134"/>
                    </a:cubicBezTo>
                    <a:cubicBezTo>
                      <a:pt x="17" y="136"/>
                      <a:pt x="17" y="137"/>
                      <a:pt x="17" y="137"/>
                    </a:cubicBezTo>
                    <a:cubicBezTo>
                      <a:pt x="16" y="139"/>
                      <a:pt x="16" y="141"/>
                      <a:pt x="16" y="143"/>
                    </a:cubicBezTo>
                    <a:cubicBezTo>
                      <a:pt x="16" y="147"/>
                      <a:pt x="17" y="149"/>
                      <a:pt x="20" y="151"/>
                    </a:cubicBezTo>
                    <a:cubicBezTo>
                      <a:pt x="18" y="156"/>
                      <a:pt x="19" y="160"/>
                      <a:pt x="23" y="163"/>
                    </a:cubicBezTo>
                    <a:cubicBezTo>
                      <a:pt x="23" y="164"/>
                      <a:pt x="23" y="165"/>
                      <a:pt x="23" y="171"/>
                    </a:cubicBezTo>
                    <a:cubicBezTo>
                      <a:pt x="23" y="187"/>
                      <a:pt x="39" y="194"/>
                      <a:pt x="51" y="192"/>
                    </a:cubicBezTo>
                    <a:cubicBezTo>
                      <a:pt x="52" y="192"/>
                      <a:pt x="52" y="192"/>
                      <a:pt x="52" y="192"/>
                    </a:cubicBezTo>
                    <a:cubicBezTo>
                      <a:pt x="55" y="192"/>
                      <a:pt x="58" y="191"/>
                      <a:pt x="60" y="191"/>
                    </a:cubicBezTo>
                    <a:cubicBezTo>
                      <a:pt x="63" y="191"/>
                      <a:pt x="64" y="192"/>
                      <a:pt x="65" y="193"/>
                    </a:cubicBezTo>
                    <a:cubicBezTo>
                      <a:pt x="66" y="195"/>
                      <a:pt x="68" y="196"/>
                      <a:pt x="69" y="198"/>
                    </a:cubicBezTo>
                    <a:cubicBezTo>
                      <a:pt x="73" y="202"/>
                      <a:pt x="75" y="205"/>
                      <a:pt x="75" y="216"/>
                    </a:cubicBezTo>
                    <a:cubicBezTo>
                      <a:pt x="75" y="226"/>
                      <a:pt x="77" y="230"/>
                      <a:pt x="77" y="232"/>
                    </a:cubicBezTo>
                    <a:cubicBezTo>
                      <a:pt x="78" y="233"/>
                      <a:pt x="78" y="233"/>
                      <a:pt x="78" y="233"/>
                    </a:cubicBezTo>
                    <a:cubicBezTo>
                      <a:pt x="78" y="235"/>
                      <a:pt x="80" y="236"/>
                      <a:pt x="82" y="236"/>
                    </a:cubicBezTo>
                    <a:cubicBezTo>
                      <a:pt x="83" y="236"/>
                      <a:pt x="83" y="236"/>
                      <a:pt x="84" y="236"/>
                    </a:cubicBezTo>
                    <a:cubicBezTo>
                      <a:pt x="165" y="212"/>
                      <a:pt x="165" y="212"/>
                      <a:pt x="165" y="212"/>
                    </a:cubicBezTo>
                    <a:cubicBezTo>
                      <a:pt x="167" y="211"/>
                      <a:pt x="169" y="209"/>
                      <a:pt x="168" y="206"/>
                    </a:cubicBezTo>
                    <a:cubicBezTo>
                      <a:pt x="166" y="191"/>
                      <a:pt x="168" y="164"/>
                      <a:pt x="180" y="143"/>
                    </a:cubicBezTo>
                    <a:cubicBezTo>
                      <a:pt x="184" y="137"/>
                      <a:pt x="186" y="132"/>
                      <a:pt x="189" y="128"/>
                    </a:cubicBezTo>
                    <a:cubicBezTo>
                      <a:pt x="203" y="103"/>
                      <a:pt x="206" y="99"/>
                      <a:pt x="200" y="59"/>
                    </a:cubicBezTo>
                    <a:close/>
                    <a:moveTo>
                      <a:pt x="181" y="123"/>
                    </a:moveTo>
                    <a:cubicBezTo>
                      <a:pt x="178" y="127"/>
                      <a:pt x="175" y="132"/>
                      <a:pt x="172" y="138"/>
                    </a:cubicBezTo>
                    <a:cubicBezTo>
                      <a:pt x="160" y="160"/>
                      <a:pt x="157" y="186"/>
                      <a:pt x="158" y="204"/>
                    </a:cubicBezTo>
                    <a:cubicBezTo>
                      <a:pt x="86" y="225"/>
                      <a:pt x="86" y="225"/>
                      <a:pt x="86" y="225"/>
                    </a:cubicBezTo>
                    <a:cubicBezTo>
                      <a:pt x="85" y="223"/>
                      <a:pt x="85" y="220"/>
                      <a:pt x="85" y="216"/>
                    </a:cubicBezTo>
                    <a:cubicBezTo>
                      <a:pt x="85" y="202"/>
                      <a:pt x="81" y="197"/>
                      <a:pt x="76" y="191"/>
                    </a:cubicBezTo>
                    <a:cubicBezTo>
                      <a:pt x="75" y="190"/>
                      <a:pt x="74" y="189"/>
                      <a:pt x="73" y="187"/>
                    </a:cubicBezTo>
                    <a:cubicBezTo>
                      <a:pt x="69" y="182"/>
                      <a:pt x="64" y="181"/>
                      <a:pt x="60" y="181"/>
                    </a:cubicBezTo>
                    <a:cubicBezTo>
                      <a:pt x="57" y="181"/>
                      <a:pt x="54" y="182"/>
                      <a:pt x="51" y="182"/>
                    </a:cubicBezTo>
                    <a:cubicBezTo>
                      <a:pt x="50" y="183"/>
                      <a:pt x="50" y="183"/>
                      <a:pt x="50" y="183"/>
                    </a:cubicBezTo>
                    <a:cubicBezTo>
                      <a:pt x="42" y="184"/>
                      <a:pt x="33" y="180"/>
                      <a:pt x="33" y="171"/>
                    </a:cubicBezTo>
                    <a:cubicBezTo>
                      <a:pt x="33" y="161"/>
                      <a:pt x="32" y="159"/>
                      <a:pt x="29" y="156"/>
                    </a:cubicBezTo>
                    <a:cubicBezTo>
                      <a:pt x="29" y="155"/>
                      <a:pt x="28" y="155"/>
                      <a:pt x="30" y="153"/>
                    </a:cubicBezTo>
                    <a:cubicBezTo>
                      <a:pt x="30" y="153"/>
                      <a:pt x="30" y="152"/>
                      <a:pt x="30" y="152"/>
                    </a:cubicBezTo>
                    <a:cubicBezTo>
                      <a:pt x="31" y="151"/>
                      <a:pt x="31" y="149"/>
                      <a:pt x="31" y="148"/>
                    </a:cubicBezTo>
                    <a:cubicBezTo>
                      <a:pt x="30" y="146"/>
                      <a:pt x="29" y="145"/>
                      <a:pt x="28" y="145"/>
                    </a:cubicBezTo>
                    <a:cubicBezTo>
                      <a:pt x="25" y="144"/>
                      <a:pt x="25" y="144"/>
                      <a:pt x="25" y="143"/>
                    </a:cubicBezTo>
                    <a:cubicBezTo>
                      <a:pt x="25" y="142"/>
                      <a:pt x="26" y="141"/>
                      <a:pt x="26" y="140"/>
                    </a:cubicBezTo>
                    <a:cubicBezTo>
                      <a:pt x="27" y="138"/>
                      <a:pt x="27" y="136"/>
                      <a:pt x="28" y="131"/>
                    </a:cubicBezTo>
                    <a:cubicBezTo>
                      <a:pt x="28" y="128"/>
                      <a:pt x="26" y="126"/>
                      <a:pt x="24" y="125"/>
                    </a:cubicBezTo>
                    <a:cubicBezTo>
                      <a:pt x="22" y="125"/>
                      <a:pt x="20" y="125"/>
                      <a:pt x="18" y="125"/>
                    </a:cubicBezTo>
                    <a:cubicBezTo>
                      <a:pt x="15" y="125"/>
                      <a:pt x="12" y="125"/>
                      <a:pt x="12" y="124"/>
                    </a:cubicBezTo>
                    <a:cubicBezTo>
                      <a:pt x="11" y="123"/>
                      <a:pt x="12" y="121"/>
                      <a:pt x="15" y="118"/>
                    </a:cubicBezTo>
                    <a:cubicBezTo>
                      <a:pt x="28" y="105"/>
                      <a:pt x="32" y="72"/>
                      <a:pt x="32" y="72"/>
                    </a:cubicBezTo>
                    <a:cubicBezTo>
                      <a:pt x="37" y="14"/>
                      <a:pt x="95" y="10"/>
                      <a:pt x="113" y="10"/>
                    </a:cubicBezTo>
                    <a:cubicBezTo>
                      <a:pt x="117" y="10"/>
                      <a:pt x="117" y="10"/>
                      <a:pt x="117" y="10"/>
                    </a:cubicBezTo>
                    <a:cubicBezTo>
                      <a:pt x="125" y="10"/>
                      <a:pt x="185" y="19"/>
                      <a:pt x="191" y="60"/>
                    </a:cubicBezTo>
                    <a:cubicBezTo>
                      <a:pt x="196" y="97"/>
                      <a:pt x="194" y="100"/>
                      <a:pt x="181" y="1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114" name="Freeform 504">
                <a:extLst>
                  <a:ext uri="{FF2B5EF4-FFF2-40B4-BE49-F238E27FC236}">
                    <a16:creationId xmlns:a16="http://schemas.microsoft.com/office/drawing/2014/main" id="{4E5D794D-A0E6-4568-9E2A-3B0C8FB9F7EA}"/>
                  </a:ext>
                </a:extLst>
              </p:cNvPr>
              <p:cNvSpPr>
                <a:spLocks noEditPoints="1"/>
              </p:cNvSpPr>
              <p:nvPr/>
            </p:nvSpPr>
            <p:spPr bwMode="auto">
              <a:xfrm>
                <a:off x="9985375" y="3032125"/>
                <a:ext cx="84138" cy="82550"/>
              </a:xfrm>
              <a:custGeom>
                <a:avLst/>
                <a:gdLst>
                  <a:gd name="T0" fmla="*/ 22 w 45"/>
                  <a:gd name="T1" fmla="*/ 0 h 44"/>
                  <a:gd name="T2" fmla="*/ 0 w 45"/>
                  <a:gd name="T3" fmla="*/ 22 h 44"/>
                  <a:gd name="T4" fmla="*/ 22 w 45"/>
                  <a:gd name="T5" fmla="*/ 44 h 44"/>
                  <a:gd name="T6" fmla="*/ 45 w 45"/>
                  <a:gd name="T7" fmla="*/ 22 h 44"/>
                  <a:gd name="T8" fmla="*/ 22 w 45"/>
                  <a:gd name="T9" fmla="*/ 0 h 44"/>
                  <a:gd name="T10" fmla="*/ 22 w 45"/>
                  <a:gd name="T11" fmla="*/ 35 h 44"/>
                  <a:gd name="T12" fmla="*/ 10 w 45"/>
                  <a:gd name="T13" fmla="*/ 22 h 44"/>
                  <a:gd name="T14" fmla="*/ 22 w 45"/>
                  <a:gd name="T15" fmla="*/ 10 h 44"/>
                  <a:gd name="T16" fmla="*/ 35 w 45"/>
                  <a:gd name="T17" fmla="*/ 22 h 44"/>
                  <a:gd name="T18" fmla="*/ 22 w 45"/>
                  <a:gd name="T19" fmla="*/ 3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4">
                    <a:moveTo>
                      <a:pt x="22" y="0"/>
                    </a:moveTo>
                    <a:cubicBezTo>
                      <a:pt x="10" y="0"/>
                      <a:pt x="0" y="10"/>
                      <a:pt x="0" y="22"/>
                    </a:cubicBezTo>
                    <a:cubicBezTo>
                      <a:pt x="0" y="35"/>
                      <a:pt x="10" y="44"/>
                      <a:pt x="22" y="44"/>
                    </a:cubicBezTo>
                    <a:cubicBezTo>
                      <a:pt x="35" y="44"/>
                      <a:pt x="45" y="35"/>
                      <a:pt x="45" y="22"/>
                    </a:cubicBezTo>
                    <a:cubicBezTo>
                      <a:pt x="45" y="10"/>
                      <a:pt x="35" y="0"/>
                      <a:pt x="22" y="0"/>
                    </a:cubicBezTo>
                    <a:close/>
                    <a:moveTo>
                      <a:pt x="22" y="35"/>
                    </a:moveTo>
                    <a:cubicBezTo>
                      <a:pt x="16" y="35"/>
                      <a:pt x="10" y="29"/>
                      <a:pt x="10" y="22"/>
                    </a:cubicBezTo>
                    <a:cubicBezTo>
                      <a:pt x="10" y="15"/>
                      <a:pt x="16" y="10"/>
                      <a:pt x="22" y="10"/>
                    </a:cubicBezTo>
                    <a:cubicBezTo>
                      <a:pt x="29" y="10"/>
                      <a:pt x="35" y="15"/>
                      <a:pt x="35" y="22"/>
                    </a:cubicBezTo>
                    <a:cubicBezTo>
                      <a:pt x="35" y="29"/>
                      <a:pt x="29" y="35"/>
                      <a:pt x="22" y="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115" name="Freeform 505">
                <a:extLst>
                  <a:ext uri="{FF2B5EF4-FFF2-40B4-BE49-F238E27FC236}">
                    <a16:creationId xmlns:a16="http://schemas.microsoft.com/office/drawing/2014/main" id="{CF5E8C89-A30F-4CBB-9668-7D9925BD736D}"/>
                  </a:ext>
                </a:extLst>
              </p:cNvPr>
              <p:cNvSpPr>
                <a:spLocks noEditPoints="1"/>
              </p:cNvSpPr>
              <p:nvPr/>
            </p:nvSpPr>
            <p:spPr bwMode="auto">
              <a:xfrm>
                <a:off x="9931400" y="2978150"/>
                <a:ext cx="192088" cy="192088"/>
              </a:xfrm>
              <a:custGeom>
                <a:avLst/>
                <a:gdLst>
                  <a:gd name="T0" fmla="*/ 89 w 103"/>
                  <a:gd name="T1" fmla="*/ 39 h 103"/>
                  <a:gd name="T2" fmla="*/ 93 w 103"/>
                  <a:gd name="T3" fmla="*/ 26 h 103"/>
                  <a:gd name="T4" fmla="*/ 83 w 103"/>
                  <a:gd name="T5" fmla="*/ 10 h 103"/>
                  <a:gd name="T6" fmla="*/ 69 w 103"/>
                  <a:gd name="T7" fmla="*/ 16 h 103"/>
                  <a:gd name="T8" fmla="*/ 63 w 103"/>
                  <a:gd name="T9" fmla="*/ 4 h 103"/>
                  <a:gd name="T10" fmla="*/ 44 w 103"/>
                  <a:gd name="T11" fmla="*/ 0 h 103"/>
                  <a:gd name="T12" fmla="*/ 39 w 103"/>
                  <a:gd name="T13" fmla="*/ 14 h 103"/>
                  <a:gd name="T14" fmla="*/ 26 w 103"/>
                  <a:gd name="T15" fmla="*/ 10 h 103"/>
                  <a:gd name="T16" fmla="*/ 15 w 103"/>
                  <a:gd name="T17" fmla="*/ 15 h 103"/>
                  <a:gd name="T18" fmla="*/ 10 w 103"/>
                  <a:gd name="T19" fmla="*/ 20 h 103"/>
                  <a:gd name="T20" fmla="*/ 16 w 103"/>
                  <a:gd name="T21" fmla="*/ 34 h 103"/>
                  <a:gd name="T22" fmla="*/ 5 w 103"/>
                  <a:gd name="T23" fmla="*/ 40 h 103"/>
                  <a:gd name="T24" fmla="*/ 0 w 103"/>
                  <a:gd name="T25" fmla="*/ 51 h 103"/>
                  <a:gd name="T26" fmla="*/ 0 w 103"/>
                  <a:gd name="T27" fmla="*/ 58 h 103"/>
                  <a:gd name="T28" fmla="*/ 14 w 103"/>
                  <a:gd name="T29" fmla="*/ 64 h 103"/>
                  <a:gd name="T30" fmla="*/ 10 w 103"/>
                  <a:gd name="T31" fmla="*/ 77 h 103"/>
                  <a:gd name="T32" fmla="*/ 15 w 103"/>
                  <a:gd name="T33" fmla="*/ 87 h 103"/>
                  <a:gd name="T34" fmla="*/ 20 w 103"/>
                  <a:gd name="T35" fmla="*/ 93 h 103"/>
                  <a:gd name="T36" fmla="*/ 34 w 103"/>
                  <a:gd name="T37" fmla="*/ 87 h 103"/>
                  <a:gd name="T38" fmla="*/ 40 w 103"/>
                  <a:gd name="T39" fmla="*/ 98 h 103"/>
                  <a:gd name="T40" fmla="*/ 51 w 103"/>
                  <a:gd name="T41" fmla="*/ 103 h 103"/>
                  <a:gd name="T42" fmla="*/ 63 w 103"/>
                  <a:gd name="T43" fmla="*/ 98 h 103"/>
                  <a:gd name="T44" fmla="*/ 69 w 103"/>
                  <a:gd name="T45" fmla="*/ 87 h 103"/>
                  <a:gd name="T46" fmla="*/ 83 w 103"/>
                  <a:gd name="T47" fmla="*/ 92 h 103"/>
                  <a:gd name="T48" fmla="*/ 93 w 103"/>
                  <a:gd name="T49" fmla="*/ 77 h 103"/>
                  <a:gd name="T50" fmla="*/ 89 w 103"/>
                  <a:gd name="T51" fmla="*/ 64 h 103"/>
                  <a:gd name="T52" fmla="*/ 103 w 103"/>
                  <a:gd name="T53" fmla="*/ 58 h 103"/>
                  <a:gd name="T54" fmla="*/ 103 w 103"/>
                  <a:gd name="T55" fmla="*/ 44 h 103"/>
                  <a:gd name="T56" fmla="*/ 93 w 103"/>
                  <a:gd name="T57" fmla="*/ 54 h 103"/>
                  <a:gd name="T58" fmla="*/ 80 w 103"/>
                  <a:gd name="T59" fmla="*/ 58 h 103"/>
                  <a:gd name="T60" fmla="*/ 77 w 103"/>
                  <a:gd name="T61" fmla="*/ 72 h 103"/>
                  <a:gd name="T62" fmla="*/ 80 w 103"/>
                  <a:gd name="T63" fmla="*/ 83 h 103"/>
                  <a:gd name="T64" fmla="*/ 67 w 103"/>
                  <a:gd name="T65" fmla="*/ 77 h 103"/>
                  <a:gd name="T66" fmla="*/ 55 w 103"/>
                  <a:gd name="T67" fmla="*/ 84 h 103"/>
                  <a:gd name="T68" fmla="*/ 49 w 103"/>
                  <a:gd name="T69" fmla="*/ 93 h 103"/>
                  <a:gd name="T70" fmla="*/ 44 w 103"/>
                  <a:gd name="T71" fmla="*/ 80 h 103"/>
                  <a:gd name="T72" fmla="*/ 30 w 103"/>
                  <a:gd name="T73" fmla="*/ 77 h 103"/>
                  <a:gd name="T74" fmla="*/ 22 w 103"/>
                  <a:gd name="T75" fmla="*/ 81 h 103"/>
                  <a:gd name="T76" fmla="*/ 20 w 103"/>
                  <a:gd name="T77" fmla="*/ 79 h 103"/>
                  <a:gd name="T78" fmla="*/ 26 w 103"/>
                  <a:gd name="T79" fmla="*/ 67 h 103"/>
                  <a:gd name="T80" fmla="*/ 18 w 103"/>
                  <a:gd name="T81" fmla="*/ 55 h 103"/>
                  <a:gd name="T82" fmla="*/ 10 w 103"/>
                  <a:gd name="T83" fmla="*/ 52 h 103"/>
                  <a:gd name="T84" fmla="*/ 10 w 103"/>
                  <a:gd name="T85" fmla="*/ 49 h 103"/>
                  <a:gd name="T86" fmla="*/ 23 w 103"/>
                  <a:gd name="T87" fmla="*/ 44 h 103"/>
                  <a:gd name="T88" fmla="*/ 26 w 103"/>
                  <a:gd name="T89" fmla="*/ 30 h 103"/>
                  <a:gd name="T90" fmla="*/ 21 w 103"/>
                  <a:gd name="T91" fmla="*/ 22 h 103"/>
                  <a:gd name="T92" fmla="*/ 23 w 103"/>
                  <a:gd name="T93" fmla="*/ 20 h 103"/>
                  <a:gd name="T94" fmla="*/ 36 w 103"/>
                  <a:gd name="T95" fmla="*/ 26 h 103"/>
                  <a:gd name="T96" fmla="*/ 48 w 103"/>
                  <a:gd name="T97" fmla="*/ 18 h 103"/>
                  <a:gd name="T98" fmla="*/ 54 w 103"/>
                  <a:gd name="T99" fmla="*/ 9 h 103"/>
                  <a:gd name="T100" fmla="*/ 58 w 103"/>
                  <a:gd name="T101" fmla="*/ 22 h 103"/>
                  <a:gd name="T102" fmla="*/ 72 w 103"/>
                  <a:gd name="T103" fmla="*/ 26 h 103"/>
                  <a:gd name="T104" fmla="*/ 83 w 103"/>
                  <a:gd name="T105" fmla="*/ 23 h 103"/>
                  <a:gd name="T106" fmla="*/ 77 w 103"/>
                  <a:gd name="T107" fmla="*/ 36 h 103"/>
                  <a:gd name="T108" fmla="*/ 84 w 103"/>
                  <a:gd name="T109" fmla="*/ 48 h 103"/>
                  <a:gd name="T110" fmla="*/ 93 w 103"/>
                  <a:gd name="T111" fmla="*/ 5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3" h="103">
                    <a:moveTo>
                      <a:pt x="98" y="40"/>
                    </a:moveTo>
                    <a:cubicBezTo>
                      <a:pt x="89" y="39"/>
                      <a:pt x="89" y="39"/>
                      <a:pt x="89" y="39"/>
                    </a:cubicBezTo>
                    <a:cubicBezTo>
                      <a:pt x="88" y="37"/>
                      <a:pt x="88" y="35"/>
                      <a:pt x="87" y="34"/>
                    </a:cubicBezTo>
                    <a:cubicBezTo>
                      <a:pt x="93" y="26"/>
                      <a:pt x="93" y="26"/>
                      <a:pt x="93" y="26"/>
                    </a:cubicBezTo>
                    <a:cubicBezTo>
                      <a:pt x="94" y="24"/>
                      <a:pt x="94" y="22"/>
                      <a:pt x="93" y="20"/>
                    </a:cubicBezTo>
                    <a:cubicBezTo>
                      <a:pt x="90" y="16"/>
                      <a:pt x="86" y="13"/>
                      <a:pt x="83" y="10"/>
                    </a:cubicBezTo>
                    <a:cubicBezTo>
                      <a:pt x="81" y="9"/>
                      <a:pt x="78" y="9"/>
                      <a:pt x="77" y="10"/>
                    </a:cubicBezTo>
                    <a:cubicBezTo>
                      <a:pt x="69" y="16"/>
                      <a:pt x="69" y="16"/>
                      <a:pt x="69" y="16"/>
                    </a:cubicBezTo>
                    <a:cubicBezTo>
                      <a:pt x="67" y="15"/>
                      <a:pt x="66" y="15"/>
                      <a:pt x="64" y="14"/>
                    </a:cubicBezTo>
                    <a:cubicBezTo>
                      <a:pt x="63" y="4"/>
                      <a:pt x="63" y="4"/>
                      <a:pt x="63" y="4"/>
                    </a:cubicBezTo>
                    <a:cubicBezTo>
                      <a:pt x="62" y="2"/>
                      <a:pt x="61" y="1"/>
                      <a:pt x="59" y="0"/>
                    </a:cubicBezTo>
                    <a:cubicBezTo>
                      <a:pt x="54" y="0"/>
                      <a:pt x="49" y="0"/>
                      <a:pt x="44" y="0"/>
                    </a:cubicBezTo>
                    <a:cubicBezTo>
                      <a:pt x="42" y="1"/>
                      <a:pt x="41" y="2"/>
                      <a:pt x="40" y="4"/>
                    </a:cubicBezTo>
                    <a:cubicBezTo>
                      <a:pt x="39" y="14"/>
                      <a:pt x="39" y="14"/>
                      <a:pt x="39" y="14"/>
                    </a:cubicBezTo>
                    <a:cubicBezTo>
                      <a:pt x="37" y="15"/>
                      <a:pt x="36" y="15"/>
                      <a:pt x="34" y="16"/>
                    </a:cubicBezTo>
                    <a:cubicBezTo>
                      <a:pt x="26" y="10"/>
                      <a:pt x="26" y="10"/>
                      <a:pt x="26" y="10"/>
                    </a:cubicBezTo>
                    <a:cubicBezTo>
                      <a:pt x="25" y="9"/>
                      <a:pt x="22" y="9"/>
                      <a:pt x="20" y="10"/>
                    </a:cubicBezTo>
                    <a:cubicBezTo>
                      <a:pt x="19" y="11"/>
                      <a:pt x="17" y="13"/>
                      <a:pt x="15" y="15"/>
                    </a:cubicBezTo>
                    <a:cubicBezTo>
                      <a:pt x="15" y="15"/>
                      <a:pt x="15" y="15"/>
                      <a:pt x="15" y="15"/>
                    </a:cubicBezTo>
                    <a:cubicBezTo>
                      <a:pt x="13" y="17"/>
                      <a:pt x="12" y="19"/>
                      <a:pt x="10" y="20"/>
                    </a:cubicBezTo>
                    <a:cubicBezTo>
                      <a:pt x="9" y="22"/>
                      <a:pt x="9" y="24"/>
                      <a:pt x="10" y="26"/>
                    </a:cubicBezTo>
                    <a:cubicBezTo>
                      <a:pt x="16" y="34"/>
                      <a:pt x="16" y="34"/>
                      <a:pt x="16" y="34"/>
                    </a:cubicBezTo>
                    <a:cubicBezTo>
                      <a:pt x="15" y="35"/>
                      <a:pt x="15" y="37"/>
                      <a:pt x="14" y="39"/>
                    </a:cubicBezTo>
                    <a:cubicBezTo>
                      <a:pt x="5" y="40"/>
                      <a:pt x="5" y="40"/>
                      <a:pt x="5" y="40"/>
                    </a:cubicBezTo>
                    <a:cubicBezTo>
                      <a:pt x="2" y="40"/>
                      <a:pt x="1" y="42"/>
                      <a:pt x="0" y="44"/>
                    </a:cubicBezTo>
                    <a:cubicBezTo>
                      <a:pt x="0" y="46"/>
                      <a:pt x="0" y="48"/>
                      <a:pt x="0" y="51"/>
                    </a:cubicBezTo>
                    <a:cubicBezTo>
                      <a:pt x="0" y="52"/>
                      <a:pt x="0" y="52"/>
                      <a:pt x="0" y="52"/>
                    </a:cubicBezTo>
                    <a:cubicBezTo>
                      <a:pt x="0" y="54"/>
                      <a:pt x="0" y="56"/>
                      <a:pt x="0" y="58"/>
                    </a:cubicBezTo>
                    <a:cubicBezTo>
                      <a:pt x="1" y="61"/>
                      <a:pt x="2" y="62"/>
                      <a:pt x="5" y="63"/>
                    </a:cubicBezTo>
                    <a:cubicBezTo>
                      <a:pt x="14" y="64"/>
                      <a:pt x="14" y="64"/>
                      <a:pt x="14" y="64"/>
                    </a:cubicBezTo>
                    <a:cubicBezTo>
                      <a:pt x="15" y="66"/>
                      <a:pt x="15" y="67"/>
                      <a:pt x="16" y="69"/>
                    </a:cubicBezTo>
                    <a:cubicBezTo>
                      <a:pt x="10" y="77"/>
                      <a:pt x="10" y="77"/>
                      <a:pt x="10" y="77"/>
                    </a:cubicBezTo>
                    <a:cubicBezTo>
                      <a:pt x="9" y="78"/>
                      <a:pt x="9" y="81"/>
                      <a:pt x="10" y="82"/>
                    </a:cubicBezTo>
                    <a:cubicBezTo>
                      <a:pt x="12" y="84"/>
                      <a:pt x="13" y="86"/>
                      <a:pt x="15" y="87"/>
                    </a:cubicBezTo>
                    <a:cubicBezTo>
                      <a:pt x="15" y="88"/>
                      <a:pt x="15" y="88"/>
                      <a:pt x="15" y="88"/>
                    </a:cubicBezTo>
                    <a:cubicBezTo>
                      <a:pt x="17" y="90"/>
                      <a:pt x="19" y="91"/>
                      <a:pt x="20" y="93"/>
                    </a:cubicBezTo>
                    <a:cubicBezTo>
                      <a:pt x="22" y="94"/>
                      <a:pt x="25" y="94"/>
                      <a:pt x="26" y="92"/>
                    </a:cubicBezTo>
                    <a:cubicBezTo>
                      <a:pt x="34" y="87"/>
                      <a:pt x="34" y="87"/>
                      <a:pt x="34" y="87"/>
                    </a:cubicBezTo>
                    <a:cubicBezTo>
                      <a:pt x="36" y="87"/>
                      <a:pt x="37" y="88"/>
                      <a:pt x="39" y="89"/>
                    </a:cubicBezTo>
                    <a:cubicBezTo>
                      <a:pt x="40" y="98"/>
                      <a:pt x="40" y="98"/>
                      <a:pt x="40" y="98"/>
                    </a:cubicBezTo>
                    <a:cubicBezTo>
                      <a:pt x="41" y="100"/>
                      <a:pt x="42" y="102"/>
                      <a:pt x="44" y="102"/>
                    </a:cubicBezTo>
                    <a:cubicBezTo>
                      <a:pt x="47" y="103"/>
                      <a:pt x="49" y="103"/>
                      <a:pt x="51" y="103"/>
                    </a:cubicBezTo>
                    <a:cubicBezTo>
                      <a:pt x="54" y="103"/>
                      <a:pt x="56" y="103"/>
                      <a:pt x="59" y="102"/>
                    </a:cubicBezTo>
                    <a:cubicBezTo>
                      <a:pt x="61" y="102"/>
                      <a:pt x="62" y="100"/>
                      <a:pt x="63" y="98"/>
                    </a:cubicBezTo>
                    <a:cubicBezTo>
                      <a:pt x="64" y="89"/>
                      <a:pt x="64" y="89"/>
                      <a:pt x="64" y="89"/>
                    </a:cubicBezTo>
                    <a:cubicBezTo>
                      <a:pt x="66" y="88"/>
                      <a:pt x="67" y="87"/>
                      <a:pt x="69" y="87"/>
                    </a:cubicBezTo>
                    <a:cubicBezTo>
                      <a:pt x="77" y="92"/>
                      <a:pt x="77" y="92"/>
                      <a:pt x="77" y="92"/>
                    </a:cubicBezTo>
                    <a:cubicBezTo>
                      <a:pt x="78" y="94"/>
                      <a:pt x="81" y="94"/>
                      <a:pt x="83" y="92"/>
                    </a:cubicBezTo>
                    <a:cubicBezTo>
                      <a:pt x="86" y="90"/>
                      <a:pt x="90" y="86"/>
                      <a:pt x="93" y="82"/>
                    </a:cubicBezTo>
                    <a:cubicBezTo>
                      <a:pt x="94" y="81"/>
                      <a:pt x="94" y="78"/>
                      <a:pt x="93" y="77"/>
                    </a:cubicBezTo>
                    <a:cubicBezTo>
                      <a:pt x="87" y="69"/>
                      <a:pt x="87" y="69"/>
                      <a:pt x="87" y="69"/>
                    </a:cubicBezTo>
                    <a:cubicBezTo>
                      <a:pt x="88" y="67"/>
                      <a:pt x="88" y="66"/>
                      <a:pt x="89" y="64"/>
                    </a:cubicBezTo>
                    <a:cubicBezTo>
                      <a:pt x="98" y="63"/>
                      <a:pt x="98" y="63"/>
                      <a:pt x="98" y="63"/>
                    </a:cubicBezTo>
                    <a:cubicBezTo>
                      <a:pt x="101" y="62"/>
                      <a:pt x="102" y="61"/>
                      <a:pt x="103" y="58"/>
                    </a:cubicBezTo>
                    <a:cubicBezTo>
                      <a:pt x="103" y="56"/>
                      <a:pt x="103" y="54"/>
                      <a:pt x="103" y="51"/>
                    </a:cubicBezTo>
                    <a:cubicBezTo>
                      <a:pt x="103" y="49"/>
                      <a:pt x="103" y="47"/>
                      <a:pt x="103" y="44"/>
                    </a:cubicBezTo>
                    <a:cubicBezTo>
                      <a:pt x="102" y="42"/>
                      <a:pt x="101" y="40"/>
                      <a:pt x="98" y="40"/>
                    </a:cubicBezTo>
                    <a:close/>
                    <a:moveTo>
                      <a:pt x="93" y="54"/>
                    </a:moveTo>
                    <a:cubicBezTo>
                      <a:pt x="84" y="55"/>
                      <a:pt x="84" y="55"/>
                      <a:pt x="84" y="55"/>
                    </a:cubicBezTo>
                    <a:cubicBezTo>
                      <a:pt x="83" y="55"/>
                      <a:pt x="81" y="56"/>
                      <a:pt x="80" y="58"/>
                    </a:cubicBezTo>
                    <a:cubicBezTo>
                      <a:pt x="80" y="61"/>
                      <a:pt x="79" y="64"/>
                      <a:pt x="77" y="67"/>
                    </a:cubicBezTo>
                    <a:cubicBezTo>
                      <a:pt x="76" y="69"/>
                      <a:pt x="76" y="71"/>
                      <a:pt x="77" y="72"/>
                    </a:cubicBezTo>
                    <a:cubicBezTo>
                      <a:pt x="83" y="79"/>
                      <a:pt x="83" y="79"/>
                      <a:pt x="83" y="79"/>
                    </a:cubicBezTo>
                    <a:cubicBezTo>
                      <a:pt x="82" y="80"/>
                      <a:pt x="81" y="82"/>
                      <a:pt x="80" y="83"/>
                    </a:cubicBezTo>
                    <a:cubicBezTo>
                      <a:pt x="72" y="77"/>
                      <a:pt x="72" y="77"/>
                      <a:pt x="72" y="77"/>
                    </a:cubicBezTo>
                    <a:cubicBezTo>
                      <a:pt x="71" y="76"/>
                      <a:pt x="69" y="76"/>
                      <a:pt x="67" y="77"/>
                    </a:cubicBezTo>
                    <a:cubicBezTo>
                      <a:pt x="64" y="78"/>
                      <a:pt x="61" y="80"/>
                      <a:pt x="58" y="80"/>
                    </a:cubicBezTo>
                    <a:cubicBezTo>
                      <a:pt x="57" y="81"/>
                      <a:pt x="55" y="82"/>
                      <a:pt x="55" y="84"/>
                    </a:cubicBezTo>
                    <a:cubicBezTo>
                      <a:pt x="54" y="93"/>
                      <a:pt x="54" y="93"/>
                      <a:pt x="54" y="93"/>
                    </a:cubicBezTo>
                    <a:cubicBezTo>
                      <a:pt x="52" y="93"/>
                      <a:pt x="51" y="93"/>
                      <a:pt x="49" y="93"/>
                    </a:cubicBezTo>
                    <a:cubicBezTo>
                      <a:pt x="48" y="84"/>
                      <a:pt x="48" y="84"/>
                      <a:pt x="48" y="84"/>
                    </a:cubicBezTo>
                    <a:cubicBezTo>
                      <a:pt x="48" y="82"/>
                      <a:pt x="46" y="81"/>
                      <a:pt x="44" y="80"/>
                    </a:cubicBezTo>
                    <a:cubicBezTo>
                      <a:pt x="41" y="80"/>
                      <a:pt x="39" y="78"/>
                      <a:pt x="36" y="77"/>
                    </a:cubicBezTo>
                    <a:cubicBezTo>
                      <a:pt x="34" y="76"/>
                      <a:pt x="32" y="76"/>
                      <a:pt x="30" y="77"/>
                    </a:cubicBezTo>
                    <a:cubicBezTo>
                      <a:pt x="23" y="83"/>
                      <a:pt x="23" y="83"/>
                      <a:pt x="23" y="83"/>
                    </a:cubicBezTo>
                    <a:cubicBezTo>
                      <a:pt x="23" y="82"/>
                      <a:pt x="23" y="82"/>
                      <a:pt x="22" y="81"/>
                    </a:cubicBezTo>
                    <a:cubicBezTo>
                      <a:pt x="21" y="81"/>
                      <a:pt x="21" y="81"/>
                      <a:pt x="21" y="81"/>
                    </a:cubicBezTo>
                    <a:cubicBezTo>
                      <a:pt x="21" y="80"/>
                      <a:pt x="21" y="80"/>
                      <a:pt x="20" y="79"/>
                    </a:cubicBezTo>
                    <a:cubicBezTo>
                      <a:pt x="26" y="72"/>
                      <a:pt x="26" y="72"/>
                      <a:pt x="26" y="72"/>
                    </a:cubicBezTo>
                    <a:cubicBezTo>
                      <a:pt x="27" y="71"/>
                      <a:pt x="27" y="69"/>
                      <a:pt x="26" y="67"/>
                    </a:cubicBezTo>
                    <a:cubicBezTo>
                      <a:pt x="24" y="64"/>
                      <a:pt x="23" y="61"/>
                      <a:pt x="23" y="58"/>
                    </a:cubicBezTo>
                    <a:cubicBezTo>
                      <a:pt x="22" y="56"/>
                      <a:pt x="20" y="55"/>
                      <a:pt x="18" y="55"/>
                    </a:cubicBezTo>
                    <a:cubicBezTo>
                      <a:pt x="10" y="54"/>
                      <a:pt x="10" y="54"/>
                      <a:pt x="10" y="54"/>
                    </a:cubicBezTo>
                    <a:cubicBezTo>
                      <a:pt x="10" y="53"/>
                      <a:pt x="10" y="53"/>
                      <a:pt x="10" y="52"/>
                    </a:cubicBezTo>
                    <a:cubicBezTo>
                      <a:pt x="10" y="51"/>
                      <a:pt x="10" y="51"/>
                      <a:pt x="10" y="51"/>
                    </a:cubicBezTo>
                    <a:cubicBezTo>
                      <a:pt x="10" y="50"/>
                      <a:pt x="10" y="50"/>
                      <a:pt x="10" y="49"/>
                    </a:cubicBezTo>
                    <a:cubicBezTo>
                      <a:pt x="18" y="48"/>
                      <a:pt x="18" y="48"/>
                      <a:pt x="18" y="48"/>
                    </a:cubicBezTo>
                    <a:cubicBezTo>
                      <a:pt x="20" y="48"/>
                      <a:pt x="22" y="46"/>
                      <a:pt x="23" y="44"/>
                    </a:cubicBezTo>
                    <a:cubicBezTo>
                      <a:pt x="23" y="41"/>
                      <a:pt x="24" y="38"/>
                      <a:pt x="26" y="36"/>
                    </a:cubicBezTo>
                    <a:cubicBezTo>
                      <a:pt x="27" y="34"/>
                      <a:pt x="27" y="32"/>
                      <a:pt x="26" y="30"/>
                    </a:cubicBezTo>
                    <a:cubicBezTo>
                      <a:pt x="20" y="23"/>
                      <a:pt x="20" y="23"/>
                      <a:pt x="20" y="23"/>
                    </a:cubicBezTo>
                    <a:cubicBezTo>
                      <a:pt x="21" y="23"/>
                      <a:pt x="21" y="22"/>
                      <a:pt x="21" y="22"/>
                    </a:cubicBezTo>
                    <a:cubicBezTo>
                      <a:pt x="22" y="21"/>
                      <a:pt x="22" y="21"/>
                      <a:pt x="22" y="21"/>
                    </a:cubicBezTo>
                    <a:cubicBezTo>
                      <a:pt x="23" y="21"/>
                      <a:pt x="23" y="21"/>
                      <a:pt x="23" y="20"/>
                    </a:cubicBezTo>
                    <a:cubicBezTo>
                      <a:pt x="30" y="26"/>
                      <a:pt x="30" y="26"/>
                      <a:pt x="30" y="26"/>
                    </a:cubicBezTo>
                    <a:cubicBezTo>
                      <a:pt x="32" y="27"/>
                      <a:pt x="34" y="27"/>
                      <a:pt x="36" y="26"/>
                    </a:cubicBezTo>
                    <a:cubicBezTo>
                      <a:pt x="39" y="24"/>
                      <a:pt x="41" y="23"/>
                      <a:pt x="44" y="22"/>
                    </a:cubicBezTo>
                    <a:cubicBezTo>
                      <a:pt x="46" y="22"/>
                      <a:pt x="48" y="20"/>
                      <a:pt x="48" y="18"/>
                    </a:cubicBezTo>
                    <a:cubicBezTo>
                      <a:pt x="49" y="9"/>
                      <a:pt x="49" y="9"/>
                      <a:pt x="49" y="9"/>
                    </a:cubicBezTo>
                    <a:cubicBezTo>
                      <a:pt x="51" y="9"/>
                      <a:pt x="52" y="9"/>
                      <a:pt x="54" y="9"/>
                    </a:cubicBezTo>
                    <a:cubicBezTo>
                      <a:pt x="55" y="18"/>
                      <a:pt x="55" y="18"/>
                      <a:pt x="55" y="18"/>
                    </a:cubicBezTo>
                    <a:cubicBezTo>
                      <a:pt x="55" y="20"/>
                      <a:pt x="57" y="22"/>
                      <a:pt x="58" y="22"/>
                    </a:cubicBezTo>
                    <a:cubicBezTo>
                      <a:pt x="61" y="23"/>
                      <a:pt x="64" y="24"/>
                      <a:pt x="67" y="26"/>
                    </a:cubicBezTo>
                    <a:cubicBezTo>
                      <a:pt x="69" y="27"/>
                      <a:pt x="71" y="27"/>
                      <a:pt x="72" y="26"/>
                    </a:cubicBezTo>
                    <a:cubicBezTo>
                      <a:pt x="80" y="20"/>
                      <a:pt x="80" y="20"/>
                      <a:pt x="80" y="20"/>
                    </a:cubicBezTo>
                    <a:cubicBezTo>
                      <a:pt x="81" y="21"/>
                      <a:pt x="82" y="22"/>
                      <a:pt x="83" y="23"/>
                    </a:cubicBezTo>
                    <a:cubicBezTo>
                      <a:pt x="77" y="30"/>
                      <a:pt x="77" y="30"/>
                      <a:pt x="77" y="30"/>
                    </a:cubicBezTo>
                    <a:cubicBezTo>
                      <a:pt x="76" y="32"/>
                      <a:pt x="76" y="34"/>
                      <a:pt x="77" y="36"/>
                    </a:cubicBezTo>
                    <a:cubicBezTo>
                      <a:pt x="79" y="38"/>
                      <a:pt x="80" y="41"/>
                      <a:pt x="80" y="44"/>
                    </a:cubicBezTo>
                    <a:cubicBezTo>
                      <a:pt x="81" y="46"/>
                      <a:pt x="83" y="48"/>
                      <a:pt x="84" y="48"/>
                    </a:cubicBezTo>
                    <a:cubicBezTo>
                      <a:pt x="93" y="49"/>
                      <a:pt x="93" y="49"/>
                      <a:pt x="93" y="49"/>
                    </a:cubicBezTo>
                    <a:cubicBezTo>
                      <a:pt x="93" y="50"/>
                      <a:pt x="93" y="51"/>
                      <a:pt x="93" y="51"/>
                    </a:cubicBezTo>
                    <a:cubicBezTo>
                      <a:pt x="93" y="52"/>
                      <a:pt x="93" y="53"/>
                      <a:pt x="93"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112" name="Freeform 547">
              <a:extLst>
                <a:ext uri="{FF2B5EF4-FFF2-40B4-BE49-F238E27FC236}">
                  <a16:creationId xmlns:a16="http://schemas.microsoft.com/office/drawing/2014/main" id="{9712089B-6B24-45E6-B7D2-F920E5E431D8}"/>
                </a:ext>
              </a:extLst>
            </p:cNvPr>
            <p:cNvSpPr>
              <a:spLocks noEditPoints="1"/>
            </p:cNvSpPr>
            <p:nvPr/>
          </p:nvSpPr>
          <p:spPr bwMode="auto">
            <a:xfrm>
              <a:off x="7104733" y="1340898"/>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891" b="0" i="0" u="none" strike="noStrike" kern="0" cap="none" spc="0" normalizeH="0" baseline="0" noProof="0" dirty="0">
                <a:ln>
                  <a:noFill/>
                </a:ln>
                <a:solidFill>
                  <a:prstClr val="black"/>
                </a:solidFill>
                <a:effectLst/>
                <a:uLnTx/>
                <a:uFillTx/>
                <a:latin typeface="Calibri"/>
                <a:ea typeface="+mn-ea"/>
                <a:cs typeface="+mn-cs"/>
              </a:endParaRPr>
            </a:p>
          </p:txBody>
        </p:sp>
      </p:grpSp>
      <p:sp>
        <p:nvSpPr>
          <p:cNvPr id="83" name="TextBox 82"/>
          <p:cNvSpPr txBox="1"/>
          <p:nvPr userDrawn="1"/>
        </p:nvSpPr>
        <p:spPr>
          <a:xfrm>
            <a:off x="622309" y="6629418"/>
            <a:ext cx="5355167" cy="100027"/>
          </a:xfrm>
          <a:prstGeom prst="rect">
            <a:avLst/>
          </a:prstGeom>
          <a:noFill/>
        </p:spPr>
        <p:txBody>
          <a:bodyPr wrap="square" lIns="0" tIns="0" rIns="0" bIns="0" rtlCol="0">
            <a:spAutoFit/>
          </a:bodyPr>
          <a:lstStyle/>
          <a:p>
            <a:pPr marL="0" indent="0">
              <a:spcBef>
                <a:spcPts val="791"/>
              </a:spcBef>
              <a:buSzPct val="100000"/>
              <a:buFont typeface="Arial"/>
              <a:buNone/>
            </a:pPr>
            <a:r>
              <a:rPr lang="en-US" sz="641" noProof="0" dirty="0">
                <a:solidFill>
                  <a:schemeClr val="tx1"/>
                </a:solidFill>
                <a:latin typeface="Calibri" panose="020F0502020204030204" pitchFamily="34" charset="0"/>
              </a:rPr>
              <a:t>© 2024 Deloitte &amp; Touche Advisory Saudi Limited. All rights reserved.</a:t>
            </a:r>
          </a:p>
        </p:txBody>
      </p:sp>
    </p:spTree>
    <p:extLst>
      <p:ext uri="{BB962C8B-B14F-4D97-AF65-F5344CB8AC3E}">
        <p14:creationId xmlns:p14="http://schemas.microsoft.com/office/powerpoint/2010/main" val="2690335100"/>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Lst>
  <p:transition>
    <p:fade/>
  </p:transition>
  <p:hf hdr="0" dt="0"/>
  <p:txStyles>
    <p:titleStyle>
      <a:lvl1pPr algn="l" defTabSz="1208241" rtl="0" eaLnBrk="1" latinLnBrk="0" hangingPunct="1">
        <a:spcBef>
          <a:spcPct val="0"/>
        </a:spcBef>
        <a:buNone/>
        <a:defRPr sz="1982" kern="1200">
          <a:solidFill>
            <a:schemeClr val="tx1"/>
          </a:solidFill>
          <a:latin typeface="Calibri" panose="020F0502020204030204" pitchFamily="34" charset="0"/>
          <a:ea typeface="+mj-ea"/>
          <a:cs typeface="+mj-cs"/>
        </a:defRPr>
      </a:lvl1pPr>
    </p:titleStyle>
    <p:bodyStyle>
      <a:lvl1pPr marL="0" indent="0" algn="l" defTabSz="1208241" rtl="0" eaLnBrk="1" latinLnBrk="0" hangingPunct="1">
        <a:spcBef>
          <a:spcPts val="0"/>
        </a:spcBef>
        <a:spcAft>
          <a:spcPts val="1324"/>
        </a:spcAft>
        <a:buSzPct val="100000"/>
        <a:buFontTx/>
        <a:buNone/>
        <a:defRPr sz="1191" b="0" kern="1200">
          <a:solidFill>
            <a:schemeClr val="tx1"/>
          </a:solidFill>
          <a:latin typeface="Calibri" panose="020F0502020204030204" pitchFamily="34" charset="0"/>
          <a:ea typeface="+mn-ea"/>
          <a:cs typeface="+mn-cs"/>
        </a:defRPr>
      </a:lvl1pPr>
      <a:lvl2pPr marL="125862" indent="-125862" algn="l" defTabSz="1208241" rtl="0" eaLnBrk="1" latinLnBrk="0" hangingPunct="1">
        <a:spcBef>
          <a:spcPts val="0"/>
        </a:spcBef>
        <a:spcAft>
          <a:spcPts val="1324"/>
        </a:spcAft>
        <a:buClrTx/>
        <a:buSzPct val="100000"/>
        <a:buFont typeface="Arial" panose="020B0604020202020204" pitchFamily="34" charset="0"/>
        <a:buChar char="•"/>
        <a:defRPr lang="en-US" sz="1191" b="0" kern="1200" dirty="0" smtClean="0">
          <a:solidFill>
            <a:schemeClr val="tx1"/>
          </a:solidFill>
          <a:latin typeface="Calibri" panose="020F0502020204030204" pitchFamily="34" charset="0"/>
          <a:ea typeface="+mn-ea"/>
          <a:cs typeface="+mn-cs"/>
        </a:defRPr>
      </a:lvl2pPr>
      <a:lvl3pPr marL="276896" indent="-125862" algn="l" defTabSz="1208241" rtl="0" eaLnBrk="1" latinLnBrk="0" hangingPunct="1">
        <a:spcBef>
          <a:spcPts val="0"/>
        </a:spcBef>
        <a:spcAft>
          <a:spcPts val="1324"/>
        </a:spcAft>
        <a:buClrTx/>
        <a:buSzPct val="100000"/>
        <a:buFont typeface="Arial" panose="020B0604020202020204" pitchFamily="34" charset="0"/>
        <a:buChar char="−"/>
        <a:defRPr lang="en-US" sz="1191" kern="1200" dirty="0" smtClean="0">
          <a:solidFill>
            <a:schemeClr val="tx1"/>
          </a:solidFill>
          <a:latin typeface="Calibri" panose="020F0502020204030204" pitchFamily="34" charset="0"/>
          <a:ea typeface="+mn-ea"/>
          <a:cs typeface="+mn-cs"/>
        </a:defRPr>
      </a:lvl3pPr>
      <a:lvl4pPr marL="427929" indent="-125862" algn="l" defTabSz="1208241" rtl="0" eaLnBrk="1" latinLnBrk="0" hangingPunct="1">
        <a:spcBef>
          <a:spcPts val="0"/>
        </a:spcBef>
        <a:spcAft>
          <a:spcPts val="1324"/>
        </a:spcAft>
        <a:buClrTx/>
        <a:buSzPct val="100000"/>
        <a:buFont typeface="Arial" panose="020B0604020202020204" pitchFamily="34" charset="0"/>
        <a:buChar char="◦"/>
        <a:defRPr lang="en-US" sz="1191" kern="1200" baseline="0" dirty="0" smtClean="0">
          <a:solidFill>
            <a:schemeClr val="tx1"/>
          </a:solidFill>
          <a:latin typeface="Calibri" panose="020F0502020204030204" pitchFamily="34" charset="0"/>
          <a:ea typeface="+mn-ea"/>
          <a:cs typeface="+mn-cs"/>
        </a:defRPr>
      </a:lvl4pPr>
      <a:lvl5pPr marL="578963" indent="-125862" algn="l" defTabSz="1055114" rtl="0" eaLnBrk="1" latinLnBrk="0" hangingPunct="1">
        <a:spcBef>
          <a:spcPts val="0"/>
        </a:spcBef>
        <a:spcAft>
          <a:spcPts val="1324"/>
        </a:spcAft>
        <a:buClrTx/>
        <a:buSzPct val="100000"/>
        <a:buFont typeface="Arial" panose="020B0604020202020204" pitchFamily="34" charset="0"/>
        <a:buChar char="−"/>
        <a:tabLst/>
        <a:defRPr lang="en-US" sz="1191" kern="1200" baseline="0" dirty="0" smtClean="0">
          <a:solidFill>
            <a:schemeClr val="tx1"/>
          </a:solidFill>
          <a:latin typeface="Calibri" panose="020F0502020204030204" pitchFamily="34" charset="0"/>
          <a:ea typeface="+mn-ea"/>
          <a:cs typeface="+mn-cs"/>
        </a:defRPr>
      </a:lvl5pPr>
      <a:lvl6pPr marL="704014" indent="-233086" algn="l" defTabSz="1208241" rtl="0" eaLnBrk="1" latinLnBrk="0" hangingPunct="1">
        <a:spcBef>
          <a:spcPts val="0"/>
        </a:spcBef>
        <a:spcAft>
          <a:spcPts val="1324"/>
        </a:spcAft>
        <a:buFont typeface="Verdana" panose="020B0604030504040204" pitchFamily="34" charset="0"/>
        <a:buChar char="−"/>
        <a:defRPr sz="1582" kern="1200" baseline="0">
          <a:solidFill>
            <a:schemeClr val="tx1"/>
          </a:solidFill>
          <a:latin typeface="+mn-lt"/>
          <a:ea typeface="+mn-ea"/>
          <a:cs typeface="+mn-cs"/>
        </a:defRPr>
      </a:lvl6pPr>
      <a:lvl7pPr marL="704014" indent="-233086" algn="l" defTabSz="1208241" rtl="0" eaLnBrk="1" latinLnBrk="0" hangingPunct="1">
        <a:spcBef>
          <a:spcPts val="0"/>
        </a:spcBef>
        <a:spcAft>
          <a:spcPts val="1324"/>
        </a:spcAft>
        <a:buFont typeface="Verdana" panose="020B0604030504040204" pitchFamily="34" charset="0"/>
        <a:buChar char="−"/>
        <a:defRPr sz="1582" kern="1200">
          <a:solidFill>
            <a:schemeClr val="tx1"/>
          </a:solidFill>
          <a:latin typeface="+mn-lt"/>
          <a:ea typeface="+mn-ea"/>
          <a:cs typeface="+mn-cs"/>
        </a:defRPr>
      </a:lvl7pPr>
      <a:lvl8pPr marL="704014" indent="-233086" algn="l" defTabSz="1208241" rtl="0" eaLnBrk="1" latinLnBrk="0" hangingPunct="1">
        <a:spcBef>
          <a:spcPts val="0"/>
        </a:spcBef>
        <a:spcAft>
          <a:spcPts val="1324"/>
        </a:spcAft>
        <a:buFont typeface="Verdana" panose="020B0604030504040204" pitchFamily="34" charset="0"/>
        <a:buChar char="−"/>
        <a:defRPr sz="1582" kern="1200" baseline="0">
          <a:solidFill>
            <a:schemeClr val="tx1"/>
          </a:solidFill>
          <a:latin typeface="+mn-lt"/>
          <a:ea typeface="+mn-ea"/>
          <a:cs typeface="+mn-cs"/>
        </a:defRPr>
      </a:lvl8pPr>
      <a:lvl9pPr marL="704014" indent="-233086" algn="l" defTabSz="1208241" rtl="0" eaLnBrk="1" latinLnBrk="0" hangingPunct="1">
        <a:spcBef>
          <a:spcPts val="0"/>
        </a:spcBef>
        <a:spcAft>
          <a:spcPts val="1324"/>
        </a:spcAft>
        <a:buFont typeface="Verdana" panose="020B0604030504040204" pitchFamily="34" charset="0"/>
        <a:buChar char="−"/>
        <a:defRPr sz="1582" kern="1200" baseline="0">
          <a:solidFill>
            <a:schemeClr val="tx1"/>
          </a:solidFill>
          <a:latin typeface="+mn-lt"/>
          <a:ea typeface="+mn-ea"/>
          <a:cs typeface="+mn-cs"/>
        </a:defRPr>
      </a:lvl9pPr>
    </p:bodyStyle>
    <p:otherStyle>
      <a:defPPr>
        <a:defRPr lang="en-US"/>
      </a:defPPr>
      <a:lvl1pPr marL="0" algn="l" defTabSz="1208241" rtl="0" eaLnBrk="1" latinLnBrk="0" hangingPunct="1">
        <a:defRPr sz="2382" kern="1200">
          <a:solidFill>
            <a:schemeClr val="tx1"/>
          </a:solidFill>
          <a:latin typeface="+mn-lt"/>
          <a:ea typeface="+mn-ea"/>
          <a:cs typeface="+mn-cs"/>
        </a:defRPr>
      </a:lvl1pPr>
      <a:lvl2pPr marL="604120" algn="l" defTabSz="1208241" rtl="0" eaLnBrk="1" latinLnBrk="0" hangingPunct="1">
        <a:defRPr sz="2382" kern="1200">
          <a:solidFill>
            <a:schemeClr val="tx1"/>
          </a:solidFill>
          <a:latin typeface="+mn-lt"/>
          <a:ea typeface="+mn-ea"/>
          <a:cs typeface="+mn-cs"/>
        </a:defRPr>
      </a:lvl2pPr>
      <a:lvl3pPr marL="1208241" algn="l" defTabSz="1208241" rtl="0" eaLnBrk="1" latinLnBrk="0" hangingPunct="1">
        <a:defRPr sz="2382" kern="1200">
          <a:solidFill>
            <a:schemeClr val="tx1"/>
          </a:solidFill>
          <a:latin typeface="+mn-lt"/>
          <a:ea typeface="+mn-ea"/>
          <a:cs typeface="+mn-cs"/>
        </a:defRPr>
      </a:lvl3pPr>
      <a:lvl4pPr marL="1812361" algn="l" defTabSz="1208241" rtl="0" eaLnBrk="1" latinLnBrk="0" hangingPunct="1">
        <a:defRPr sz="2382" kern="1200">
          <a:solidFill>
            <a:schemeClr val="tx1"/>
          </a:solidFill>
          <a:latin typeface="+mn-lt"/>
          <a:ea typeface="+mn-ea"/>
          <a:cs typeface="+mn-cs"/>
        </a:defRPr>
      </a:lvl4pPr>
      <a:lvl5pPr marL="2416482" algn="l" defTabSz="1208241" rtl="0" eaLnBrk="1" latinLnBrk="0" hangingPunct="1">
        <a:defRPr sz="2382" kern="1200">
          <a:solidFill>
            <a:schemeClr val="tx1"/>
          </a:solidFill>
          <a:latin typeface="+mn-lt"/>
          <a:ea typeface="+mn-ea"/>
          <a:cs typeface="+mn-cs"/>
        </a:defRPr>
      </a:lvl5pPr>
      <a:lvl6pPr marL="3020600" algn="l" defTabSz="1208241" rtl="0" eaLnBrk="1" latinLnBrk="0" hangingPunct="1">
        <a:defRPr sz="2382" kern="1200">
          <a:solidFill>
            <a:schemeClr val="tx1"/>
          </a:solidFill>
          <a:latin typeface="+mn-lt"/>
          <a:ea typeface="+mn-ea"/>
          <a:cs typeface="+mn-cs"/>
        </a:defRPr>
      </a:lvl6pPr>
      <a:lvl7pPr marL="3624722" algn="l" defTabSz="1208241" rtl="0" eaLnBrk="1" latinLnBrk="0" hangingPunct="1">
        <a:defRPr sz="2382" kern="1200">
          <a:solidFill>
            <a:schemeClr val="tx1"/>
          </a:solidFill>
          <a:latin typeface="+mn-lt"/>
          <a:ea typeface="+mn-ea"/>
          <a:cs typeface="+mn-cs"/>
        </a:defRPr>
      </a:lvl7pPr>
      <a:lvl8pPr marL="4228842" algn="l" defTabSz="1208241" rtl="0" eaLnBrk="1" latinLnBrk="0" hangingPunct="1">
        <a:defRPr sz="2382" kern="1200">
          <a:solidFill>
            <a:schemeClr val="tx1"/>
          </a:solidFill>
          <a:latin typeface="+mn-lt"/>
          <a:ea typeface="+mn-ea"/>
          <a:cs typeface="+mn-cs"/>
        </a:defRPr>
      </a:lvl8pPr>
      <a:lvl9pPr marL="4832963" algn="l" defTabSz="1208241" rtl="0" eaLnBrk="1" latinLnBrk="0" hangingPunct="1">
        <a:defRPr sz="2382"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8.xml"/><Relationship Id="rId5" Type="http://schemas.microsoft.com/office/2007/relationships/hdphoto" Target="../media/hdphoto3.wdp"/><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svg"/><Relationship Id="rId3" Type="http://schemas.openxmlformats.org/officeDocument/2006/relationships/image" Target="../media/image71.png"/><Relationship Id="rId7" Type="http://schemas.openxmlformats.org/officeDocument/2006/relationships/image" Target="../media/image75.png"/><Relationship Id="rId12" Type="http://schemas.openxmlformats.org/officeDocument/2006/relationships/image" Target="../media/image80.png"/><Relationship Id="rId2" Type="http://schemas.openxmlformats.org/officeDocument/2006/relationships/image" Target="../media/image70.png"/><Relationship Id="rId16" Type="http://schemas.openxmlformats.org/officeDocument/2006/relationships/image" Target="../media/image84.png"/><Relationship Id="rId1" Type="http://schemas.openxmlformats.org/officeDocument/2006/relationships/slideLayout" Target="../slideLayouts/slideLayout3.xml"/><Relationship Id="rId6" Type="http://schemas.openxmlformats.org/officeDocument/2006/relationships/image" Target="../media/image74.png"/><Relationship Id="rId11" Type="http://schemas.openxmlformats.org/officeDocument/2006/relationships/image" Target="../media/image79.svg"/><Relationship Id="rId5" Type="http://schemas.openxmlformats.org/officeDocument/2006/relationships/image" Target="../media/image73.png"/><Relationship Id="rId15" Type="http://schemas.openxmlformats.org/officeDocument/2006/relationships/image" Target="../media/image83.svg"/><Relationship Id="rId10" Type="http://schemas.openxmlformats.org/officeDocument/2006/relationships/image" Target="../media/image78.png"/><Relationship Id="rId4" Type="http://schemas.openxmlformats.org/officeDocument/2006/relationships/image" Target="../media/image72.png"/><Relationship Id="rId9" Type="http://schemas.openxmlformats.org/officeDocument/2006/relationships/image" Target="../media/image77.png"/><Relationship Id="rId14" Type="http://schemas.openxmlformats.org/officeDocument/2006/relationships/image" Target="../media/image82.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jpeg"/><Relationship Id="rId1" Type="http://schemas.openxmlformats.org/officeDocument/2006/relationships/slideLayout" Target="../slideLayouts/slideLayout3.xml"/><Relationship Id="rId5" Type="http://schemas.openxmlformats.org/officeDocument/2006/relationships/image" Target="../media/image88.png"/><Relationship Id="rId4" Type="http://schemas.openxmlformats.org/officeDocument/2006/relationships/image" Target="../media/image8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hyperlink" Target="mailto:nafarid@deloitte.com"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hyperlink" Target="http://www.deloitte.com/" TargetMode="External"/><Relationship Id="rId4" Type="http://schemas.openxmlformats.org/officeDocument/2006/relationships/hyperlink" Target="mailto:aryousuf@deloitte.com"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5.xml"/><Relationship Id="rId4" Type="http://schemas.openxmlformats.org/officeDocument/2006/relationships/image" Target="../media/image92.png"/></Relationships>
</file>

<file path=ppt/slides/_rels/slide2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0.png"/><Relationship Id="rId1" Type="http://schemas.openxmlformats.org/officeDocument/2006/relationships/slideLayout" Target="../slideLayouts/slideLayout5.xml"/><Relationship Id="rId4" Type="http://schemas.openxmlformats.org/officeDocument/2006/relationships/image" Target="../media/image94.png"/></Relationships>
</file>

<file path=ppt/slides/_rels/slide2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0.png"/><Relationship Id="rId1" Type="http://schemas.openxmlformats.org/officeDocument/2006/relationships/slideLayout" Target="../slideLayouts/slideLayout5.xml"/><Relationship Id="rId5" Type="http://schemas.microsoft.com/office/2007/relationships/hdphoto" Target="../media/hdphoto5.wdp"/><Relationship Id="rId4" Type="http://schemas.openxmlformats.org/officeDocument/2006/relationships/image" Target="../media/image96.png"/></Relationships>
</file>

<file path=ppt/slides/_rels/slide23.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5.emf"/><Relationship Id="rId18" Type="http://schemas.openxmlformats.org/officeDocument/2006/relationships/image" Target="../media/image110.emf"/><Relationship Id="rId3" Type="http://schemas.microsoft.com/office/2007/relationships/hdphoto" Target="../media/hdphoto6.wdp"/><Relationship Id="rId7" Type="http://schemas.openxmlformats.org/officeDocument/2006/relationships/image" Target="../media/image100.png"/><Relationship Id="rId12" Type="http://schemas.openxmlformats.org/officeDocument/2006/relationships/image" Target="../media/image104.png"/><Relationship Id="rId17" Type="http://schemas.openxmlformats.org/officeDocument/2006/relationships/image" Target="../media/image109.emf"/><Relationship Id="rId2" Type="http://schemas.openxmlformats.org/officeDocument/2006/relationships/image" Target="../media/image97.png"/><Relationship Id="rId16" Type="http://schemas.openxmlformats.org/officeDocument/2006/relationships/image" Target="../media/image108.png"/><Relationship Id="rId1" Type="http://schemas.openxmlformats.org/officeDocument/2006/relationships/slideLayout" Target="../slideLayouts/slideLayout5.xml"/><Relationship Id="rId6" Type="http://schemas.openxmlformats.org/officeDocument/2006/relationships/image" Target="../media/image99.png"/><Relationship Id="rId11" Type="http://schemas.openxmlformats.org/officeDocument/2006/relationships/image" Target="../media/image103.png"/><Relationship Id="rId5" Type="http://schemas.microsoft.com/office/2007/relationships/hdphoto" Target="../media/hdphoto7.wdp"/><Relationship Id="rId15" Type="http://schemas.openxmlformats.org/officeDocument/2006/relationships/image" Target="../media/image107.png"/><Relationship Id="rId10" Type="http://schemas.openxmlformats.org/officeDocument/2006/relationships/image" Target="../media/image102.png"/><Relationship Id="rId19" Type="http://schemas.openxmlformats.org/officeDocument/2006/relationships/image" Target="../media/image111.png"/><Relationship Id="rId4" Type="http://schemas.openxmlformats.org/officeDocument/2006/relationships/image" Target="../media/image98.png"/><Relationship Id="rId9" Type="http://schemas.microsoft.com/office/2007/relationships/hdphoto" Target="../media/hdphoto8.wdp"/><Relationship Id="rId14" Type="http://schemas.openxmlformats.org/officeDocument/2006/relationships/image" Target="../media/image106.emf"/></Relationships>
</file>

<file path=ppt/slides/_rels/slide2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112.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90.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5.xml"/><Relationship Id="rId5" Type="http://schemas.openxmlformats.org/officeDocument/2006/relationships/image" Target="../media/image90.png"/><Relationship Id="rId4" Type="http://schemas.openxmlformats.org/officeDocument/2006/relationships/image" Target="../media/image116.png"/></Relationships>
</file>

<file path=ppt/slides/_rels/slide2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90.png"/><Relationship Id="rId1" Type="http://schemas.openxmlformats.org/officeDocument/2006/relationships/slideLayout" Target="../slideLayouts/slideLayout5.xml"/><Relationship Id="rId4" Type="http://schemas.openxmlformats.org/officeDocument/2006/relationships/image" Target="../media/image118.png"/></Relationships>
</file>

<file path=ppt/slides/_rels/slide28.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90.png"/><Relationship Id="rId1" Type="http://schemas.openxmlformats.org/officeDocument/2006/relationships/slideLayout" Target="../slideLayouts/slideLayout5.xml"/><Relationship Id="rId4" Type="http://schemas.openxmlformats.org/officeDocument/2006/relationships/image" Target="../media/image120.png"/></Relationships>
</file>

<file path=ppt/slides/_rels/slide2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121.png"/><Relationship Id="rId1" Type="http://schemas.openxmlformats.org/officeDocument/2006/relationships/slideLayout" Target="../slideLayouts/slideLayout5.xml"/><Relationship Id="rId5" Type="http://schemas.openxmlformats.org/officeDocument/2006/relationships/image" Target="../media/image123.emf"/><Relationship Id="rId4" Type="http://schemas.openxmlformats.org/officeDocument/2006/relationships/image" Target="../media/image12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90.png"/><Relationship Id="rId1" Type="http://schemas.openxmlformats.org/officeDocument/2006/relationships/slideLayout" Target="../slideLayouts/slideLayout5.xml"/><Relationship Id="rId4" Type="http://schemas.openxmlformats.org/officeDocument/2006/relationships/image" Target="../media/image125.png"/></Relationships>
</file>

<file path=ppt/slides/_rels/slide31.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126.png"/><Relationship Id="rId7" Type="http://schemas.openxmlformats.org/officeDocument/2006/relationships/image" Target="../media/image130.png"/><Relationship Id="rId2" Type="http://schemas.openxmlformats.org/officeDocument/2006/relationships/image" Target="../media/image90.png"/><Relationship Id="rId1" Type="http://schemas.openxmlformats.org/officeDocument/2006/relationships/slideLayout" Target="../slideLayouts/slideLayout5.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s>
</file>

<file path=ppt/slides/_rels/slide3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90.png"/><Relationship Id="rId1" Type="http://schemas.openxmlformats.org/officeDocument/2006/relationships/slideLayout" Target="../slideLayouts/slideLayout5.xml"/><Relationship Id="rId4" Type="http://schemas.openxmlformats.org/officeDocument/2006/relationships/image" Target="../media/image133.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image" Target="../media/image134.jpe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136.jp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137.jp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139.jpe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140.jpe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13" Type="http://schemas.openxmlformats.org/officeDocument/2006/relationships/image" Target="../media/image144.png"/><Relationship Id="rId18" Type="http://schemas.openxmlformats.org/officeDocument/2006/relationships/image" Target="../media/image56.png"/><Relationship Id="rId26" Type="http://schemas.openxmlformats.org/officeDocument/2006/relationships/image" Target="../media/image47.png"/><Relationship Id="rId39" Type="http://schemas.openxmlformats.org/officeDocument/2006/relationships/image" Target="../media/image53.png"/><Relationship Id="rId21" Type="http://schemas.openxmlformats.org/officeDocument/2006/relationships/image" Target="../media/image43.png"/><Relationship Id="rId34" Type="http://schemas.openxmlformats.org/officeDocument/2006/relationships/image" Target="../media/image48.png"/><Relationship Id="rId7" Type="http://schemas.openxmlformats.org/officeDocument/2006/relationships/image" Target="../media/image26.png"/><Relationship Id="rId12" Type="http://schemas.openxmlformats.org/officeDocument/2006/relationships/image" Target="../media/image143.png"/><Relationship Id="rId17" Type="http://schemas.openxmlformats.org/officeDocument/2006/relationships/image" Target="../media/image55.png"/><Relationship Id="rId25" Type="http://schemas.openxmlformats.org/officeDocument/2006/relationships/oleObject" Target="../embeddings/oleObject4.bin"/><Relationship Id="rId33" Type="http://schemas.openxmlformats.org/officeDocument/2006/relationships/image" Target="../media/image39.png"/><Relationship Id="rId38" Type="http://schemas.openxmlformats.org/officeDocument/2006/relationships/image" Target="../media/image52.png"/><Relationship Id="rId2" Type="http://schemas.openxmlformats.org/officeDocument/2006/relationships/notesSlide" Target="../notesSlides/notesSlide6.xml"/><Relationship Id="rId16" Type="http://schemas.openxmlformats.org/officeDocument/2006/relationships/image" Target="../media/image34.png"/><Relationship Id="rId20" Type="http://schemas.openxmlformats.org/officeDocument/2006/relationships/image" Target="../media/image42.jpeg"/><Relationship Id="rId29" Type="http://schemas.openxmlformats.org/officeDocument/2006/relationships/image" Target="../media/image146.jpeg"/><Relationship Id="rId1" Type="http://schemas.openxmlformats.org/officeDocument/2006/relationships/slideLayout" Target="../slideLayouts/slideLayout6.xml"/><Relationship Id="rId6" Type="http://schemas.openxmlformats.org/officeDocument/2006/relationships/image" Target="../media/image142.png"/><Relationship Id="rId11" Type="http://schemas.openxmlformats.org/officeDocument/2006/relationships/image" Target="../media/image30.png"/><Relationship Id="rId24" Type="http://schemas.openxmlformats.org/officeDocument/2006/relationships/image" Target="../media/image46.png"/><Relationship Id="rId32" Type="http://schemas.microsoft.com/office/2007/relationships/hdphoto" Target="../media/hdphoto4.wdp"/><Relationship Id="rId37" Type="http://schemas.openxmlformats.org/officeDocument/2006/relationships/image" Target="../media/image149.png"/><Relationship Id="rId5" Type="http://schemas.openxmlformats.org/officeDocument/2006/relationships/image" Target="../media/image24.png"/><Relationship Id="rId15" Type="http://schemas.openxmlformats.org/officeDocument/2006/relationships/image" Target="../media/image33.png"/><Relationship Id="rId23" Type="http://schemas.openxmlformats.org/officeDocument/2006/relationships/image" Target="../media/image45.png"/><Relationship Id="rId28" Type="http://schemas.openxmlformats.org/officeDocument/2006/relationships/image" Target="../media/image35.jpeg"/><Relationship Id="rId36" Type="http://schemas.openxmlformats.org/officeDocument/2006/relationships/image" Target="../media/image49.jpeg"/><Relationship Id="rId10" Type="http://schemas.openxmlformats.org/officeDocument/2006/relationships/image" Target="../media/image29.png"/><Relationship Id="rId19" Type="http://schemas.openxmlformats.org/officeDocument/2006/relationships/image" Target="../media/image40.png"/><Relationship Id="rId31" Type="http://schemas.openxmlformats.org/officeDocument/2006/relationships/image" Target="../media/image54.png"/><Relationship Id="rId4" Type="http://schemas.openxmlformats.org/officeDocument/2006/relationships/image" Target="../media/image23.jpeg"/><Relationship Id="rId9" Type="http://schemas.openxmlformats.org/officeDocument/2006/relationships/image" Target="../media/image28.jpeg"/><Relationship Id="rId14" Type="http://schemas.openxmlformats.org/officeDocument/2006/relationships/image" Target="../media/image32.png"/><Relationship Id="rId22" Type="http://schemas.openxmlformats.org/officeDocument/2006/relationships/image" Target="../media/image44.png"/><Relationship Id="rId27" Type="http://schemas.openxmlformats.org/officeDocument/2006/relationships/image" Target="../media/image145.png"/><Relationship Id="rId30" Type="http://schemas.openxmlformats.org/officeDocument/2006/relationships/image" Target="../media/image147.jpeg"/><Relationship Id="rId35" Type="http://schemas.openxmlformats.org/officeDocument/2006/relationships/image" Target="../media/image148.png"/><Relationship Id="rId8" Type="http://schemas.openxmlformats.org/officeDocument/2006/relationships/image" Target="../media/image27.jpeg"/><Relationship Id="rId3" Type="http://schemas.openxmlformats.org/officeDocument/2006/relationships/image" Target="../media/image22.jpeg"/></Relationships>
</file>

<file path=ppt/slides/_rels/slide47.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152.png"/><Relationship Id="rId5" Type="http://schemas.openxmlformats.org/officeDocument/2006/relationships/image" Target="../media/image52.png"/><Relationship Id="rId4" Type="http://schemas.openxmlformats.org/officeDocument/2006/relationships/image" Target="../media/image151.jpeg"/></Relationships>
</file>

<file path=ppt/slides/_rels/slide48.xml.rels><?xml version="1.0" encoding="UTF-8" standalone="yes"?>
<Relationships xmlns="http://schemas.openxmlformats.org/package/2006/relationships"><Relationship Id="rId3" Type="http://schemas.openxmlformats.org/officeDocument/2006/relationships/image" Target="../media/image153.jpe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155.jpg"/><Relationship Id="rId5" Type="http://schemas.openxmlformats.org/officeDocument/2006/relationships/image" Target="../media/image154.jpeg"/><Relationship Id="rId4" Type="http://schemas.openxmlformats.org/officeDocument/2006/relationships/image" Target="../media/image56.png"/></Relationships>
</file>

<file path=ppt/slides/_rels/slide49.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Layout" Target="../slideLayouts/slideLayout3.xml"/><Relationship Id="rId6" Type="http://schemas.openxmlformats.org/officeDocument/2006/relationships/image" Target="../media/image17.png"/><Relationship Id="rId5" Type="http://schemas.openxmlformats.org/officeDocument/2006/relationships/image" Target="../media/image16.sv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svg"/></Relationships>
</file>

<file path=ppt/slides/_rels/slide50.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163.png"/><Relationship Id="rId5" Type="http://schemas.openxmlformats.org/officeDocument/2006/relationships/image" Target="../media/image162.png"/><Relationship Id="rId4" Type="http://schemas.openxmlformats.org/officeDocument/2006/relationships/image" Target="../media/image161.png"/></Relationships>
</file>

<file path=ppt/slides/_rels/slide51.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37.gif"/><Relationship Id="rId5" Type="http://schemas.openxmlformats.org/officeDocument/2006/relationships/image" Target="../media/image166.png"/><Relationship Id="rId4" Type="http://schemas.openxmlformats.org/officeDocument/2006/relationships/image" Target="../media/image165.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image" Target="../media/image168.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hyperlink" Target="https://www2.deloitte.com/nse/stories-without-borders.html" TargetMode="External"/><Relationship Id="rId2" Type="http://schemas.openxmlformats.org/officeDocument/2006/relationships/image" Target="../media/image170.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8" Type="http://schemas.openxmlformats.org/officeDocument/2006/relationships/image" Target="../media/image174.emf"/><Relationship Id="rId3" Type="http://schemas.openxmlformats.org/officeDocument/2006/relationships/hyperlink" Target="https://www2.deloitte.com/global/en/pages/about-deloitte/articles/global-principles-of-business-conduct.html" TargetMode="External"/><Relationship Id="rId7" Type="http://schemas.openxmlformats.org/officeDocument/2006/relationships/image" Target="../media/image173.emf"/><Relationship Id="rId2" Type="http://schemas.openxmlformats.org/officeDocument/2006/relationships/hyperlink" Target="https://www2.deloitte.com/global/en/pages/about-deloitte/articles/commitment-to-responsible-business-practices.html" TargetMode="External"/><Relationship Id="rId1" Type="http://schemas.openxmlformats.org/officeDocument/2006/relationships/slideLayout" Target="../slideLayouts/slideLayout3.xml"/><Relationship Id="rId6" Type="http://schemas.openxmlformats.org/officeDocument/2006/relationships/image" Target="../media/image172.emf"/><Relationship Id="rId5" Type="http://schemas.openxmlformats.org/officeDocument/2006/relationships/image" Target="../media/image171.emf"/><Relationship Id="rId10" Type="http://schemas.openxmlformats.org/officeDocument/2006/relationships/image" Target="../media/image176.emf"/><Relationship Id="rId4" Type="http://schemas.openxmlformats.org/officeDocument/2006/relationships/hyperlink" Target="https://www2.deloitte.com/content/dam/Deloitte/uk/Documents/about-deloitte/deloitte-uk-ethics-code-november-2017.pdf" TargetMode="External"/><Relationship Id="rId9" Type="http://schemas.openxmlformats.org/officeDocument/2006/relationships/image" Target="../media/image175.emf"/></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image" Target="../media/image33.png"/><Relationship Id="rId18" Type="http://schemas.openxmlformats.org/officeDocument/2006/relationships/image" Target="../media/image38.jpeg"/><Relationship Id="rId26" Type="http://schemas.openxmlformats.org/officeDocument/2006/relationships/image" Target="../media/image46.png"/><Relationship Id="rId21" Type="http://schemas.openxmlformats.org/officeDocument/2006/relationships/image" Target="../media/image41.png"/><Relationship Id="rId34" Type="http://schemas.openxmlformats.org/officeDocument/2006/relationships/image" Target="../media/image53.png"/><Relationship Id="rId7" Type="http://schemas.openxmlformats.org/officeDocument/2006/relationships/image" Target="../media/image27.jpeg"/><Relationship Id="rId12" Type="http://schemas.openxmlformats.org/officeDocument/2006/relationships/image" Target="../media/image32.png"/><Relationship Id="rId17" Type="http://schemas.openxmlformats.org/officeDocument/2006/relationships/image" Target="../media/image37.gif"/><Relationship Id="rId25" Type="http://schemas.openxmlformats.org/officeDocument/2006/relationships/image" Target="../media/image45.png"/><Relationship Id="rId33" Type="http://schemas.openxmlformats.org/officeDocument/2006/relationships/image" Target="../media/image52.png"/><Relationship Id="rId38" Type="http://schemas.openxmlformats.org/officeDocument/2006/relationships/image" Target="../media/image56.png"/><Relationship Id="rId2" Type="http://schemas.openxmlformats.org/officeDocument/2006/relationships/image" Target="../media/image22.jpeg"/><Relationship Id="rId16" Type="http://schemas.openxmlformats.org/officeDocument/2006/relationships/image" Target="../media/image36.jpeg"/><Relationship Id="rId20" Type="http://schemas.openxmlformats.org/officeDocument/2006/relationships/image" Target="../media/image40.png"/><Relationship Id="rId29" Type="http://schemas.openxmlformats.org/officeDocument/2006/relationships/image" Target="../media/image48.png"/><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31.png"/><Relationship Id="rId24" Type="http://schemas.openxmlformats.org/officeDocument/2006/relationships/image" Target="../media/image44.png"/><Relationship Id="rId32" Type="http://schemas.openxmlformats.org/officeDocument/2006/relationships/image" Target="../media/image51.png"/><Relationship Id="rId37" Type="http://schemas.openxmlformats.org/officeDocument/2006/relationships/image" Target="../media/image55.png"/><Relationship Id="rId5" Type="http://schemas.openxmlformats.org/officeDocument/2006/relationships/image" Target="../media/image25.png"/><Relationship Id="rId15" Type="http://schemas.openxmlformats.org/officeDocument/2006/relationships/image" Target="../media/image35.jpeg"/><Relationship Id="rId23" Type="http://schemas.openxmlformats.org/officeDocument/2006/relationships/image" Target="../media/image43.png"/><Relationship Id="rId28" Type="http://schemas.openxmlformats.org/officeDocument/2006/relationships/image" Target="../media/image47.png"/><Relationship Id="rId36" Type="http://schemas.microsoft.com/office/2007/relationships/hdphoto" Target="../media/hdphoto4.wdp"/><Relationship Id="rId10" Type="http://schemas.openxmlformats.org/officeDocument/2006/relationships/image" Target="../media/image30.png"/><Relationship Id="rId19" Type="http://schemas.openxmlformats.org/officeDocument/2006/relationships/image" Target="../media/image39.png"/><Relationship Id="rId31" Type="http://schemas.openxmlformats.org/officeDocument/2006/relationships/image" Target="../media/image50.png"/><Relationship Id="rId4" Type="http://schemas.openxmlformats.org/officeDocument/2006/relationships/image" Target="../media/image24.png"/><Relationship Id="rId9" Type="http://schemas.openxmlformats.org/officeDocument/2006/relationships/image" Target="../media/image29.png"/><Relationship Id="rId14" Type="http://schemas.openxmlformats.org/officeDocument/2006/relationships/image" Target="../media/image34.png"/><Relationship Id="rId22" Type="http://schemas.openxmlformats.org/officeDocument/2006/relationships/image" Target="../media/image42.jpeg"/><Relationship Id="rId27" Type="http://schemas.openxmlformats.org/officeDocument/2006/relationships/oleObject" Target="../embeddings/oleObject3.bin"/><Relationship Id="rId30" Type="http://schemas.openxmlformats.org/officeDocument/2006/relationships/image" Target="../media/image49.jpeg"/><Relationship Id="rId35" Type="http://schemas.openxmlformats.org/officeDocument/2006/relationships/image" Target="../media/image54.png"/><Relationship Id="rId8" Type="http://schemas.openxmlformats.org/officeDocument/2006/relationships/image" Target="../media/image28.jpeg"/><Relationship Id="rId3" Type="http://schemas.openxmlformats.org/officeDocument/2006/relationships/image" Target="../media/image23.jpe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image" Target="../media/image57.png"/><Relationship Id="rId1" Type="http://schemas.openxmlformats.org/officeDocument/2006/relationships/slideLayout" Target="../slideLayouts/slideLayout3.xml"/><Relationship Id="rId6" Type="http://schemas.openxmlformats.org/officeDocument/2006/relationships/image" Target="../media/image61.png"/><Relationship Id="rId11" Type="http://schemas.openxmlformats.org/officeDocument/2006/relationships/image" Target="../media/image66.jpeg"/><Relationship Id="rId5" Type="http://schemas.openxmlformats.org/officeDocument/2006/relationships/image" Target="../media/image60.jpeg"/><Relationship Id="rId10" Type="http://schemas.openxmlformats.org/officeDocument/2006/relationships/image" Target="../media/image65.jpeg"/><Relationship Id="rId4" Type="http://schemas.openxmlformats.org/officeDocument/2006/relationships/image" Target="../media/image59.png"/><Relationship Id="rId9" Type="http://schemas.openxmlformats.org/officeDocument/2006/relationships/image" Target="../media/image64.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3.xml"/><Relationship Id="rId4" Type="http://schemas.openxmlformats.org/officeDocument/2006/relationships/image" Target="../media/image6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5">
            <a:extLst>
              <a:ext uri="{FF2B5EF4-FFF2-40B4-BE49-F238E27FC236}">
                <a16:creationId xmlns:a16="http://schemas.microsoft.com/office/drawing/2014/main" id="{6D0E63B3-BAB8-A7A7-9C0D-02487EB52407}"/>
              </a:ext>
            </a:extLst>
          </p:cNvPr>
          <p:cNvSpPr txBox="1">
            <a:spLocks/>
          </p:cNvSpPr>
          <p:nvPr/>
        </p:nvSpPr>
        <p:spPr bwMode="auto">
          <a:xfrm>
            <a:off x="343821" y="5445828"/>
            <a:ext cx="9322715" cy="62170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85000"/>
              </a:lnSpc>
              <a:spcBef>
                <a:spcPct val="0"/>
              </a:spcBef>
              <a:spcAft>
                <a:spcPct val="0"/>
              </a:spcAft>
              <a:defRPr sz="4600" b="0" kern="1200">
                <a:solidFill>
                  <a:schemeClr val="bg1"/>
                </a:solidFill>
                <a:latin typeface="Garamond 3 LT Std" pitchFamily="18" charset="0"/>
                <a:ea typeface="Tahoma" pitchFamily="34" charset="0"/>
                <a:cs typeface="Times New Roman" pitchFamily="18" charset="0"/>
              </a:defRPr>
            </a:lvl1pPr>
            <a:lvl2pPr algn="l" rtl="0" eaLnBrk="0" fontAlgn="base" hangingPunct="0">
              <a:spcBef>
                <a:spcPct val="0"/>
              </a:spcBef>
              <a:spcAft>
                <a:spcPct val="0"/>
              </a:spcAft>
              <a:defRPr sz="2700" b="1">
                <a:solidFill>
                  <a:schemeClr val="tx2"/>
                </a:solidFill>
                <a:latin typeface="Arial" charset="0"/>
              </a:defRPr>
            </a:lvl2pPr>
            <a:lvl3pPr algn="l" rtl="0" eaLnBrk="0" fontAlgn="base" hangingPunct="0">
              <a:spcBef>
                <a:spcPct val="0"/>
              </a:spcBef>
              <a:spcAft>
                <a:spcPct val="0"/>
              </a:spcAft>
              <a:defRPr sz="2700" b="1">
                <a:solidFill>
                  <a:schemeClr val="tx2"/>
                </a:solidFill>
                <a:latin typeface="Arial" charset="0"/>
              </a:defRPr>
            </a:lvl3pPr>
            <a:lvl4pPr algn="l" rtl="0" eaLnBrk="0" fontAlgn="base" hangingPunct="0">
              <a:spcBef>
                <a:spcPct val="0"/>
              </a:spcBef>
              <a:spcAft>
                <a:spcPct val="0"/>
              </a:spcAft>
              <a:defRPr sz="2700" b="1">
                <a:solidFill>
                  <a:schemeClr val="tx2"/>
                </a:solidFill>
                <a:latin typeface="Arial" charset="0"/>
              </a:defRPr>
            </a:lvl4pPr>
            <a:lvl5pPr algn="l" rtl="0" eaLnBrk="0" fontAlgn="base" hangingPunct="0">
              <a:spcBef>
                <a:spcPct val="0"/>
              </a:spcBef>
              <a:spcAft>
                <a:spcPct val="0"/>
              </a:spcAft>
              <a:defRPr sz="2700" b="1">
                <a:solidFill>
                  <a:schemeClr val="tx2"/>
                </a:solidFill>
                <a:latin typeface="Arial" charset="0"/>
              </a:defRPr>
            </a:lvl5pPr>
            <a:lvl6pPr marL="521436" algn="l" rtl="0" eaLnBrk="1" fontAlgn="base" hangingPunct="1">
              <a:spcBef>
                <a:spcPct val="0"/>
              </a:spcBef>
              <a:spcAft>
                <a:spcPct val="0"/>
              </a:spcAft>
              <a:defRPr sz="2700" b="1">
                <a:solidFill>
                  <a:schemeClr val="tx2"/>
                </a:solidFill>
                <a:latin typeface="Arial" charset="0"/>
              </a:defRPr>
            </a:lvl6pPr>
            <a:lvl7pPr marL="1042872" algn="l" rtl="0" eaLnBrk="1" fontAlgn="base" hangingPunct="1">
              <a:spcBef>
                <a:spcPct val="0"/>
              </a:spcBef>
              <a:spcAft>
                <a:spcPct val="0"/>
              </a:spcAft>
              <a:defRPr sz="2700" b="1">
                <a:solidFill>
                  <a:schemeClr val="tx2"/>
                </a:solidFill>
                <a:latin typeface="Arial" charset="0"/>
              </a:defRPr>
            </a:lvl7pPr>
            <a:lvl8pPr marL="1564308" algn="l" rtl="0" eaLnBrk="1" fontAlgn="base" hangingPunct="1">
              <a:spcBef>
                <a:spcPct val="0"/>
              </a:spcBef>
              <a:spcAft>
                <a:spcPct val="0"/>
              </a:spcAft>
              <a:defRPr sz="2700" b="1">
                <a:solidFill>
                  <a:schemeClr val="tx2"/>
                </a:solidFill>
                <a:latin typeface="Arial" charset="0"/>
              </a:defRPr>
            </a:lvl8pPr>
            <a:lvl9pPr marL="2085744" algn="l" rtl="0" eaLnBrk="1" fontAlgn="base" hangingPunct="1">
              <a:spcBef>
                <a:spcPct val="0"/>
              </a:spcBef>
              <a:spcAft>
                <a:spcPct val="0"/>
              </a:spcAft>
              <a:defRPr sz="2700" b="1">
                <a:solidFill>
                  <a:schemeClr val="tx2"/>
                </a:solidFill>
                <a:latin typeface="Arial" charset="0"/>
              </a:defRPr>
            </a:lvl9pPr>
          </a:lstStyle>
          <a:p>
            <a:pPr marL="0" marR="0" lvl="0" indent="0" algn="l" defTabSz="914400" rtl="0" eaLnBrk="0" fontAlgn="base" latinLnBrk="0" hangingPunct="0">
              <a:lnSpc>
                <a:spcPct val="85000"/>
              </a:lnSpc>
              <a:spcBef>
                <a:spcPct val="0"/>
              </a:spcBef>
              <a:spcAft>
                <a:spcPct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Light" panose="020F0302020204030204" pitchFamily="34" charset="0"/>
                <a:ea typeface="Open Sans Light" panose="020B0306030504020204" pitchFamily="34" charset="0"/>
                <a:cs typeface="Calibri Light" panose="020F0302020204030204" pitchFamily="34" charset="0"/>
              </a:rPr>
              <a:t>Salam</a:t>
            </a:r>
          </a:p>
          <a:p>
            <a:pPr marL="0" marR="0" lvl="1" indent="0" algn="l" defTabSz="914400" rtl="0" eaLnBrk="1" fontAlgn="base" latinLnBrk="0" hangingPunct="1">
              <a:lnSpc>
                <a:spcPct val="100000"/>
              </a:lnSpc>
              <a:spcBef>
                <a:spcPts val="0"/>
              </a:spcBef>
              <a:spcAft>
                <a:spcPts val="1333"/>
              </a:spcAft>
              <a:buClrTx/>
              <a:buSzPct val="100000"/>
              <a:buFontTx/>
              <a:buNone/>
              <a:tabLst>
                <a:tab pos="5712633" algn="l"/>
              </a:tabLst>
              <a:defRPr/>
            </a:pPr>
            <a:r>
              <a:rPr kumimoji="0" lang="en-US" sz="20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Business Continuity Management Consultancy Services | Technical Proposal</a:t>
            </a:r>
          </a:p>
        </p:txBody>
      </p:sp>
      <p:sp>
        <p:nvSpPr>
          <p:cNvPr id="15" name="Rectangle 14">
            <a:extLst>
              <a:ext uri="{FF2B5EF4-FFF2-40B4-BE49-F238E27FC236}">
                <a16:creationId xmlns:a16="http://schemas.microsoft.com/office/drawing/2014/main" id="{7446B9AC-B94F-3A8A-B012-3020CAAEF1F5}"/>
              </a:ext>
            </a:extLst>
          </p:cNvPr>
          <p:cNvSpPr/>
          <p:nvPr/>
        </p:nvSpPr>
        <p:spPr>
          <a:xfrm>
            <a:off x="274546" y="6083452"/>
            <a:ext cx="1469569"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Light" panose="020F0302020204030204" pitchFamily="34" charset="0"/>
                <a:ea typeface="Tahoma" pitchFamily="34" charset="0"/>
                <a:cs typeface="Calibri Light" panose="020F0302020204030204" pitchFamily="34" charset="0"/>
              </a:rPr>
              <a:t>11</a:t>
            </a:r>
            <a:r>
              <a:rPr kumimoji="0" lang="en-US" sz="1400" b="0" i="0" u="none" strike="noStrike" kern="1200" cap="none" spc="0" normalizeH="0" baseline="30000" noProof="0" dirty="0">
                <a:ln>
                  <a:noFill/>
                </a:ln>
                <a:solidFill>
                  <a:prstClr val="white"/>
                </a:solidFill>
                <a:effectLst/>
                <a:uLnTx/>
                <a:uFillTx/>
                <a:latin typeface="Calibri Light" panose="020F0302020204030204" pitchFamily="34" charset="0"/>
                <a:ea typeface="Tahoma" pitchFamily="34" charset="0"/>
                <a:cs typeface="Calibri Light" panose="020F0302020204030204" pitchFamily="34" charset="0"/>
              </a:rPr>
              <a:t>th</a:t>
            </a:r>
            <a:r>
              <a:rPr kumimoji="0" lang="en-US" sz="1400" b="0" i="0" u="none" strike="noStrike" kern="1200" cap="none" spc="0" normalizeH="0" baseline="0" noProof="0" dirty="0">
                <a:ln>
                  <a:noFill/>
                </a:ln>
                <a:solidFill>
                  <a:prstClr val="white"/>
                </a:solidFill>
                <a:effectLst/>
                <a:uLnTx/>
                <a:uFillTx/>
                <a:latin typeface="Calibri Light" panose="020F0302020204030204" pitchFamily="34" charset="0"/>
                <a:ea typeface="Tahoma" pitchFamily="34" charset="0"/>
                <a:cs typeface="Calibri Light" panose="020F0302020204030204" pitchFamily="34" charset="0"/>
              </a:rPr>
              <a:t> January 2024</a:t>
            </a:r>
          </a:p>
        </p:txBody>
      </p:sp>
      <p:sp>
        <p:nvSpPr>
          <p:cNvPr id="16" name="Rectangle 15">
            <a:extLst>
              <a:ext uri="{FF2B5EF4-FFF2-40B4-BE49-F238E27FC236}">
                <a16:creationId xmlns:a16="http://schemas.microsoft.com/office/drawing/2014/main" id="{E714DE90-2E57-4528-CF84-CFF56EACE46B}"/>
              </a:ext>
            </a:extLst>
          </p:cNvPr>
          <p:cNvSpPr/>
          <p:nvPr/>
        </p:nvSpPr>
        <p:spPr>
          <a:xfrm>
            <a:off x="262056" y="6355772"/>
            <a:ext cx="212577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white"/>
                </a:solidFill>
                <a:effectLst/>
                <a:uLnTx/>
                <a:uFillTx/>
                <a:latin typeface="Calibri Light" panose="020F0302020204030204" pitchFamily="34" charset="0"/>
                <a:ea typeface="Tahoma" pitchFamily="34" charset="0"/>
                <a:cs typeface="Calibri Light" panose="020F0302020204030204" pitchFamily="34" charset="0"/>
              </a:rPr>
              <a:t>Deloitte Reference: JO-7281162</a:t>
            </a:r>
          </a:p>
        </p:txBody>
      </p:sp>
      <p:pic>
        <p:nvPicPr>
          <p:cNvPr id="18" name="Picture 17" descr="Icon&#10;&#10;Description automatically generated">
            <a:extLst>
              <a:ext uri="{FF2B5EF4-FFF2-40B4-BE49-F238E27FC236}">
                <a16:creationId xmlns:a16="http://schemas.microsoft.com/office/drawing/2014/main" id="{640AE6D9-02CF-57B3-B282-4DDEDBF4825E}"/>
              </a:ext>
            </a:extLst>
          </p:cNvPr>
          <p:cNvPicPr>
            <a:picLocks noChangeAspect="1"/>
          </p:cNvPicPr>
          <p:nvPr/>
        </p:nvPicPr>
        <p:blipFill>
          <a:blip r:embed="rId3"/>
          <a:stretch>
            <a:fillRect/>
          </a:stretch>
        </p:blipFill>
        <p:spPr>
          <a:xfrm>
            <a:off x="4090219" y="1177581"/>
            <a:ext cx="4011562" cy="4011562"/>
          </a:xfrm>
          <a:prstGeom prst="rect">
            <a:avLst/>
          </a:prstGeom>
        </p:spPr>
      </p:pic>
      <p:pic>
        <p:nvPicPr>
          <p:cNvPr id="7" name="Picture 6">
            <a:extLst>
              <a:ext uri="{FF2B5EF4-FFF2-40B4-BE49-F238E27FC236}">
                <a16:creationId xmlns:a16="http://schemas.microsoft.com/office/drawing/2014/main" id="{2EC9464E-2C45-B5BC-56D6-4548977FC31B}"/>
              </a:ext>
            </a:extLst>
          </p:cNvPr>
          <p:cNvPicPr>
            <a:picLocks noChangeAspect="1"/>
          </p:cNvPicPr>
          <p:nvPr/>
        </p:nvPicPr>
        <p:blipFill rotWithShape="1">
          <a:blip r:embed="rId4">
            <a:extLst>
              <a:ext uri="{BEBA8EAE-BF5A-486C-A8C5-ECC9F3942E4B}">
                <a14:imgProps xmlns:a14="http://schemas.microsoft.com/office/drawing/2010/main">
                  <a14:imgLayer r:embed="rId5">
                    <a14:imgEffect>
                      <a14:backgroundRemoval t="10000" b="90000" l="10000" r="90000"/>
                    </a14:imgEffect>
                  </a14:imgLayer>
                </a14:imgProps>
              </a:ext>
            </a:extLst>
          </a:blip>
          <a:srcRect l="12106" t="6657" r="18437" b="12581"/>
          <a:stretch/>
        </p:blipFill>
        <p:spPr>
          <a:xfrm>
            <a:off x="10433786" y="0"/>
            <a:ext cx="1530416" cy="1779483"/>
          </a:xfrm>
          <a:prstGeom prst="rect">
            <a:avLst/>
          </a:prstGeom>
        </p:spPr>
      </p:pic>
    </p:spTree>
    <p:extLst>
      <p:ext uri="{BB962C8B-B14F-4D97-AF65-F5344CB8AC3E}">
        <p14:creationId xmlns:p14="http://schemas.microsoft.com/office/powerpoint/2010/main" val="89834870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28">
            <a:extLst>
              <a:ext uri="{FF2B5EF4-FFF2-40B4-BE49-F238E27FC236}">
                <a16:creationId xmlns:a16="http://schemas.microsoft.com/office/drawing/2014/main" id="{43959F16-6688-48DE-97B4-606698A66F3C}"/>
              </a:ext>
            </a:extLst>
          </p:cNvPr>
          <p:cNvGraphicFramePr>
            <a:graphicFrameLocks noGrp="1"/>
          </p:cNvGraphicFramePr>
          <p:nvPr>
            <p:extLst>
              <p:ext uri="{D42A27DB-BD31-4B8C-83A1-F6EECF244321}">
                <p14:modId xmlns:p14="http://schemas.microsoft.com/office/powerpoint/2010/main" val="1008694176"/>
              </p:ext>
            </p:extLst>
          </p:nvPr>
        </p:nvGraphicFramePr>
        <p:xfrm>
          <a:off x="8047494" y="1030375"/>
          <a:ext cx="3674605" cy="4423799"/>
        </p:xfrm>
        <a:graphic>
          <a:graphicData uri="http://schemas.openxmlformats.org/drawingml/2006/table">
            <a:tbl>
              <a:tblPr firstRow="1" bandRow="1"/>
              <a:tblGrid>
                <a:gridCol w="1538340">
                  <a:extLst>
                    <a:ext uri="{9D8B030D-6E8A-4147-A177-3AD203B41FA5}">
                      <a16:colId xmlns:a16="http://schemas.microsoft.com/office/drawing/2014/main" val="20000"/>
                    </a:ext>
                  </a:extLst>
                </a:gridCol>
                <a:gridCol w="2136265">
                  <a:extLst>
                    <a:ext uri="{9D8B030D-6E8A-4147-A177-3AD203B41FA5}">
                      <a16:colId xmlns:a16="http://schemas.microsoft.com/office/drawing/2014/main" val="20001"/>
                    </a:ext>
                  </a:extLst>
                </a:gridCol>
              </a:tblGrid>
              <a:tr h="438945">
                <a:tc>
                  <a:txBody>
                    <a:bodyPr/>
                    <a:lstStyle>
                      <a:lvl1pPr marL="0" algn="l" defTabSz="1219170" rtl="0" eaLnBrk="1" latinLnBrk="0" hangingPunct="1">
                        <a:defRPr sz="2400" b="1" kern="1200">
                          <a:solidFill>
                            <a:schemeClr val="bg1"/>
                          </a:solidFill>
                          <a:latin typeface="Verdana"/>
                        </a:defRPr>
                      </a:lvl1pPr>
                      <a:lvl2pPr marL="609585" algn="l" defTabSz="1219170" rtl="0" eaLnBrk="1" latinLnBrk="0" hangingPunct="1">
                        <a:defRPr sz="2400" b="1" kern="1200">
                          <a:solidFill>
                            <a:schemeClr val="bg1"/>
                          </a:solidFill>
                          <a:latin typeface="Verdana"/>
                        </a:defRPr>
                      </a:lvl2pPr>
                      <a:lvl3pPr marL="1219170" algn="l" defTabSz="1219170" rtl="0" eaLnBrk="1" latinLnBrk="0" hangingPunct="1">
                        <a:defRPr sz="2400" b="1" kern="1200">
                          <a:solidFill>
                            <a:schemeClr val="bg1"/>
                          </a:solidFill>
                          <a:latin typeface="Verdana"/>
                        </a:defRPr>
                      </a:lvl3pPr>
                      <a:lvl4pPr marL="1828754" algn="l" defTabSz="1219170" rtl="0" eaLnBrk="1" latinLnBrk="0" hangingPunct="1">
                        <a:defRPr sz="2400" b="1" kern="1200">
                          <a:solidFill>
                            <a:schemeClr val="bg1"/>
                          </a:solidFill>
                          <a:latin typeface="Verdana"/>
                        </a:defRPr>
                      </a:lvl4pPr>
                      <a:lvl5pPr marL="2438339" algn="l" defTabSz="1219170" rtl="0" eaLnBrk="1" latinLnBrk="0" hangingPunct="1">
                        <a:defRPr sz="2400" b="1" kern="1200">
                          <a:solidFill>
                            <a:schemeClr val="bg1"/>
                          </a:solidFill>
                          <a:latin typeface="Verdana"/>
                        </a:defRPr>
                      </a:lvl5pPr>
                      <a:lvl6pPr marL="3047924" algn="l" defTabSz="1219170" rtl="0" eaLnBrk="1" latinLnBrk="0" hangingPunct="1">
                        <a:defRPr sz="2400" b="1" kern="1200">
                          <a:solidFill>
                            <a:schemeClr val="bg1"/>
                          </a:solidFill>
                          <a:latin typeface="Verdana"/>
                        </a:defRPr>
                      </a:lvl6pPr>
                      <a:lvl7pPr marL="3657509" algn="l" defTabSz="1219170" rtl="0" eaLnBrk="1" latinLnBrk="0" hangingPunct="1">
                        <a:defRPr sz="2400" b="1" kern="1200">
                          <a:solidFill>
                            <a:schemeClr val="bg1"/>
                          </a:solidFill>
                          <a:latin typeface="Verdana"/>
                        </a:defRPr>
                      </a:lvl7pPr>
                      <a:lvl8pPr marL="4267093" algn="l" defTabSz="1219170" rtl="0" eaLnBrk="1" latinLnBrk="0" hangingPunct="1">
                        <a:defRPr sz="2400" b="1" kern="1200">
                          <a:solidFill>
                            <a:schemeClr val="bg1"/>
                          </a:solidFill>
                          <a:latin typeface="Verdana"/>
                        </a:defRPr>
                      </a:lvl8pPr>
                      <a:lvl9pPr marL="4876678" algn="l" defTabSz="1219170" rtl="0" eaLnBrk="1" latinLnBrk="0" hangingPunct="1">
                        <a:defRPr sz="2400" b="1" kern="1200">
                          <a:solidFill>
                            <a:schemeClr val="bg1"/>
                          </a:solidFill>
                          <a:latin typeface="Verdana"/>
                        </a:defRPr>
                      </a:lvl9pPr>
                    </a:lstStyle>
                    <a:p>
                      <a:pPr algn="ctr"/>
                      <a:r>
                        <a:rPr lang="en-US" sz="1400" b="0" dirty="0">
                          <a:latin typeface="+mn-lt"/>
                          <a:ea typeface="Open Sans Light" panose="020B0306030504020204" pitchFamily="34" charset="0"/>
                          <a:cs typeface="Open Sans Light" panose="020B0306030504020204" pitchFamily="34" charset="0"/>
                        </a:rPr>
                        <a:t>Roles</a:t>
                      </a:r>
                    </a:p>
                  </a:txBody>
                  <a:tcPr anchor="ctr">
                    <a:lnL w="12700" cap="flat" cmpd="sng" algn="ctr">
                      <a:solidFill>
                        <a:schemeClr val="bg2"/>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1219170" rtl="0" eaLnBrk="1" latinLnBrk="0" hangingPunct="1">
                        <a:defRPr sz="2400" b="1" kern="1200">
                          <a:solidFill>
                            <a:schemeClr val="bg1"/>
                          </a:solidFill>
                          <a:latin typeface="Verdana"/>
                        </a:defRPr>
                      </a:lvl1pPr>
                      <a:lvl2pPr marL="609585" algn="l" defTabSz="1219170" rtl="0" eaLnBrk="1" latinLnBrk="0" hangingPunct="1">
                        <a:defRPr sz="2400" b="1" kern="1200">
                          <a:solidFill>
                            <a:schemeClr val="bg1"/>
                          </a:solidFill>
                          <a:latin typeface="Verdana"/>
                        </a:defRPr>
                      </a:lvl2pPr>
                      <a:lvl3pPr marL="1219170" algn="l" defTabSz="1219170" rtl="0" eaLnBrk="1" latinLnBrk="0" hangingPunct="1">
                        <a:defRPr sz="2400" b="1" kern="1200">
                          <a:solidFill>
                            <a:schemeClr val="bg1"/>
                          </a:solidFill>
                          <a:latin typeface="Verdana"/>
                        </a:defRPr>
                      </a:lvl3pPr>
                      <a:lvl4pPr marL="1828754" algn="l" defTabSz="1219170" rtl="0" eaLnBrk="1" latinLnBrk="0" hangingPunct="1">
                        <a:defRPr sz="2400" b="1" kern="1200">
                          <a:solidFill>
                            <a:schemeClr val="bg1"/>
                          </a:solidFill>
                          <a:latin typeface="Verdana"/>
                        </a:defRPr>
                      </a:lvl4pPr>
                      <a:lvl5pPr marL="2438339" algn="l" defTabSz="1219170" rtl="0" eaLnBrk="1" latinLnBrk="0" hangingPunct="1">
                        <a:defRPr sz="2400" b="1" kern="1200">
                          <a:solidFill>
                            <a:schemeClr val="bg1"/>
                          </a:solidFill>
                          <a:latin typeface="Verdana"/>
                        </a:defRPr>
                      </a:lvl5pPr>
                      <a:lvl6pPr marL="3047924" algn="l" defTabSz="1219170" rtl="0" eaLnBrk="1" latinLnBrk="0" hangingPunct="1">
                        <a:defRPr sz="2400" b="1" kern="1200">
                          <a:solidFill>
                            <a:schemeClr val="bg1"/>
                          </a:solidFill>
                          <a:latin typeface="Verdana"/>
                        </a:defRPr>
                      </a:lvl6pPr>
                      <a:lvl7pPr marL="3657509" algn="l" defTabSz="1219170" rtl="0" eaLnBrk="1" latinLnBrk="0" hangingPunct="1">
                        <a:defRPr sz="2400" b="1" kern="1200">
                          <a:solidFill>
                            <a:schemeClr val="bg1"/>
                          </a:solidFill>
                          <a:latin typeface="Verdana"/>
                        </a:defRPr>
                      </a:lvl7pPr>
                      <a:lvl8pPr marL="4267093" algn="l" defTabSz="1219170" rtl="0" eaLnBrk="1" latinLnBrk="0" hangingPunct="1">
                        <a:defRPr sz="2400" b="1" kern="1200">
                          <a:solidFill>
                            <a:schemeClr val="bg1"/>
                          </a:solidFill>
                          <a:latin typeface="Verdana"/>
                        </a:defRPr>
                      </a:lvl8pPr>
                      <a:lvl9pPr marL="4876678" algn="l" defTabSz="1219170" rtl="0" eaLnBrk="1" latinLnBrk="0" hangingPunct="1">
                        <a:defRPr sz="2400" b="1" kern="1200">
                          <a:solidFill>
                            <a:schemeClr val="bg1"/>
                          </a:solidFill>
                          <a:latin typeface="Verdana"/>
                        </a:defRPr>
                      </a:lvl9pPr>
                    </a:lstStyle>
                    <a:p>
                      <a:pPr algn="ctr"/>
                      <a:r>
                        <a:rPr lang="en-US" sz="1400" b="0">
                          <a:latin typeface="+mn-lt"/>
                          <a:ea typeface="Open Sans Light" panose="020B0306030504020204" pitchFamily="34" charset="0"/>
                          <a:cs typeface="Open Sans Light" panose="020B0306030504020204" pitchFamily="34" charset="0"/>
                        </a:rPr>
                        <a:t>Responsibilities</a:t>
                      </a:r>
                    </a:p>
                  </a:txBody>
                  <a:tcPr anchor="ctr">
                    <a:lnL w="3175" cap="flat" cmpd="sng" algn="ctr">
                      <a:solidFill>
                        <a:sysClr val="window" lastClr="FFFFFF"/>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913446">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algn="ctr"/>
                      <a:r>
                        <a:rPr lang="en-US" sz="1000" b="0" dirty="0">
                          <a:solidFill>
                            <a:schemeClr val="bg1"/>
                          </a:solidFill>
                          <a:latin typeface="+mn-lt"/>
                          <a:ea typeface="Open Sans Light" panose="020B0306030504020204" pitchFamily="34" charset="0"/>
                          <a:cs typeface="Open Sans Light" panose="020B0306030504020204" pitchFamily="34" charset="0"/>
                        </a:rPr>
                        <a:t>Engagement Leadership</a:t>
                      </a:r>
                    </a:p>
                  </a:txBody>
                  <a:tcPr anchor="ctr">
                    <a:lnL w="12700" cap="flat" cmpd="sng" algn="ctr">
                      <a:solidFill>
                        <a:schemeClr val="bg2"/>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3175" cap="flat" cmpd="sng" algn="ctr">
                      <a:solidFill>
                        <a:sysClr val="window" lastClr="FFFFFF"/>
                      </a:solidFill>
                      <a:prstDash val="solid"/>
                      <a:round/>
                      <a:headEnd type="none" w="med" len="med"/>
                      <a:tailEnd type="none" w="med" len="med"/>
                    </a:lnT>
                    <a:lnB w="31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115888" marR="0" lvl="1" indent="-115888" algn="l" defTabSz="914400" rtl="0" eaLnBrk="1" fontAlgn="base" latinLnBrk="0" hangingPunct="1">
                        <a:lnSpc>
                          <a:spcPct val="100000"/>
                        </a:lnSpc>
                        <a:spcBef>
                          <a:spcPts val="300"/>
                        </a:spcBef>
                        <a:spcAft>
                          <a:spcPct val="0"/>
                        </a:spcAft>
                        <a:buClrTx/>
                        <a:buSzTx/>
                        <a:buFont typeface="Arial" panose="020B0604020202020204" pitchFamily="34" charset="0"/>
                        <a:buChar char="•"/>
                        <a:tabLst/>
                        <a:defRPr/>
                      </a:pPr>
                      <a:r>
                        <a:rPr lang="en-US" sz="1000" b="0" i="0" u="none" strike="noStrike" kern="1200" cap="none" spc="0" baseline="0" dirty="0">
                          <a:solidFill>
                            <a:schemeClr val="tx2">
                              <a:lumMod val="50000"/>
                            </a:schemeClr>
                          </a:solidFill>
                          <a:uFillTx/>
                          <a:latin typeface="+mn-lt"/>
                          <a:ea typeface="Open Sans Light" panose="020B0306030504020204" pitchFamily="34" charset="0"/>
                          <a:cs typeface="Open Sans Light" panose="020B0306030504020204" pitchFamily="34" charset="0"/>
                          <a:sym typeface="Open Sans Light"/>
                        </a:rPr>
                        <a:t>Overall responsibility for planning, coordination and delivery of project outputs.</a:t>
                      </a:r>
                    </a:p>
                    <a:p>
                      <a:pPr marL="115888" marR="0" lvl="1" indent="-115888" algn="l" defTabSz="914400" rtl="0" eaLnBrk="1" fontAlgn="base" latinLnBrk="0" hangingPunct="1">
                        <a:lnSpc>
                          <a:spcPct val="100000"/>
                        </a:lnSpc>
                        <a:spcBef>
                          <a:spcPts val="300"/>
                        </a:spcBef>
                        <a:spcAft>
                          <a:spcPct val="0"/>
                        </a:spcAft>
                        <a:buClrTx/>
                        <a:buSzTx/>
                        <a:buFont typeface="Arial" panose="020B0604020202020204" pitchFamily="34" charset="0"/>
                        <a:buChar char="•"/>
                        <a:tabLst/>
                        <a:defRPr/>
                      </a:pPr>
                      <a:r>
                        <a:rPr lang="en-US" sz="1000" b="0" i="0" u="none" strike="noStrike" kern="1200" cap="none" spc="0" baseline="0" dirty="0">
                          <a:solidFill>
                            <a:schemeClr val="tx2">
                              <a:lumMod val="50000"/>
                            </a:schemeClr>
                          </a:solidFill>
                          <a:uFillTx/>
                          <a:latin typeface="+mn-lt"/>
                          <a:ea typeface="Open Sans Light" panose="020B0306030504020204" pitchFamily="34" charset="0"/>
                          <a:cs typeface="Open Sans Light" panose="020B0306030504020204" pitchFamily="34" charset="0"/>
                          <a:sym typeface="Open Sans Light"/>
                        </a:rPr>
                        <a:t>Identify and assign appropriate resources to the project.</a:t>
                      </a:r>
                    </a:p>
                  </a:txBody>
                  <a:tcPr anchor="ctr">
                    <a:lnL w="3175" cap="flat" cmpd="sng" algn="ctr">
                      <a:solidFill>
                        <a:sysClr val="window" lastClr="FFFFFF"/>
                      </a:solidFill>
                      <a:prstDash val="solid"/>
                      <a:round/>
                      <a:headEnd type="none" w="med" len="med"/>
                      <a:tailEnd type="none" w="med" len="med"/>
                    </a:lnL>
                    <a:lnR w="12700" cap="flat" cmpd="sng" algn="ctr">
                      <a:solidFill>
                        <a:schemeClr val="bg2"/>
                      </a:solidFill>
                      <a:prstDash val="solid"/>
                      <a:round/>
                      <a:headEnd type="none" w="med" len="med"/>
                      <a:tailEnd type="none" w="med" len="med"/>
                    </a:lnR>
                    <a:lnT w="3175" cap="flat" cmpd="sng" algn="ctr">
                      <a:solidFill>
                        <a:sysClr val="window" lastClr="FFFFFF"/>
                      </a:solidFill>
                      <a:prstDash val="solid"/>
                      <a:round/>
                      <a:headEnd type="none" w="med" len="med"/>
                      <a:tailEnd type="none" w="med" len="med"/>
                    </a:lnT>
                    <a:lnB w="31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71704">
                <a:tc rowSpan="2">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algn="ctr"/>
                      <a:r>
                        <a:rPr lang="en-US" sz="1000" b="0" dirty="0">
                          <a:solidFill>
                            <a:schemeClr val="bg1"/>
                          </a:solidFill>
                          <a:latin typeface="+mn-lt"/>
                          <a:ea typeface="Open Sans Light" panose="020B0306030504020204" pitchFamily="34" charset="0"/>
                          <a:cs typeface="Open Sans Light" panose="020B0306030504020204" pitchFamily="34" charset="0"/>
                        </a:rPr>
                        <a:t>Engagement Management and Subject Matter Experts</a:t>
                      </a:r>
                    </a:p>
                  </a:txBody>
                  <a:tcPr anchor="ctr">
                    <a:lnL w="12700" cap="flat" cmpd="sng" algn="ctr">
                      <a:solidFill>
                        <a:schemeClr val="bg2"/>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3175" cap="flat" cmpd="sng" algn="ctr">
                      <a:solidFill>
                        <a:sysClr val="window" lastClr="FFFFFF"/>
                      </a:solidFill>
                      <a:prstDash val="solid"/>
                      <a:round/>
                      <a:headEnd type="none" w="med" len="med"/>
                      <a:tailEnd type="none" w="med" len="med"/>
                    </a:lnT>
                    <a:lnB w="31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46A38"/>
                    </a:solidFill>
                  </a:tcPr>
                </a:tc>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115888" marR="0" lvl="1" indent="-115888" algn="l" defTabSz="914400" rtl="0" eaLnBrk="1" fontAlgn="base" latinLnBrk="0" hangingPunct="1">
                        <a:lnSpc>
                          <a:spcPct val="100000"/>
                        </a:lnSpc>
                        <a:spcBef>
                          <a:spcPts val="300"/>
                        </a:spcBef>
                        <a:spcAft>
                          <a:spcPct val="0"/>
                        </a:spcAft>
                        <a:buClrTx/>
                        <a:buSzTx/>
                        <a:buFont typeface="Arial" panose="020B0604020202020204" pitchFamily="34" charset="0"/>
                        <a:buChar char="•"/>
                        <a:tabLst/>
                        <a:defRPr/>
                      </a:pPr>
                      <a:r>
                        <a:rPr lang="en-US" sz="1000" b="0" i="0" u="none" strike="noStrike" kern="1200" cap="none" spc="0" baseline="0" dirty="0">
                          <a:solidFill>
                            <a:schemeClr val="tx2">
                              <a:lumMod val="50000"/>
                            </a:schemeClr>
                          </a:solidFill>
                          <a:uFillTx/>
                          <a:latin typeface="+mn-lt"/>
                          <a:ea typeface="Open Sans Light" panose="020B0306030504020204" pitchFamily="34" charset="0"/>
                          <a:cs typeface="Open Sans Light" panose="020B0306030504020204" pitchFamily="34" charset="0"/>
                          <a:sym typeface="Open Sans Light"/>
                        </a:rPr>
                        <a:t>Ensure objectives are met within timing and scope outlined.</a:t>
                      </a:r>
                    </a:p>
                    <a:p>
                      <a:pPr marL="115888" marR="0" lvl="1" indent="-115888" algn="l" defTabSz="914400" rtl="0" eaLnBrk="1" fontAlgn="base" latinLnBrk="0" hangingPunct="1">
                        <a:lnSpc>
                          <a:spcPct val="100000"/>
                        </a:lnSpc>
                        <a:spcBef>
                          <a:spcPts val="300"/>
                        </a:spcBef>
                        <a:spcAft>
                          <a:spcPct val="0"/>
                        </a:spcAft>
                        <a:buClrTx/>
                        <a:buSzTx/>
                        <a:buFont typeface="Arial" panose="020B0604020202020204" pitchFamily="34" charset="0"/>
                        <a:buChar char="•"/>
                        <a:tabLst/>
                        <a:defRPr/>
                      </a:pPr>
                      <a:r>
                        <a:rPr lang="en-US" sz="1000" b="0" i="0" u="none" strike="noStrike" kern="1200" cap="none" spc="0" baseline="0" dirty="0">
                          <a:solidFill>
                            <a:schemeClr val="tx2">
                              <a:lumMod val="50000"/>
                            </a:schemeClr>
                          </a:solidFill>
                          <a:uFillTx/>
                          <a:latin typeface="+mn-lt"/>
                          <a:ea typeface="Open Sans Light" panose="020B0306030504020204" pitchFamily="34" charset="0"/>
                          <a:cs typeface="Open Sans Light" panose="020B0306030504020204" pitchFamily="34" charset="0"/>
                          <a:sym typeface="Open Sans Light"/>
                        </a:rPr>
                        <a:t>Manage day-to-day activities. </a:t>
                      </a:r>
                    </a:p>
                    <a:p>
                      <a:pPr marL="115888" marR="0" lvl="1" indent="-115888" algn="l" defTabSz="914400" rtl="0" eaLnBrk="1" fontAlgn="base" latinLnBrk="0" hangingPunct="1">
                        <a:lnSpc>
                          <a:spcPct val="100000"/>
                        </a:lnSpc>
                        <a:spcBef>
                          <a:spcPts val="300"/>
                        </a:spcBef>
                        <a:spcAft>
                          <a:spcPct val="0"/>
                        </a:spcAft>
                        <a:buClrTx/>
                        <a:buSzTx/>
                        <a:buFont typeface="Arial" panose="020B0604020202020204" pitchFamily="34" charset="0"/>
                        <a:buChar char="•"/>
                        <a:tabLst/>
                        <a:defRPr/>
                      </a:pPr>
                      <a:r>
                        <a:rPr lang="en-US" sz="1000" b="0" i="0" u="none" strike="noStrike" kern="1200" cap="none" spc="0" baseline="0" dirty="0">
                          <a:solidFill>
                            <a:schemeClr val="tx2">
                              <a:lumMod val="50000"/>
                            </a:schemeClr>
                          </a:solidFill>
                          <a:uFillTx/>
                          <a:latin typeface="+mn-lt"/>
                          <a:ea typeface="Open Sans Light" panose="020B0306030504020204" pitchFamily="34" charset="0"/>
                          <a:cs typeface="Open Sans Light" panose="020B0306030504020204" pitchFamily="34" charset="0"/>
                          <a:sym typeface="Open Sans Light"/>
                        </a:rPr>
                        <a:t>Provide regular status updates to  respective management as required.</a:t>
                      </a:r>
                    </a:p>
                  </a:txBody>
                  <a:tcPr anchor="ctr">
                    <a:lnL w="3175" cap="flat" cmpd="sng" algn="ctr">
                      <a:solidFill>
                        <a:sysClr val="window" lastClr="FFFFFF"/>
                      </a:solidFill>
                      <a:prstDash val="solid"/>
                      <a:round/>
                      <a:headEnd type="none" w="med" len="med"/>
                      <a:tailEnd type="none" w="med" len="med"/>
                    </a:lnL>
                    <a:lnR w="12700" cap="flat" cmpd="sng" algn="ctr">
                      <a:solidFill>
                        <a:schemeClr val="bg2"/>
                      </a:solidFill>
                      <a:prstDash val="solid"/>
                      <a:round/>
                      <a:headEnd type="none" w="med" len="med"/>
                      <a:tailEnd type="none" w="med" len="med"/>
                    </a:lnR>
                    <a:lnT w="3175" cap="flat" cmpd="sng" algn="ctr">
                      <a:solidFill>
                        <a:sysClr val="window" lastClr="FFFFFF"/>
                      </a:solidFill>
                      <a:prstDash val="solid"/>
                      <a:round/>
                      <a:headEnd type="none" w="med" len="med"/>
                      <a:tailEnd type="none" w="med" len="med"/>
                    </a:lnT>
                    <a:lnB w="31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28053332"/>
                  </a:ext>
                </a:extLst>
              </a:tr>
              <a:tr h="405976">
                <a:tc vMerge="1">
                  <a:txBody>
                    <a:bodyPr/>
                    <a:lstStyle/>
                    <a:p>
                      <a:pPr algn="ctr"/>
                      <a:r>
                        <a:rPr lang="en-US" sz="900" b="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Subject Matter Expert (SME)</a:t>
                      </a:r>
                    </a:p>
                  </a:txBody>
                  <a:tcPr anchor="ctr">
                    <a:lnL w="12700" cap="flat" cmpd="sng" algn="ctr">
                      <a:solidFill>
                        <a:schemeClr val="bg2"/>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3175" cap="flat" cmpd="sng" algn="ctr">
                      <a:solidFill>
                        <a:sysClr val="window" lastClr="FFFFFF"/>
                      </a:solidFill>
                      <a:prstDash val="solid"/>
                      <a:round/>
                      <a:headEnd type="none" w="med" len="med"/>
                      <a:tailEnd type="none" w="med" len="med"/>
                    </a:lnT>
                    <a:lnB w="31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p>
                      <a:pPr marL="115888" marR="0" lvl="1" indent="-115888" algn="l" defTabSz="914400" rtl="0" eaLnBrk="1" fontAlgn="base" latinLnBrk="0" hangingPunct="1">
                        <a:lnSpc>
                          <a:spcPct val="100000"/>
                        </a:lnSpc>
                        <a:spcBef>
                          <a:spcPts val="300"/>
                        </a:spcBef>
                        <a:spcAft>
                          <a:spcPct val="0"/>
                        </a:spcAft>
                        <a:buClrTx/>
                        <a:buSzTx/>
                        <a:buFont typeface="Arial" panose="020B0604020202020204" pitchFamily="34" charset="0"/>
                        <a:buChar char="•"/>
                        <a:tabLst/>
                        <a:defRPr/>
                      </a:pPr>
                      <a:r>
                        <a:rPr lang="en-US" sz="1000" b="0" i="0" u="none" strike="noStrike" kern="1200" cap="none" spc="0" baseline="0" dirty="0">
                          <a:solidFill>
                            <a:schemeClr val="tx2">
                              <a:lumMod val="50000"/>
                            </a:schemeClr>
                          </a:solidFill>
                          <a:uFillTx/>
                          <a:latin typeface="+mn-lt"/>
                          <a:ea typeface="Open Sans Light" panose="020B0306030504020204" pitchFamily="34" charset="0"/>
                          <a:cs typeface="Open Sans Light" panose="020B0306030504020204" pitchFamily="34" charset="0"/>
                          <a:sym typeface="Open Sans Light"/>
                        </a:rPr>
                        <a:t>Provide guidance on the challenges and complicated topics.</a:t>
                      </a:r>
                    </a:p>
                  </a:txBody>
                  <a:tcPr anchor="ctr">
                    <a:lnL w="3175" cap="flat" cmpd="sng" algn="ctr">
                      <a:solidFill>
                        <a:sysClr val="window" lastClr="FFFFFF"/>
                      </a:solidFill>
                      <a:prstDash val="solid"/>
                      <a:round/>
                      <a:headEnd type="none" w="med" len="med"/>
                      <a:tailEnd type="none" w="med" len="med"/>
                    </a:lnL>
                    <a:lnR w="12700" cap="flat" cmpd="sng" algn="ctr">
                      <a:solidFill>
                        <a:schemeClr val="bg2"/>
                      </a:solidFill>
                      <a:prstDash val="solid"/>
                      <a:round/>
                      <a:headEnd type="none" w="med" len="med"/>
                      <a:tailEnd type="none" w="med" len="med"/>
                    </a:lnR>
                    <a:lnT w="3175" cap="flat" cmpd="sng" algn="ctr">
                      <a:solidFill>
                        <a:sysClr val="window" lastClr="FFFFFF"/>
                      </a:solidFill>
                      <a:prstDash val="solid"/>
                      <a:round/>
                      <a:headEnd type="none" w="med" len="med"/>
                      <a:tailEnd type="none" w="med" len="med"/>
                    </a:lnT>
                    <a:lnB w="31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76786304"/>
                  </a:ext>
                </a:extLst>
              </a:tr>
              <a:tr h="1393728">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algn="ctr"/>
                      <a:r>
                        <a:rPr lang="en-US" sz="1000" b="0" dirty="0">
                          <a:solidFill>
                            <a:schemeClr val="bg1"/>
                          </a:solidFill>
                          <a:latin typeface="+mn-lt"/>
                          <a:ea typeface="Open Sans Light" panose="020B0306030504020204" pitchFamily="34" charset="0"/>
                          <a:cs typeface="Open Sans Light" panose="020B0306030504020204" pitchFamily="34" charset="0"/>
                        </a:rPr>
                        <a:t>Core Team</a:t>
                      </a:r>
                      <a:endParaRPr lang="en-US" sz="1000" b="0" dirty="0">
                        <a:solidFill>
                          <a:srgbClr val="046A38"/>
                        </a:solidFill>
                        <a:latin typeface="+mn-lt"/>
                        <a:ea typeface="Open Sans Light" panose="020B0306030504020204" pitchFamily="34" charset="0"/>
                        <a:cs typeface="Open Sans Light" panose="020B0306030504020204" pitchFamily="34" charset="0"/>
                      </a:endParaRPr>
                    </a:p>
                  </a:txBody>
                  <a:tcPr anchor="ctr">
                    <a:lnL w="12700" cap="flat" cmpd="sng" algn="ctr">
                      <a:solidFill>
                        <a:schemeClr val="bg2"/>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3175" cap="flat" cmpd="sng" algn="ctr">
                      <a:solidFill>
                        <a:sysClr val="window" lastClr="FFFFFF"/>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115888" marR="0" lvl="1" indent="-115888" algn="l" defTabSz="914400" rtl="0" eaLnBrk="1" fontAlgn="base" latinLnBrk="0" hangingPunct="1">
                        <a:lnSpc>
                          <a:spcPct val="100000"/>
                        </a:lnSpc>
                        <a:spcBef>
                          <a:spcPts val="300"/>
                        </a:spcBef>
                        <a:spcAft>
                          <a:spcPct val="0"/>
                        </a:spcAft>
                        <a:buClrTx/>
                        <a:buSzTx/>
                        <a:buFont typeface="Arial" panose="020B0604020202020204" pitchFamily="34" charset="0"/>
                        <a:buChar char="•"/>
                        <a:tabLst/>
                        <a:defRPr/>
                      </a:pPr>
                      <a:r>
                        <a:rPr lang="en-US" sz="1000" b="0" i="0" u="none" strike="noStrike" kern="1200" cap="none" spc="0" baseline="0" dirty="0">
                          <a:solidFill>
                            <a:schemeClr val="tx2">
                              <a:lumMod val="50000"/>
                            </a:schemeClr>
                          </a:solidFill>
                          <a:uFillTx/>
                          <a:latin typeface="+mn-lt"/>
                          <a:ea typeface="Open Sans Light" panose="020B0306030504020204" pitchFamily="34" charset="0"/>
                          <a:cs typeface="Open Sans Light" panose="020B0306030504020204" pitchFamily="34" charset="0"/>
                          <a:sym typeface="Open Sans Light"/>
                        </a:rPr>
                        <a:t>Perform fieldwork under direction of Engagement Manager.</a:t>
                      </a:r>
                    </a:p>
                    <a:p>
                      <a:pPr marL="115888" marR="0" lvl="1" indent="-115888" algn="l" defTabSz="914400" rtl="0" eaLnBrk="1" fontAlgn="base" latinLnBrk="0" hangingPunct="1">
                        <a:lnSpc>
                          <a:spcPct val="100000"/>
                        </a:lnSpc>
                        <a:spcBef>
                          <a:spcPts val="300"/>
                        </a:spcBef>
                        <a:spcAft>
                          <a:spcPct val="0"/>
                        </a:spcAft>
                        <a:buClrTx/>
                        <a:buSzTx/>
                        <a:buFont typeface="Arial" panose="020B0604020202020204" pitchFamily="34" charset="0"/>
                        <a:buChar char="•"/>
                        <a:tabLst/>
                        <a:defRPr/>
                      </a:pPr>
                      <a:r>
                        <a:rPr lang="en-US" sz="1000" b="0" i="0" u="none" strike="noStrike" kern="1200" cap="none" spc="0" baseline="0" dirty="0">
                          <a:solidFill>
                            <a:schemeClr val="tx2">
                              <a:lumMod val="50000"/>
                            </a:schemeClr>
                          </a:solidFill>
                          <a:uFillTx/>
                          <a:latin typeface="+mn-lt"/>
                          <a:ea typeface="Open Sans Light" panose="020B0306030504020204" pitchFamily="34" charset="0"/>
                          <a:cs typeface="Open Sans Light" panose="020B0306030504020204" pitchFamily="34" charset="0"/>
                          <a:sym typeface="Open Sans Light"/>
                        </a:rPr>
                        <a:t>Prepare deliverables draft</a:t>
                      </a:r>
                    </a:p>
                    <a:p>
                      <a:pPr marL="115888" marR="0" lvl="1" indent="-115888" algn="l" defTabSz="914400" rtl="0" eaLnBrk="1" fontAlgn="base" latinLnBrk="0" hangingPunct="1">
                        <a:lnSpc>
                          <a:spcPct val="100000"/>
                        </a:lnSpc>
                        <a:spcBef>
                          <a:spcPts val="300"/>
                        </a:spcBef>
                        <a:spcAft>
                          <a:spcPct val="0"/>
                        </a:spcAft>
                        <a:buClrTx/>
                        <a:buSzTx/>
                        <a:buFont typeface="Arial" panose="020B0604020202020204" pitchFamily="34" charset="0"/>
                        <a:buChar char="•"/>
                        <a:tabLst/>
                        <a:defRPr/>
                      </a:pPr>
                      <a:r>
                        <a:rPr lang="en-US" sz="1000" b="0" i="0" u="none" strike="noStrike" kern="1200" cap="none" spc="0" baseline="0" dirty="0">
                          <a:solidFill>
                            <a:schemeClr val="tx2">
                              <a:lumMod val="50000"/>
                            </a:schemeClr>
                          </a:solidFill>
                          <a:uFillTx/>
                          <a:latin typeface="+mn-lt"/>
                          <a:ea typeface="Open Sans Light" panose="020B0306030504020204" pitchFamily="34" charset="0"/>
                          <a:cs typeface="Open Sans Light" panose="020B0306030504020204" pitchFamily="34" charset="0"/>
                          <a:sym typeface="Open Sans Light"/>
                        </a:rPr>
                        <a:t>Seconded resource will be available onsite for the no. of working days per month mutually agreed between Deloitte and Salam.</a:t>
                      </a:r>
                    </a:p>
                  </a:txBody>
                  <a:tcPr anchor="ctr">
                    <a:lnL w="3175" cap="flat" cmpd="sng" algn="ctr">
                      <a:solidFill>
                        <a:sysClr val="window" lastClr="FFFFFF"/>
                      </a:solidFill>
                      <a:prstDash val="solid"/>
                      <a:round/>
                      <a:headEnd type="none" w="med" len="med"/>
                      <a:tailEnd type="none" w="med" len="med"/>
                    </a:lnL>
                    <a:lnR w="12700" cap="flat" cmpd="sng" algn="ctr">
                      <a:solidFill>
                        <a:schemeClr val="bg2"/>
                      </a:solidFill>
                      <a:prstDash val="solid"/>
                      <a:round/>
                      <a:headEnd type="none" w="med" len="med"/>
                      <a:tailEnd type="none" w="med" len="med"/>
                    </a:lnR>
                    <a:lnT w="3175" cap="flat" cmpd="sng" algn="ctr">
                      <a:solidFill>
                        <a:sysClr val="window" lastClr="FFFFFF"/>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
        <p:nvSpPr>
          <p:cNvPr id="30" name="Rectangle 29">
            <a:extLst>
              <a:ext uri="{FF2B5EF4-FFF2-40B4-BE49-F238E27FC236}">
                <a16:creationId xmlns:a16="http://schemas.microsoft.com/office/drawing/2014/main" id="{5CEC9C43-6864-4837-A2EF-7BE245B08955}"/>
              </a:ext>
            </a:extLst>
          </p:cNvPr>
          <p:cNvSpPr/>
          <p:nvPr/>
        </p:nvSpPr>
        <p:spPr bwMode="auto">
          <a:xfrm>
            <a:off x="465452" y="1030375"/>
            <a:ext cx="7493560" cy="1299665"/>
          </a:xfrm>
          <a:prstGeom prst="rect">
            <a:avLst/>
          </a:prstGeom>
          <a:solidFill>
            <a:srgbClr val="86BC25"/>
          </a:solidFill>
          <a:ln w="9525" cap="flat" cmpd="sng" algn="ctr">
            <a:noFill/>
            <a:prstDash val="solid"/>
            <a:round/>
            <a:headEnd type="none" w="med" len="med"/>
            <a:tailEnd type="none" w="med" len="med"/>
          </a:ln>
          <a:effectLst/>
        </p:spPr>
        <p:txBody>
          <a:bodyPr vert="horz" wrap="square" lIns="90966" tIns="45474" rIns="90966" bIns="45474" numCol="1" rtlCol="0" anchor="t" anchorCtr="0" compatLnSpc="1">
            <a:prstTxWarp prst="textNoShape">
              <a:avLst/>
            </a:prstTxWarp>
          </a:bodyPr>
          <a:lstStyle/>
          <a:p>
            <a:pPr marL="0" marR="0" lvl="0" indent="0" algn="ctr" defTabSz="907373" rtl="0" eaLnBrk="1" fontAlgn="auto" latinLnBrk="0" hangingPunct="0">
              <a:lnSpc>
                <a:spcPct val="110000"/>
              </a:lnSpc>
              <a:spcBef>
                <a:spcPts val="0"/>
              </a:spcBef>
              <a:spcAft>
                <a:spcPts val="0"/>
              </a:spcAft>
              <a:buClrTx/>
              <a:buSzTx/>
              <a:buFontTx/>
              <a:buNone/>
              <a:tabLst>
                <a:tab pos="5685252" algn="l"/>
              </a:tabLst>
              <a:defRPr/>
            </a:pPr>
            <a:r>
              <a:rPr kumimoji="0" lang="en-US" sz="1200" b="0" i="0" u="none" strike="noStrike" kern="0" cap="none" spc="0" normalizeH="0" baseline="0" noProof="0" dirty="0">
                <a:ln>
                  <a:noFill/>
                </a:ln>
                <a:solidFill>
                  <a:prstClr val="white"/>
                </a:solidFill>
                <a:effectLst/>
                <a:uLnTx/>
                <a:uFillTx/>
                <a:latin typeface="+mn-lt"/>
                <a:ea typeface="Open Sans Light" panose="020B0306030504020204" pitchFamily="34" charset="0"/>
                <a:cs typeface="Open Sans Light" panose="020B0306030504020204" pitchFamily="34" charset="0"/>
                <a:sym typeface="Open Sans Light"/>
              </a:rPr>
              <a:t>Engagement Leadership</a:t>
            </a:r>
          </a:p>
        </p:txBody>
      </p:sp>
      <p:sp>
        <p:nvSpPr>
          <p:cNvPr id="9" name="Rectangle 2">
            <a:extLst>
              <a:ext uri="{FF2B5EF4-FFF2-40B4-BE49-F238E27FC236}">
                <a16:creationId xmlns:a16="http://schemas.microsoft.com/office/drawing/2014/main" id="{4CAF0C7A-0327-89A4-9F34-083148FDEF3D}"/>
              </a:ext>
            </a:extLst>
          </p:cNvPr>
          <p:cNvSpPr txBox="1">
            <a:spLocks/>
          </p:cNvSpPr>
          <p:nvPr/>
        </p:nvSpPr>
        <p:spPr>
          <a:xfrm>
            <a:off x="501648" y="6184848"/>
            <a:ext cx="102592" cy="10772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1pPr>
            <a:lvl2pPr marL="0" marR="0" indent="4572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2pPr>
            <a:lvl3pPr marL="0" marR="0" indent="9144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3pPr>
            <a:lvl4pPr marL="0" marR="0" indent="13716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4pPr>
            <a:lvl5pPr marL="0" marR="0" indent="18288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5pPr>
            <a:lvl6pPr marL="0" marR="0" indent="22860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6pPr>
            <a:lvl7pPr marL="0" marR="0" indent="27432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7pPr>
            <a:lvl8pPr marL="0" marR="0" indent="32004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8pPr>
            <a:lvl9pPr marL="0" marR="0" indent="36576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US" sz="700" b="0" i="0" u="none" strike="noStrike" kern="0" cap="none" spc="0" normalizeH="0" baseline="0" noProof="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Light"/>
              </a:rPr>
              <a:pPr marL="0" marR="0" lvl="0" indent="0" algn="l" defTabSz="914400" rtl="0" eaLnBrk="1" fontAlgn="auto" latinLnBrk="0" hangingPunct="0">
                <a:lnSpc>
                  <a:spcPct val="100000"/>
                </a:lnSpc>
                <a:spcBef>
                  <a:spcPts val="0"/>
                </a:spcBef>
                <a:spcAft>
                  <a:spcPts val="0"/>
                </a:spcAft>
                <a:buClrTx/>
                <a:buSzTx/>
                <a:buFontTx/>
                <a:buNone/>
                <a:tabLst/>
                <a:defRPr/>
              </a:pPr>
              <a:t>10</a:t>
            </a:fld>
            <a:endParaRPr kumimoji="0" lang="en-US" sz="700" b="0" i="0" u="none" strike="noStrike" kern="0" cap="none" spc="0" normalizeH="0" baseline="0" noProof="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Light"/>
            </a:endParaRPr>
          </a:p>
        </p:txBody>
      </p:sp>
      <p:sp>
        <p:nvSpPr>
          <p:cNvPr id="10" name="Rectangle 9">
            <a:extLst>
              <a:ext uri="{FF2B5EF4-FFF2-40B4-BE49-F238E27FC236}">
                <a16:creationId xmlns:a16="http://schemas.microsoft.com/office/drawing/2014/main" id="{9C1BEBBF-F219-734B-948E-24A064F6C53E}"/>
              </a:ext>
            </a:extLst>
          </p:cNvPr>
          <p:cNvSpPr>
            <a:spLocks noChangeArrowheads="1"/>
          </p:cNvSpPr>
          <p:nvPr/>
        </p:nvSpPr>
        <p:spPr bwMode="auto">
          <a:xfrm>
            <a:off x="469900" y="5886508"/>
            <a:ext cx="11194736" cy="585903"/>
          </a:xfrm>
          <a:prstGeom prst="rect">
            <a:avLst/>
          </a:prstGeom>
          <a:solidFill>
            <a:sysClr val="window" lastClr="FFFFFF">
              <a:lumMod val="95000"/>
            </a:sysClr>
          </a:solidFill>
          <a:ln w="12700" algn="ctr">
            <a:noFill/>
            <a:miter lim="800000"/>
            <a:headEnd/>
            <a:tailEnd/>
          </a:ln>
        </p:spPr>
        <p:txBody>
          <a:bodyPr lIns="182880" tIns="182880" rIns="182880" bIns="182880" anchor="ctr"/>
          <a:lstStyle/>
          <a:p>
            <a:pPr marL="0" marR="0" lvl="0" indent="0" algn="just" defTabSz="907373" rtl="0" eaLnBrk="1" fontAlgn="auto" latinLnBrk="0" hangingPunct="1">
              <a:lnSpc>
                <a:spcPct val="100000"/>
              </a:lnSpc>
              <a:spcBef>
                <a:spcPts val="0"/>
              </a:spcBef>
              <a:spcAft>
                <a:spcPts val="600"/>
              </a:spcAft>
              <a:buClrTx/>
              <a:buSzTx/>
              <a:buFontTx/>
              <a:buNone/>
              <a:tabLst>
                <a:tab pos="5685252" algn="l"/>
              </a:tabLst>
              <a:defRPr/>
            </a:pPr>
            <a:r>
              <a:rPr lang="en-US" sz="1000" kern="1200" dirty="0">
                <a:solidFill>
                  <a:srgbClr val="3E3E3E"/>
                </a:solidFill>
                <a:latin typeface="+mn-lt"/>
                <a:ea typeface="Open Sans Light" panose="020B0306030504020204" pitchFamily="34" charset="0"/>
                <a:cs typeface="Open Sans Light" panose="020B0306030504020204" pitchFamily="34" charset="0"/>
              </a:rPr>
              <a:t>Deloitte Resource pool - Deloitte is the largest integrated risk consulting practice in the Middle East with more than 250 professionals. These resources can be further augmented by regional and global professionals and Subject Matter Experts (as needed); however, the SMEs are not expected to be onsite. </a:t>
            </a:r>
          </a:p>
          <a:p>
            <a:pPr marL="0" marR="0" lvl="0" indent="0" algn="just" defTabSz="907373" rtl="0" eaLnBrk="1" fontAlgn="auto" latinLnBrk="0" hangingPunct="1">
              <a:lnSpc>
                <a:spcPct val="100000"/>
              </a:lnSpc>
              <a:spcBef>
                <a:spcPts val="0"/>
              </a:spcBef>
              <a:spcAft>
                <a:spcPts val="600"/>
              </a:spcAft>
              <a:buClrTx/>
              <a:buSzTx/>
              <a:buFontTx/>
              <a:buNone/>
              <a:tabLst>
                <a:tab pos="5685252" algn="l"/>
              </a:tabLst>
              <a:defRPr/>
            </a:pPr>
            <a:r>
              <a:rPr lang="en-US" sz="1000" kern="1200" dirty="0">
                <a:solidFill>
                  <a:srgbClr val="3E3E3E"/>
                </a:solidFill>
                <a:latin typeface="+mn-lt"/>
                <a:ea typeface="Open Sans Light" panose="020B0306030504020204" pitchFamily="34" charset="0"/>
                <a:cs typeface="Open Sans Light" panose="020B0306030504020204" pitchFamily="34" charset="0"/>
              </a:rPr>
              <a:t>Deloitte reserves the right to adjust the engagement team and subject matter experts based on the exact engagement start, planning and the availability of our engagement team members.</a:t>
            </a:r>
          </a:p>
        </p:txBody>
      </p:sp>
      <p:sp>
        <p:nvSpPr>
          <p:cNvPr id="11" name="Rectangle 10">
            <a:extLst>
              <a:ext uri="{FF2B5EF4-FFF2-40B4-BE49-F238E27FC236}">
                <a16:creationId xmlns:a16="http://schemas.microsoft.com/office/drawing/2014/main" id="{0062BBDF-BBC3-0270-113C-9FC5448CF429}"/>
              </a:ext>
            </a:extLst>
          </p:cNvPr>
          <p:cNvSpPr>
            <a:spLocks noChangeArrowheads="1"/>
          </p:cNvSpPr>
          <p:nvPr/>
        </p:nvSpPr>
        <p:spPr bwMode="auto">
          <a:xfrm>
            <a:off x="469900" y="5592253"/>
            <a:ext cx="11194736" cy="221847"/>
          </a:xfrm>
          <a:prstGeom prst="rect">
            <a:avLst/>
          </a:prstGeom>
          <a:solidFill>
            <a:sysClr val="window" lastClr="FFFFFF">
              <a:lumMod val="65000"/>
            </a:sysClr>
          </a:solidFill>
          <a:ln w="12700" algn="ctr">
            <a:noFill/>
            <a:miter lim="800000"/>
            <a:headEnd/>
            <a:tailEnd/>
          </a:ln>
        </p:spPr>
        <p:txBody>
          <a:bodyPr lIns="35727" tIns="35727" rIns="35727" bIns="35727" anchor="ctr"/>
          <a:lstStyle/>
          <a:p>
            <a:pPr marL="0" marR="0" lvl="0" indent="0" algn="ctr" defTabSz="907373" rtl="0" eaLnBrk="1" fontAlgn="auto" latinLnBrk="0" hangingPunct="1">
              <a:lnSpc>
                <a:spcPct val="110000"/>
              </a:lnSpc>
              <a:spcBef>
                <a:spcPts val="0"/>
              </a:spcBef>
              <a:spcAft>
                <a:spcPts val="0"/>
              </a:spcAft>
              <a:buClrTx/>
              <a:buSzTx/>
              <a:buFontTx/>
              <a:buNone/>
              <a:tabLst/>
              <a:defRPr/>
            </a:pPr>
            <a:r>
              <a:rPr kumimoji="0" lang="en-GB" sz="1200" b="0" i="0" u="none" strike="noStrike" kern="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Light"/>
              </a:rPr>
              <a:t>Deloitte Resource Pool</a:t>
            </a:r>
          </a:p>
        </p:txBody>
      </p:sp>
      <p:sp>
        <p:nvSpPr>
          <p:cNvPr id="12" name="Rectangle 11">
            <a:extLst>
              <a:ext uri="{FF2B5EF4-FFF2-40B4-BE49-F238E27FC236}">
                <a16:creationId xmlns:a16="http://schemas.microsoft.com/office/drawing/2014/main" id="{70E5E09C-577D-A003-5DA6-9693A9A55BD6}"/>
              </a:ext>
            </a:extLst>
          </p:cNvPr>
          <p:cNvSpPr/>
          <p:nvPr/>
        </p:nvSpPr>
        <p:spPr bwMode="auto">
          <a:xfrm>
            <a:off x="469900" y="2436148"/>
            <a:ext cx="7484665" cy="1513341"/>
          </a:xfrm>
          <a:prstGeom prst="rect">
            <a:avLst/>
          </a:prstGeom>
          <a:solidFill>
            <a:srgbClr val="046A38"/>
          </a:solidFill>
          <a:ln w="9525" cap="flat" cmpd="sng" algn="ctr">
            <a:noFill/>
            <a:prstDash val="solid"/>
            <a:round/>
            <a:headEnd type="none" w="med" len="med"/>
            <a:tailEnd type="none" w="med" len="med"/>
          </a:ln>
          <a:effectLst/>
        </p:spPr>
        <p:txBody>
          <a:bodyPr vert="horz" wrap="square" lIns="90966" tIns="45474" rIns="90966" bIns="45474" numCol="1" rtlCol="0" anchor="t" anchorCtr="0" compatLnSpc="1">
            <a:prstTxWarp prst="textNoShape">
              <a:avLst/>
            </a:prstTxWarp>
          </a:bodyPr>
          <a:lstStyle/>
          <a:p>
            <a:pPr marL="0" marR="0" lvl="0" indent="0" algn="ctr" defTabSz="907373" rtl="0" eaLnBrk="1" fontAlgn="auto" latinLnBrk="0" hangingPunct="0">
              <a:lnSpc>
                <a:spcPct val="110000"/>
              </a:lnSpc>
              <a:spcBef>
                <a:spcPts val="0"/>
              </a:spcBef>
              <a:spcAft>
                <a:spcPts val="0"/>
              </a:spcAft>
              <a:buClrTx/>
              <a:buSzTx/>
              <a:buFontTx/>
              <a:buNone/>
              <a:tabLst>
                <a:tab pos="5685252" algn="l"/>
              </a:tabLst>
              <a:defRPr/>
            </a:pPr>
            <a:endParaRPr kumimoji="0" lang="en-US" sz="1200" b="0" i="0" u="none" strike="noStrike" kern="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Light"/>
            </a:endParaRPr>
          </a:p>
        </p:txBody>
      </p:sp>
      <p:sp>
        <p:nvSpPr>
          <p:cNvPr id="13" name="TextBox 12">
            <a:extLst>
              <a:ext uri="{FF2B5EF4-FFF2-40B4-BE49-F238E27FC236}">
                <a16:creationId xmlns:a16="http://schemas.microsoft.com/office/drawing/2014/main" id="{53881B7D-9080-6C2D-346C-5E2C0DE9EC7A}"/>
              </a:ext>
            </a:extLst>
          </p:cNvPr>
          <p:cNvSpPr txBox="1"/>
          <p:nvPr/>
        </p:nvSpPr>
        <p:spPr>
          <a:xfrm>
            <a:off x="2365401" y="2600295"/>
            <a:ext cx="3885899" cy="192104"/>
          </a:xfrm>
          <a:prstGeom prst="rect">
            <a:avLst/>
          </a:prstGeom>
          <a:noFill/>
        </p:spPr>
        <p:txBody>
          <a:bodyPr wrap="square" lIns="0" tIns="0" rIns="0" bIns="0" rtlCol="0">
            <a:spAutoFit/>
          </a:bodyPr>
          <a:lstStyle/>
          <a:p>
            <a:pPr marL="0" marR="0" lvl="0" indent="0" algn="ctr" defTabSz="907373" rtl="0" eaLnBrk="1" fontAlgn="auto" latinLnBrk="0" hangingPunct="0">
              <a:lnSpc>
                <a:spcPct val="110000"/>
              </a:lnSpc>
              <a:spcBef>
                <a:spcPts val="0"/>
              </a:spcBef>
              <a:spcAft>
                <a:spcPts val="0"/>
              </a:spcAft>
              <a:buClrTx/>
              <a:buSzTx/>
              <a:buFontTx/>
              <a:buNone/>
              <a:tabLst>
                <a:tab pos="5685252" algn="l"/>
              </a:tabLst>
              <a:defRPr/>
            </a:pPr>
            <a:r>
              <a:rPr kumimoji="0" lang="en-US" sz="1200" i="0" u="none" strike="noStrike" kern="0" cap="none" spc="0" normalizeH="0" baseline="0" noProof="0" dirty="0">
                <a:ln>
                  <a:noFill/>
                </a:ln>
                <a:solidFill>
                  <a:prstClr val="white"/>
                </a:solidFill>
                <a:effectLst/>
                <a:uLnTx/>
                <a:uFillTx/>
                <a:latin typeface="+mn-lt"/>
                <a:ea typeface="Open Sans Light" panose="020B0306030504020204" pitchFamily="34" charset="0"/>
                <a:cs typeface="Open Sans Light" panose="020B0306030504020204" pitchFamily="34" charset="0"/>
                <a:sym typeface="Open Sans Light"/>
              </a:rPr>
              <a:t>Engagement Management and Subject Matter Experts</a:t>
            </a:r>
          </a:p>
        </p:txBody>
      </p:sp>
      <p:sp>
        <p:nvSpPr>
          <p:cNvPr id="17" name="Rectangle 16">
            <a:extLst>
              <a:ext uri="{FF2B5EF4-FFF2-40B4-BE49-F238E27FC236}">
                <a16:creationId xmlns:a16="http://schemas.microsoft.com/office/drawing/2014/main" id="{7E4F4373-FC22-E6F0-8E52-F7AB326AEA80}"/>
              </a:ext>
            </a:extLst>
          </p:cNvPr>
          <p:cNvSpPr/>
          <p:nvPr/>
        </p:nvSpPr>
        <p:spPr bwMode="auto">
          <a:xfrm>
            <a:off x="465452" y="4063390"/>
            <a:ext cx="7489112" cy="1390783"/>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0966" tIns="45474" rIns="90966" bIns="45474" numCol="1" rtlCol="0" anchor="t" anchorCtr="0" compatLnSpc="1">
            <a:prstTxWarp prst="textNoShape">
              <a:avLst/>
            </a:prstTxWarp>
          </a:bodyPr>
          <a:lstStyle/>
          <a:p>
            <a:pPr marL="0" marR="0" lvl="0" indent="0" algn="ctr" defTabSz="907373" rtl="0" eaLnBrk="1" fontAlgn="auto" latinLnBrk="0" hangingPunct="1">
              <a:lnSpc>
                <a:spcPct val="110000"/>
              </a:lnSpc>
              <a:spcBef>
                <a:spcPts val="0"/>
              </a:spcBef>
              <a:spcAft>
                <a:spcPts val="0"/>
              </a:spcAft>
              <a:buClrTx/>
              <a:buSzTx/>
              <a:buFontTx/>
              <a:buNone/>
              <a:tabLst>
                <a:tab pos="5685252" algn="l"/>
              </a:tabLst>
              <a:defRPr/>
            </a:pPr>
            <a:r>
              <a:rPr kumimoji="0" lang="en-US" sz="1200" b="0" i="0" u="none" strike="noStrike" kern="0" cap="none" spc="0" normalizeH="0" baseline="0" noProof="0" dirty="0">
                <a:ln>
                  <a:noFill/>
                </a:ln>
                <a:solidFill>
                  <a:prstClr val="white"/>
                </a:solidFill>
                <a:effectLst/>
                <a:uLnTx/>
                <a:uFillTx/>
                <a:latin typeface="+mn-lt"/>
                <a:ea typeface="Open Sans Light" panose="020B0306030504020204" pitchFamily="34" charset="0"/>
                <a:cs typeface="Open Sans Light" panose="020B0306030504020204" pitchFamily="34" charset="0"/>
                <a:sym typeface="Open Sans Light"/>
              </a:rPr>
              <a:t>Core Team</a:t>
            </a:r>
            <a:endParaRPr kumimoji="0" lang="en-US" sz="1200" b="0" i="0" u="none" strike="noStrike" kern="0" cap="none" spc="0" normalizeH="0" baseline="0" noProof="0" dirty="0">
              <a:ln>
                <a:noFill/>
              </a:ln>
              <a:solidFill>
                <a:srgbClr val="046A38"/>
              </a:solidFill>
              <a:effectLst/>
              <a:uLnTx/>
              <a:uFillTx/>
              <a:latin typeface="+mn-lt"/>
              <a:ea typeface="Open Sans Light" panose="020B0306030504020204" pitchFamily="34" charset="0"/>
              <a:cs typeface="Open Sans Light" panose="020B0306030504020204" pitchFamily="34" charset="0"/>
              <a:sym typeface="Open Sans Light"/>
            </a:endParaRPr>
          </a:p>
        </p:txBody>
      </p:sp>
      <p:sp>
        <p:nvSpPr>
          <p:cNvPr id="88" name="Text Placeholder 20">
            <a:extLst>
              <a:ext uri="{FF2B5EF4-FFF2-40B4-BE49-F238E27FC236}">
                <a16:creationId xmlns:a16="http://schemas.microsoft.com/office/drawing/2014/main" id="{7F7F099B-8F9F-1FE1-69A9-C32C6EDCBC1D}"/>
              </a:ext>
            </a:extLst>
          </p:cNvPr>
          <p:cNvSpPr txBox="1">
            <a:spLocks/>
          </p:cNvSpPr>
          <p:nvPr/>
        </p:nvSpPr>
        <p:spPr>
          <a:xfrm>
            <a:off x="412436"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1400" b="1" dirty="0">
                <a:solidFill>
                  <a:srgbClr val="575757"/>
                </a:solidFill>
                <a:latin typeface="+mn-lt"/>
                <a:ea typeface="Open Sans Light" panose="020B0306030504020204" pitchFamily="34" charset="0"/>
                <a:cs typeface="Open Sans Light" panose="020B0306030504020204" pitchFamily="34" charset="0"/>
              </a:rPr>
              <a:t>Our Team</a:t>
            </a:r>
          </a:p>
        </p:txBody>
      </p:sp>
      <p:grpSp>
        <p:nvGrpSpPr>
          <p:cNvPr id="2" name="Group 1">
            <a:extLst>
              <a:ext uri="{FF2B5EF4-FFF2-40B4-BE49-F238E27FC236}">
                <a16:creationId xmlns:a16="http://schemas.microsoft.com/office/drawing/2014/main" id="{1881503D-E34A-C66F-0A4A-2ADB1DDBC7A1}"/>
              </a:ext>
            </a:extLst>
          </p:cNvPr>
          <p:cNvGrpSpPr/>
          <p:nvPr/>
        </p:nvGrpSpPr>
        <p:grpSpPr>
          <a:xfrm>
            <a:off x="1229882" y="1362848"/>
            <a:ext cx="1649699" cy="797523"/>
            <a:chOff x="3115206" y="2779813"/>
            <a:chExt cx="1700784" cy="851042"/>
          </a:xfrm>
        </p:grpSpPr>
        <p:sp>
          <p:nvSpPr>
            <p:cNvPr id="3" name="Rectangle 2">
              <a:extLst>
                <a:ext uri="{FF2B5EF4-FFF2-40B4-BE49-F238E27FC236}">
                  <a16:creationId xmlns:a16="http://schemas.microsoft.com/office/drawing/2014/main" id="{3D932C54-6D45-0E8E-10D4-CD5BF0E3CB83}"/>
                </a:ext>
              </a:extLst>
            </p:cNvPr>
            <p:cNvSpPr>
              <a:spLocks noChangeArrowheads="1"/>
            </p:cNvSpPr>
            <p:nvPr/>
          </p:nvSpPr>
          <p:spPr bwMode="auto">
            <a:xfrm>
              <a:off x="3115206" y="3054133"/>
              <a:ext cx="1700784" cy="576722"/>
            </a:xfrm>
            <a:prstGeom prst="rect">
              <a:avLst/>
            </a:prstGeom>
            <a:solidFill>
              <a:sysClr val="window" lastClr="FFFFFF">
                <a:lumMod val="95000"/>
              </a:sysClr>
            </a:solidFill>
            <a:ln w="12700" algn="ctr">
              <a:noFill/>
              <a:miter lim="800000"/>
              <a:headEnd/>
              <a:tailEnd/>
            </a:ln>
          </p:spPr>
          <p:txBody>
            <a:bodyPr lIns="35727" tIns="35727" rIns="35727" bIns="35727" anchor="ctr"/>
            <a:lstStyle/>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Nader Farid</a:t>
              </a:r>
            </a:p>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1"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Partner</a:t>
              </a:r>
            </a:p>
          </p:txBody>
        </p:sp>
        <p:sp>
          <p:nvSpPr>
            <p:cNvPr id="4" name="Text Box 10">
              <a:extLst>
                <a:ext uri="{FF2B5EF4-FFF2-40B4-BE49-F238E27FC236}">
                  <a16:creationId xmlns:a16="http://schemas.microsoft.com/office/drawing/2014/main" id="{A62E2CBC-340D-21E9-BD82-051721A11E2B}"/>
                </a:ext>
              </a:extLst>
            </p:cNvPr>
            <p:cNvSpPr txBox="1">
              <a:spLocks noChangeArrowheads="1"/>
            </p:cNvSpPr>
            <p:nvPr/>
          </p:nvSpPr>
          <p:spPr bwMode="auto">
            <a:xfrm>
              <a:off x="3115206" y="2779813"/>
              <a:ext cx="1700784" cy="274320"/>
            </a:xfrm>
            <a:prstGeom prst="rect">
              <a:avLst/>
            </a:prstGeom>
            <a:solidFill>
              <a:sysClr val="windowText" lastClr="000000"/>
            </a:solidFill>
            <a:ln w="12700" algn="ctr">
              <a:noFill/>
              <a:miter lim="800000"/>
              <a:headEnd/>
              <a:tailEnd type="none" w="sm" len="med"/>
            </a:ln>
          </p:spPr>
          <p:txBody>
            <a:bodyPr lIns="35727" tIns="35727" rIns="35727" bIns="35727" anchor="ctr" anchorCtr="1"/>
            <a:lstStyle/>
            <a:p>
              <a:pPr marL="0" marR="0" lvl="0" indent="0" algn="ctr" defTabSz="949615" rtl="0" eaLnBrk="1" fontAlgn="auto" latinLnBrk="0" hangingPunct="0">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sym typeface="Open Sans Light"/>
                </a:rPr>
                <a:t>Quality Assurance Partner </a:t>
              </a:r>
            </a:p>
          </p:txBody>
        </p:sp>
      </p:grpSp>
      <p:grpSp>
        <p:nvGrpSpPr>
          <p:cNvPr id="5" name="Group 4">
            <a:extLst>
              <a:ext uri="{FF2B5EF4-FFF2-40B4-BE49-F238E27FC236}">
                <a16:creationId xmlns:a16="http://schemas.microsoft.com/office/drawing/2014/main" id="{D8BFACE2-40C2-0356-A658-CA56AC21B718}"/>
              </a:ext>
            </a:extLst>
          </p:cNvPr>
          <p:cNvGrpSpPr/>
          <p:nvPr/>
        </p:nvGrpSpPr>
        <p:grpSpPr>
          <a:xfrm>
            <a:off x="3603091" y="1362848"/>
            <a:ext cx="1649699" cy="797523"/>
            <a:chOff x="3115206" y="2779813"/>
            <a:chExt cx="1700784" cy="851042"/>
          </a:xfrm>
        </p:grpSpPr>
        <p:sp>
          <p:nvSpPr>
            <p:cNvPr id="6" name="Rectangle 5">
              <a:extLst>
                <a:ext uri="{FF2B5EF4-FFF2-40B4-BE49-F238E27FC236}">
                  <a16:creationId xmlns:a16="http://schemas.microsoft.com/office/drawing/2014/main" id="{1827F025-8FE9-8D9E-B33D-B13E41310417}"/>
                </a:ext>
              </a:extLst>
            </p:cNvPr>
            <p:cNvSpPr>
              <a:spLocks noChangeArrowheads="1"/>
            </p:cNvSpPr>
            <p:nvPr/>
          </p:nvSpPr>
          <p:spPr bwMode="auto">
            <a:xfrm>
              <a:off x="3115206" y="3054133"/>
              <a:ext cx="1700784" cy="576722"/>
            </a:xfrm>
            <a:prstGeom prst="rect">
              <a:avLst/>
            </a:prstGeom>
            <a:solidFill>
              <a:sysClr val="window" lastClr="FFFFFF">
                <a:lumMod val="95000"/>
              </a:sysClr>
            </a:solidFill>
            <a:ln w="12700" algn="ctr">
              <a:noFill/>
              <a:miter lim="800000"/>
              <a:headEnd/>
              <a:tailEnd/>
            </a:ln>
          </p:spPr>
          <p:txBody>
            <a:bodyPr lIns="35727" tIns="35727" rIns="35727" bIns="35727" anchor="ctr"/>
            <a:lstStyle/>
            <a:p>
              <a:pPr algn="ctr" defTabSz="907373">
                <a:lnSpc>
                  <a:spcPct val="110000"/>
                </a:lnSpc>
                <a:defRPr/>
              </a:pPr>
              <a:r>
                <a:rPr kumimoji="0" lang="en-GB" sz="1000" b="0"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Tariq Ajmal</a:t>
              </a:r>
            </a:p>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1"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Partner</a:t>
              </a:r>
            </a:p>
          </p:txBody>
        </p:sp>
        <p:sp>
          <p:nvSpPr>
            <p:cNvPr id="7" name="Text Box 10">
              <a:extLst>
                <a:ext uri="{FF2B5EF4-FFF2-40B4-BE49-F238E27FC236}">
                  <a16:creationId xmlns:a16="http://schemas.microsoft.com/office/drawing/2014/main" id="{AC80C594-E5C3-9DE5-A28D-D7C24195ED16}"/>
                </a:ext>
              </a:extLst>
            </p:cNvPr>
            <p:cNvSpPr txBox="1">
              <a:spLocks noChangeArrowheads="1"/>
            </p:cNvSpPr>
            <p:nvPr/>
          </p:nvSpPr>
          <p:spPr bwMode="auto">
            <a:xfrm>
              <a:off x="3115206" y="2779813"/>
              <a:ext cx="1700784" cy="274320"/>
            </a:xfrm>
            <a:prstGeom prst="rect">
              <a:avLst/>
            </a:prstGeom>
            <a:solidFill>
              <a:sysClr val="windowText" lastClr="000000"/>
            </a:solidFill>
            <a:ln w="12700" algn="ctr">
              <a:noFill/>
              <a:miter lim="800000"/>
              <a:headEnd/>
              <a:tailEnd type="none" w="sm" len="med"/>
            </a:ln>
          </p:spPr>
          <p:txBody>
            <a:bodyPr lIns="35727" tIns="35727" rIns="35727" bIns="35727" anchor="ctr" anchorCtr="1"/>
            <a:lstStyle/>
            <a:p>
              <a:pPr marL="0" marR="0" lvl="0" indent="0" algn="ctr" defTabSz="949615" rtl="0" eaLnBrk="1" fontAlgn="auto" latinLnBrk="0" hangingPunct="0">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sym typeface="Open Sans Light"/>
                </a:rPr>
                <a:t>Engagement Partner </a:t>
              </a:r>
            </a:p>
          </p:txBody>
        </p:sp>
      </p:grpSp>
      <p:grpSp>
        <p:nvGrpSpPr>
          <p:cNvPr id="28" name="Group 27">
            <a:extLst>
              <a:ext uri="{FF2B5EF4-FFF2-40B4-BE49-F238E27FC236}">
                <a16:creationId xmlns:a16="http://schemas.microsoft.com/office/drawing/2014/main" id="{40C448EE-DD98-9299-1CF3-22B1884ADDA1}"/>
              </a:ext>
            </a:extLst>
          </p:cNvPr>
          <p:cNvGrpSpPr/>
          <p:nvPr/>
        </p:nvGrpSpPr>
        <p:grpSpPr>
          <a:xfrm>
            <a:off x="6024218" y="1362847"/>
            <a:ext cx="1649699" cy="797524"/>
            <a:chOff x="3115206" y="2779812"/>
            <a:chExt cx="1700784" cy="851043"/>
          </a:xfrm>
        </p:grpSpPr>
        <p:sp>
          <p:nvSpPr>
            <p:cNvPr id="31" name="Rectangle 30">
              <a:extLst>
                <a:ext uri="{FF2B5EF4-FFF2-40B4-BE49-F238E27FC236}">
                  <a16:creationId xmlns:a16="http://schemas.microsoft.com/office/drawing/2014/main" id="{EB336CB1-F0AF-00B0-D7E1-DFC95C0695C1}"/>
                </a:ext>
              </a:extLst>
            </p:cNvPr>
            <p:cNvSpPr>
              <a:spLocks noChangeArrowheads="1"/>
            </p:cNvSpPr>
            <p:nvPr/>
          </p:nvSpPr>
          <p:spPr bwMode="auto">
            <a:xfrm>
              <a:off x="3115206" y="3054133"/>
              <a:ext cx="1700784" cy="576722"/>
            </a:xfrm>
            <a:prstGeom prst="rect">
              <a:avLst/>
            </a:prstGeom>
            <a:solidFill>
              <a:sysClr val="window" lastClr="FFFFFF">
                <a:lumMod val="95000"/>
              </a:sysClr>
            </a:solidFill>
            <a:ln w="12700" algn="ctr">
              <a:noFill/>
              <a:miter lim="800000"/>
              <a:headEnd/>
              <a:tailEnd/>
            </a:ln>
          </p:spPr>
          <p:txBody>
            <a:bodyPr lIns="35727" tIns="35727" rIns="35727" bIns="35727" anchor="ctr"/>
            <a:lstStyle/>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Maarten Smulders</a:t>
              </a:r>
            </a:p>
            <a:p>
              <a:pPr marL="0" marR="0" lvl="0" indent="0" algn="ctr" defTabSz="907373" rtl="0" eaLnBrk="1" fontAlgn="auto" latinLnBrk="0" hangingPunct="0">
                <a:lnSpc>
                  <a:spcPct val="110000"/>
                </a:lnSpc>
                <a:spcBef>
                  <a:spcPts val="0"/>
                </a:spcBef>
                <a:spcAft>
                  <a:spcPts val="0"/>
                </a:spcAft>
                <a:buClrTx/>
                <a:buSzTx/>
                <a:buFontTx/>
                <a:buNone/>
                <a:tabLst/>
                <a:defRPr/>
              </a:pPr>
              <a:r>
                <a:rPr lang="en-GB" sz="1000" b="1" dirty="0">
                  <a:solidFill>
                    <a:prstClr val="black"/>
                  </a:solidFill>
                  <a:latin typeface="+mn-lt"/>
                  <a:ea typeface="Open Sans Light" panose="020B0306030504020204" pitchFamily="34" charset="0"/>
                  <a:cs typeface="Open Sans Light" panose="020B0306030504020204" pitchFamily="34" charset="0"/>
                </a:rPr>
                <a:t>Director</a:t>
              </a:r>
              <a:endParaRPr kumimoji="0" lang="en-GB" sz="1000" b="1"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endParaRPr>
            </a:p>
          </p:txBody>
        </p:sp>
        <p:sp>
          <p:nvSpPr>
            <p:cNvPr id="32" name="Text Box 10">
              <a:extLst>
                <a:ext uri="{FF2B5EF4-FFF2-40B4-BE49-F238E27FC236}">
                  <a16:creationId xmlns:a16="http://schemas.microsoft.com/office/drawing/2014/main" id="{DF40F458-E87C-8608-FDC4-85E6BD85ADDE}"/>
                </a:ext>
              </a:extLst>
            </p:cNvPr>
            <p:cNvSpPr txBox="1">
              <a:spLocks noChangeArrowheads="1"/>
            </p:cNvSpPr>
            <p:nvPr/>
          </p:nvSpPr>
          <p:spPr bwMode="auto">
            <a:xfrm>
              <a:off x="3115206" y="2779812"/>
              <a:ext cx="1700784" cy="274320"/>
            </a:xfrm>
            <a:prstGeom prst="rect">
              <a:avLst/>
            </a:prstGeom>
            <a:solidFill>
              <a:sysClr val="windowText" lastClr="000000"/>
            </a:solidFill>
            <a:ln w="12700" algn="ctr">
              <a:noFill/>
              <a:miter lim="800000"/>
              <a:headEnd/>
              <a:tailEnd type="none" w="sm" len="med"/>
            </a:ln>
          </p:spPr>
          <p:txBody>
            <a:bodyPr lIns="35727" tIns="35727" rIns="35727" bIns="35727" anchor="ctr" anchorCtr="1"/>
            <a:lstStyle/>
            <a:p>
              <a:pPr marL="0" marR="0" lvl="0" indent="0" algn="ctr" defTabSz="949615" rtl="0" eaLnBrk="1" fontAlgn="auto" latinLnBrk="0" hangingPunct="0">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sym typeface="Open Sans Light"/>
                </a:rPr>
                <a:t>Engagement Leader</a:t>
              </a:r>
            </a:p>
          </p:txBody>
        </p:sp>
      </p:grpSp>
      <p:grpSp>
        <p:nvGrpSpPr>
          <p:cNvPr id="33" name="Group 32">
            <a:extLst>
              <a:ext uri="{FF2B5EF4-FFF2-40B4-BE49-F238E27FC236}">
                <a16:creationId xmlns:a16="http://schemas.microsoft.com/office/drawing/2014/main" id="{1F915F29-60A5-6DB9-F3EB-9FC3AFCFEC9A}"/>
              </a:ext>
            </a:extLst>
          </p:cNvPr>
          <p:cNvGrpSpPr/>
          <p:nvPr/>
        </p:nvGrpSpPr>
        <p:grpSpPr>
          <a:xfrm>
            <a:off x="1229882" y="2918046"/>
            <a:ext cx="1649699" cy="797523"/>
            <a:chOff x="3115206" y="2779813"/>
            <a:chExt cx="1700784" cy="851042"/>
          </a:xfrm>
        </p:grpSpPr>
        <p:sp>
          <p:nvSpPr>
            <p:cNvPr id="34" name="Rectangle 33">
              <a:extLst>
                <a:ext uri="{FF2B5EF4-FFF2-40B4-BE49-F238E27FC236}">
                  <a16:creationId xmlns:a16="http://schemas.microsoft.com/office/drawing/2014/main" id="{4D62FD28-571E-CB2C-B195-7BA2E02A9D6F}"/>
                </a:ext>
              </a:extLst>
            </p:cNvPr>
            <p:cNvSpPr>
              <a:spLocks noChangeArrowheads="1"/>
            </p:cNvSpPr>
            <p:nvPr/>
          </p:nvSpPr>
          <p:spPr bwMode="auto">
            <a:xfrm>
              <a:off x="3115206" y="3054133"/>
              <a:ext cx="1700784" cy="576722"/>
            </a:xfrm>
            <a:prstGeom prst="rect">
              <a:avLst/>
            </a:prstGeom>
            <a:solidFill>
              <a:sysClr val="window" lastClr="FFFFFF">
                <a:lumMod val="95000"/>
              </a:sysClr>
            </a:solidFill>
            <a:ln w="12700" algn="ctr">
              <a:noFill/>
              <a:miter lim="800000"/>
              <a:headEnd/>
              <a:tailEnd/>
            </a:ln>
          </p:spPr>
          <p:txBody>
            <a:bodyPr lIns="35727" tIns="35727" rIns="35727" bIns="35727" anchor="ctr"/>
            <a:lstStyle/>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Arsalan Yousuf</a:t>
              </a:r>
            </a:p>
            <a:p>
              <a:pPr marL="0" marR="0" lvl="0" indent="0" algn="ctr" defTabSz="907373" rtl="0" eaLnBrk="1" fontAlgn="auto" latinLnBrk="0" hangingPunct="0">
                <a:lnSpc>
                  <a:spcPct val="110000"/>
                </a:lnSpc>
                <a:spcBef>
                  <a:spcPts val="0"/>
                </a:spcBef>
                <a:spcAft>
                  <a:spcPts val="0"/>
                </a:spcAft>
                <a:buClrTx/>
                <a:buSzTx/>
                <a:buFontTx/>
                <a:buNone/>
                <a:tabLst/>
                <a:defRPr/>
              </a:pPr>
              <a:r>
                <a:rPr lang="en-GB" sz="1000" b="1" dirty="0">
                  <a:solidFill>
                    <a:prstClr val="black"/>
                  </a:solidFill>
                  <a:latin typeface="+mn-lt"/>
                  <a:ea typeface="Open Sans Light" panose="020B0306030504020204" pitchFamily="34" charset="0"/>
                  <a:cs typeface="Open Sans Light" panose="020B0306030504020204" pitchFamily="34" charset="0"/>
                </a:rPr>
                <a:t>Director</a:t>
              </a:r>
              <a:endParaRPr kumimoji="0" lang="en-GB" sz="1000" b="1"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endParaRPr>
            </a:p>
          </p:txBody>
        </p:sp>
        <p:sp>
          <p:nvSpPr>
            <p:cNvPr id="35" name="Text Box 10">
              <a:extLst>
                <a:ext uri="{FF2B5EF4-FFF2-40B4-BE49-F238E27FC236}">
                  <a16:creationId xmlns:a16="http://schemas.microsoft.com/office/drawing/2014/main" id="{0DB803F1-C1B9-F40A-F6E6-0C16EBBF01A4}"/>
                </a:ext>
              </a:extLst>
            </p:cNvPr>
            <p:cNvSpPr txBox="1">
              <a:spLocks noChangeArrowheads="1"/>
            </p:cNvSpPr>
            <p:nvPr/>
          </p:nvSpPr>
          <p:spPr bwMode="auto">
            <a:xfrm>
              <a:off x="3115206" y="2779813"/>
              <a:ext cx="1700784" cy="274320"/>
            </a:xfrm>
            <a:prstGeom prst="rect">
              <a:avLst/>
            </a:prstGeom>
            <a:solidFill>
              <a:sysClr val="windowText" lastClr="000000"/>
            </a:solidFill>
            <a:ln w="12700" algn="ctr">
              <a:noFill/>
              <a:miter lim="800000"/>
              <a:headEnd/>
              <a:tailEnd type="none" w="sm" len="med"/>
            </a:ln>
          </p:spPr>
          <p:txBody>
            <a:bodyPr lIns="35727" tIns="35727" rIns="35727" bIns="35727" anchor="ctr" anchorCtr="1"/>
            <a:lstStyle/>
            <a:p>
              <a:pPr marL="0" marR="0" lvl="0" indent="0" algn="ctr" defTabSz="949615" rtl="0" eaLnBrk="1" fontAlgn="auto" latinLnBrk="0" hangingPunct="0">
                <a:lnSpc>
                  <a:spcPct val="11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mn-lt"/>
                  <a:ea typeface="Open Sans Light" panose="020B0306030504020204" pitchFamily="34" charset="0"/>
                  <a:cs typeface="Open Sans Light" panose="020B0306030504020204" pitchFamily="34" charset="0"/>
                  <a:sym typeface="Open Sans Light"/>
                </a:rPr>
                <a:t>Subject Matter Expert</a:t>
              </a:r>
            </a:p>
          </p:txBody>
        </p:sp>
      </p:grpSp>
      <p:grpSp>
        <p:nvGrpSpPr>
          <p:cNvPr id="36" name="Group 35">
            <a:extLst>
              <a:ext uri="{FF2B5EF4-FFF2-40B4-BE49-F238E27FC236}">
                <a16:creationId xmlns:a16="http://schemas.microsoft.com/office/drawing/2014/main" id="{64A11BBC-E3B1-C759-6075-0A899D28B68F}"/>
              </a:ext>
            </a:extLst>
          </p:cNvPr>
          <p:cNvGrpSpPr/>
          <p:nvPr/>
        </p:nvGrpSpPr>
        <p:grpSpPr>
          <a:xfrm>
            <a:off x="6012982" y="2904420"/>
            <a:ext cx="1649699" cy="797524"/>
            <a:chOff x="3115206" y="2779812"/>
            <a:chExt cx="1700784" cy="851043"/>
          </a:xfrm>
        </p:grpSpPr>
        <p:sp>
          <p:nvSpPr>
            <p:cNvPr id="37" name="Rectangle 36">
              <a:extLst>
                <a:ext uri="{FF2B5EF4-FFF2-40B4-BE49-F238E27FC236}">
                  <a16:creationId xmlns:a16="http://schemas.microsoft.com/office/drawing/2014/main" id="{F37D77EF-4DB8-F167-B83B-E52FD757D243}"/>
                </a:ext>
              </a:extLst>
            </p:cNvPr>
            <p:cNvSpPr>
              <a:spLocks noChangeArrowheads="1"/>
            </p:cNvSpPr>
            <p:nvPr/>
          </p:nvSpPr>
          <p:spPr bwMode="auto">
            <a:xfrm>
              <a:off x="3115206" y="3054133"/>
              <a:ext cx="1700784" cy="576722"/>
            </a:xfrm>
            <a:prstGeom prst="rect">
              <a:avLst/>
            </a:prstGeom>
            <a:solidFill>
              <a:sysClr val="window" lastClr="FFFFFF">
                <a:lumMod val="95000"/>
              </a:sysClr>
            </a:solidFill>
            <a:ln w="12700" algn="ctr">
              <a:noFill/>
              <a:miter lim="800000"/>
              <a:headEnd/>
              <a:tailEnd/>
            </a:ln>
          </p:spPr>
          <p:txBody>
            <a:bodyPr lIns="35727" tIns="35727" rIns="35727" bIns="35727" anchor="ctr"/>
            <a:lstStyle/>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Syed Waqi Hasan</a:t>
              </a:r>
            </a:p>
            <a:p>
              <a:pPr marL="0" marR="0" lvl="0" indent="0" algn="ctr" defTabSz="907373" rtl="0" eaLnBrk="1" fontAlgn="auto" latinLnBrk="0" hangingPunct="0">
                <a:lnSpc>
                  <a:spcPct val="110000"/>
                </a:lnSpc>
                <a:spcBef>
                  <a:spcPts val="0"/>
                </a:spcBef>
                <a:spcAft>
                  <a:spcPts val="0"/>
                </a:spcAft>
                <a:buClrTx/>
                <a:buSzTx/>
                <a:buFontTx/>
                <a:buNone/>
                <a:tabLst/>
                <a:defRPr/>
              </a:pPr>
              <a:r>
                <a:rPr lang="en-GB" sz="1000" b="1" dirty="0">
                  <a:solidFill>
                    <a:prstClr val="black"/>
                  </a:solidFill>
                  <a:latin typeface="+mn-lt"/>
                  <a:ea typeface="Open Sans Light" panose="020B0306030504020204" pitchFamily="34" charset="0"/>
                  <a:cs typeface="Open Sans Light" panose="020B0306030504020204" pitchFamily="34" charset="0"/>
                </a:rPr>
                <a:t>Senior</a:t>
              </a:r>
              <a:r>
                <a:rPr kumimoji="0" lang="en-GB" sz="1000" b="1"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 Manager</a:t>
              </a:r>
            </a:p>
          </p:txBody>
        </p:sp>
        <p:sp>
          <p:nvSpPr>
            <p:cNvPr id="38" name="Text Box 10">
              <a:extLst>
                <a:ext uri="{FF2B5EF4-FFF2-40B4-BE49-F238E27FC236}">
                  <a16:creationId xmlns:a16="http://schemas.microsoft.com/office/drawing/2014/main" id="{AE23089C-AEC8-230D-A6DB-E8F9269FEBCD}"/>
                </a:ext>
              </a:extLst>
            </p:cNvPr>
            <p:cNvSpPr txBox="1">
              <a:spLocks noChangeArrowheads="1"/>
            </p:cNvSpPr>
            <p:nvPr/>
          </p:nvSpPr>
          <p:spPr bwMode="auto">
            <a:xfrm>
              <a:off x="3115206" y="2779812"/>
              <a:ext cx="1700784" cy="274320"/>
            </a:xfrm>
            <a:prstGeom prst="rect">
              <a:avLst/>
            </a:prstGeom>
            <a:solidFill>
              <a:sysClr val="windowText" lastClr="000000"/>
            </a:solidFill>
            <a:ln w="12700" algn="ctr">
              <a:noFill/>
              <a:miter lim="800000"/>
              <a:headEnd/>
              <a:tailEnd type="none" w="sm" len="med"/>
            </a:ln>
          </p:spPr>
          <p:txBody>
            <a:bodyPr lIns="35727" tIns="35727" rIns="35727" bIns="35727" anchor="ctr" anchorCtr="1"/>
            <a:lstStyle/>
            <a:p>
              <a:pPr marL="0" marR="0" lvl="0" indent="0" algn="ctr" defTabSz="949615" rtl="0" eaLnBrk="1" fontAlgn="auto" latinLnBrk="0" hangingPunct="0">
                <a:lnSpc>
                  <a:spcPct val="11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mn-lt"/>
                  <a:ea typeface="Open Sans Light" panose="020B0306030504020204" pitchFamily="34" charset="0"/>
                  <a:cs typeface="Open Sans Light" panose="020B0306030504020204" pitchFamily="34" charset="0"/>
                  <a:sym typeface="Open Sans Light"/>
                </a:rPr>
                <a:t>Subject Matter Expert</a:t>
              </a:r>
            </a:p>
          </p:txBody>
        </p:sp>
      </p:grpSp>
      <p:grpSp>
        <p:nvGrpSpPr>
          <p:cNvPr id="8" name="Group 7">
            <a:extLst>
              <a:ext uri="{FF2B5EF4-FFF2-40B4-BE49-F238E27FC236}">
                <a16:creationId xmlns:a16="http://schemas.microsoft.com/office/drawing/2014/main" id="{4DE3465D-8970-BC97-00A5-B69C2D76728E}"/>
              </a:ext>
            </a:extLst>
          </p:cNvPr>
          <p:cNvGrpSpPr/>
          <p:nvPr/>
        </p:nvGrpSpPr>
        <p:grpSpPr>
          <a:xfrm>
            <a:off x="3621432" y="2918515"/>
            <a:ext cx="1649699" cy="797523"/>
            <a:chOff x="3115206" y="2779813"/>
            <a:chExt cx="1700784" cy="851042"/>
          </a:xfrm>
        </p:grpSpPr>
        <p:sp>
          <p:nvSpPr>
            <p:cNvPr id="18" name="Rectangle 17">
              <a:extLst>
                <a:ext uri="{FF2B5EF4-FFF2-40B4-BE49-F238E27FC236}">
                  <a16:creationId xmlns:a16="http://schemas.microsoft.com/office/drawing/2014/main" id="{84D4BD23-9F91-713C-2860-2FB7111058A0}"/>
                </a:ext>
              </a:extLst>
            </p:cNvPr>
            <p:cNvSpPr>
              <a:spLocks noChangeArrowheads="1"/>
            </p:cNvSpPr>
            <p:nvPr/>
          </p:nvSpPr>
          <p:spPr bwMode="auto">
            <a:xfrm>
              <a:off x="3115206" y="3054133"/>
              <a:ext cx="1700784" cy="576722"/>
            </a:xfrm>
            <a:prstGeom prst="rect">
              <a:avLst/>
            </a:prstGeom>
            <a:solidFill>
              <a:sysClr val="window" lastClr="FFFFFF">
                <a:lumMod val="95000"/>
              </a:sysClr>
            </a:solidFill>
            <a:ln w="12700" algn="ctr">
              <a:noFill/>
              <a:miter lim="800000"/>
              <a:headEnd/>
              <a:tailEnd/>
            </a:ln>
          </p:spPr>
          <p:txBody>
            <a:bodyPr lIns="35727" tIns="35727" rIns="35727" bIns="35727" anchor="ctr"/>
            <a:lstStyle/>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Esam Shana’a</a:t>
              </a:r>
            </a:p>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1"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Senior Manager</a:t>
              </a:r>
            </a:p>
          </p:txBody>
        </p:sp>
        <p:sp>
          <p:nvSpPr>
            <p:cNvPr id="19" name="Text Box 10">
              <a:extLst>
                <a:ext uri="{FF2B5EF4-FFF2-40B4-BE49-F238E27FC236}">
                  <a16:creationId xmlns:a16="http://schemas.microsoft.com/office/drawing/2014/main" id="{6EA2233B-1AE2-79A3-3AFA-638F58548468}"/>
                </a:ext>
              </a:extLst>
            </p:cNvPr>
            <p:cNvSpPr txBox="1">
              <a:spLocks noChangeArrowheads="1"/>
            </p:cNvSpPr>
            <p:nvPr/>
          </p:nvSpPr>
          <p:spPr bwMode="auto">
            <a:xfrm>
              <a:off x="3115206" y="2779813"/>
              <a:ext cx="1700784" cy="274320"/>
            </a:xfrm>
            <a:prstGeom prst="rect">
              <a:avLst/>
            </a:prstGeom>
            <a:solidFill>
              <a:sysClr val="windowText" lastClr="000000"/>
            </a:solidFill>
            <a:ln w="12700" algn="ctr">
              <a:noFill/>
              <a:miter lim="800000"/>
              <a:headEnd/>
              <a:tailEnd type="none" w="sm" len="med"/>
            </a:ln>
          </p:spPr>
          <p:txBody>
            <a:bodyPr lIns="35727" tIns="35727" rIns="35727" bIns="35727" anchor="ctr" anchorCtr="1"/>
            <a:lstStyle/>
            <a:p>
              <a:pPr marL="0" marR="0" lvl="0" indent="0" algn="ctr" defTabSz="949615" rtl="0" eaLnBrk="1" fontAlgn="auto" latinLnBrk="0" hangingPunct="0">
                <a:lnSpc>
                  <a:spcPct val="11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mn-lt"/>
                  <a:ea typeface="Open Sans Light" panose="020B0306030504020204" pitchFamily="34" charset="0"/>
                  <a:cs typeface="Open Sans Light" panose="020B0306030504020204" pitchFamily="34" charset="0"/>
                  <a:sym typeface="Open Sans Light"/>
                </a:rPr>
                <a:t>Engagement Manager</a:t>
              </a:r>
            </a:p>
          </p:txBody>
        </p:sp>
      </p:grpSp>
      <p:sp>
        <p:nvSpPr>
          <p:cNvPr id="21" name="Rectangle 20">
            <a:extLst>
              <a:ext uri="{FF2B5EF4-FFF2-40B4-BE49-F238E27FC236}">
                <a16:creationId xmlns:a16="http://schemas.microsoft.com/office/drawing/2014/main" id="{AECFE85C-6B00-CC95-86AA-FFCFBEF60451}"/>
              </a:ext>
            </a:extLst>
          </p:cNvPr>
          <p:cNvSpPr>
            <a:spLocks noChangeArrowheads="1"/>
          </p:cNvSpPr>
          <p:nvPr/>
        </p:nvSpPr>
        <p:spPr bwMode="auto">
          <a:xfrm>
            <a:off x="1580875" y="4612321"/>
            <a:ext cx="1649699" cy="540454"/>
          </a:xfrm>
          <a:prstGeom prst="rect">
            <a:avLst/>
          </a:prstGeom>
          <a:solidFill>
            <a:sysClr val="window" lastClr="FFFFFF">
              <a:lumMod val="95000"/>
            </a:sysClr>
          </a:solidFill>
          <a:ln w="12700" algn="ctr">
            <a:noFill/>
            <a:miter lim="800000"/>
            <a:headEnd/>
            <a:tailEnd/>
          </a:ln>
        </p:spPr>
        <p:txBody>
          <a:bodyPr lIns="35727" tIns="35727" rIns="35727" bIns="35727" anchor="ctr"/>
          <a:lstStyle/>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Varsha Sastry</a:t>
            </a:r>
          </a:p>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1"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Senior Consultant</a:t>
            </a:r>
          </a:p>
        </p:txBody>
      </p:sp>
      <p:sp>
        <p:nvSpPr>
          <p:cNvPr id="23" name="Rectangle 22">
            <a:extLst>
              <a:ext uri="{FF2B5EF4-FFF2-40B4-BE49-F238E27FC236}">
                <a16:creationId xmlns:a16="http://schemas.microsoft.com/office/drawing/2014/main" id="{AFDA9751-69E3-091A-9D32-6555CB329ADA}"/>
              </a:ext>
            </a:extLst>
          </p:cNvPr>
          <p:cNvSpPr>
            <a:spLocks noChangeArrowheads="1"/>
          </p:cNvSpPr>
          <p:nvPr/>
        </p:nvSpPr>
        <p:spPr bwMode="auto">
          <a:xfrm>
            <a:off x="3621432" y="4612321"/>
            <a:ext cx="1649699" cy="540454"/>
          </a:xfrm>
          <a:prstGeom prst="rect">
            <a:avLst/>
          </a:prstGeom>
          <a:solidFill>
            <a:sysClr val="window" lastClr="FFFFFF">
              <a:lumMod val="95000"/>
            </a:sysClr>
          </a:solidFill>
          <a:ln w="12700" algn="ctr">
            <a:noFill/>
            <a:miter lim="800000"/>
            <a:headEnd/>
            <a:tailEnd/>
          </a:ln>
        </p:spPr>
        <p:txBody>
          <a:bodyPr lIns="35727" tIns="35727" rIns="35727" bIns="35727" anchor="ctr"/>
          <a:lstStyle/>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Abdulrahman Almasri</a:t>
            </a:r>
          </a:p>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1"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Consultant</a:t>
            </a:r>
          </a:p>
        </p:txBody>
      </p:sp>
      <p:sp>
        <p:nvSpPr>
          <p:cNvPr id="24" name="Rectangle 23">
            <a:extLst>
              <a:ext uri="{FF2B5EF4-FFF2-40B4-BE49-F238E27FC236}">
                <a16:creationId xmlns:a16="http://schemas.microsoft.com/office/drawing/2014/main" id="{56EDF2F9-6048-0F31-B11D-098F6251AFDF}"/>
              </a:ext>
            </a:extLst>
          </p:cNvPr>
          <p:cNvSpPr>
            <a:spLocks noChangeArrowheads="1"/>
          </p:cNvSpPr>
          <p:nvPr/>
        </p:nvSpPr>
        <p:spPr bwMode="auto">
          <a:xfrm>
            <a:off x="5612804" y="4612321"/>
            <a:ext cx="1649699" cy="540454"/>
          </a:xfrm>
          <a:prstGeom prst="rect">
            <a:avLst/>
          </a:prstGeom>
          <a:solidFill>
            <a:sysClr val="window" lastClr="FFFFFF">
              <a:lumMod val="95000"/>
            </a:sysClr>
          </a:solidFill>
          <a:ln w="12700" algn="ctr">
            <a:noFill/>
            <a:miter lim="800000"/>
            <a:headEnd/>
            <a:tailEnd/>
          </a:ln>
        </p:spPr>
        <p:txBody>
          <a:bodyPr lIns="35727" tIns="35727" rIns="35727" bIns="35727" anchor="ctr"/>
          <a:lstStyle/>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Ibrahim Almoudaifer</a:t>
            </a:r>
          </a:p>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1"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Business Analyst</a:t>
            </a:r>
          </a:p>
        </p:txBody>
      </p:sp>
      <p:sp>
        <p:nvSpPr>
          <p:cNvPr id="25" name="Title 1">
            <a:extLst>
              <a:ext uri="{FF2B5EF4-FFF2-40B4-BE49-F238E27FC236}">
                <a16:creationId xmlns:a16="http://schemas.microsoft.com/office/drawing/2014/main" id="{3EF3AEC8-DA55-7A0B-21A8-98EA16B10F73}"/>
              </a:ext>
            </a:extLst>
          </p:cNvPr>
          <p:cNvSpPr txBox="1">
            <a:spLocks/>
          </p:cNvSpPr>
          <p:nvPr/>
        </p:nvSpPr>
        <p:spPr bwMode="gray">
          <a:xfrm>
            <a:off x="412436"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400" kern="1200">
                <a:solidFill>
                  <a:srgbClr val="86BC25"/>
                </a:solidFill>
                <a:latin typeface="+mj-lt"/>
                <a:ea typeface="Verdana" panose="020B0604030504040204" pitchFamily="34" charset="0"/>
                <a:cs typeface="Calibri" panose="020F0502020204030204" pitchFamily="34"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en-US" sz="2000" dirty="0">
                <a:solidFill>
                  <a:sysClr val="windowText" lastClr="000000"/>
                </a:solidFill>
                <a:latin typeface="+mn-lt"/>
                <a:ea typeface="Open Sans Semibold" panose="020B0706030804020204" pitchFamily="34" charset="0"/>
                <a:cs typeface="Open Sans Semibold" panose="020B0706030804020204" pitchFamily="34" charset="0"/>
              </a:rPr>
              <a:t>Executive Summary</a:t>
            </a:r>
            <a:endParaRPr kumimoji="0" lang="en-US" sz="2000" b="0" i="0" u="none" strike="noStrike" kern="1200" cap="none" spc="0" normalizeH="0" baseline="0" noProof="0" dirty="0">
              <a:ln>
                <a:noFill/>
              </a:ln>
              <a:solidFill>
                <a:sysClr val="windowText" lastClr="000000"/>
              </a:solidFill>
              <a:effectLst/>
              <a:uLnTx/>
              <a:uFillTx/>
              <a:latin typeface="+mn-lt"/>
              <a:ea typeface="Open Sans Semibold" panose="020B0706030804020204" pitchFamily="34" charset="0"/>
              <a:cs typeface="Open Sans Semibold" panose="020B0706030804020204" pitchFamily="34" charset="0"/>
              <a:sym typeface="Open Sans Light"/>
            </a:endParaRPr>
          </a:p>
        </p:txBody>
      </p:sp>
    </p:spTree>
    <p:extLst>
      <p:ext uri="{BB962C8B-B14F-4D97-AF65-F5344CB8AC3E}">
        <p14:creationId xmlns:p14="http://schemas.microsoft.com/office/powerpoint/2010/main" val="9630632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itle 1">
            <a:extLst>
              <a:ext uri="{FF2B5EF4-FFF2-40B4-BE49-F238E27FC236}">
                <a16:creationId xmlns:a16="http://schemas.microsoft.com/office/drawing/2014/main" id="{11F95CE4-70DC-4FF6-9740-A5C6EC6923E7}"/>
              </a:ext>
            </a:extLst>
          </p:cNvPr>
          <p:cNvSpPr txBox="1">
            <a:spLocks/>
          </p:cNvSpPr>
          <p:nvPr/>
        </p:nvSpPr>
        <p:spPr bwMode="gray">
          <a:xfrm>
            <a:off x="412436"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400" kern="1200">
                <a:solidFill>
                  <a:srgbClr val="86BC25"/>
                </a:solidFill>
                <a:latin typeface="+mj-lt"/>
                <a:ea typeface="Verdana" panose="020B0604030504040204" pitchFamily="34" charset="0"/>
                <a:cs typeface="Calibri" panose="020F0502020204030204" pitchFamily="34" charset="0"/>
              </a:defRPr>
            </a:lvl1pPr>
          </a:lstStyle>
          <a:p>
            <a:pPr defTabSz="914400"/>
            <a:r>
              <a:rPr lang="en-US" sz="2000" kern="0" dirty="0">
                <a:solidFill>
                  <a:schemeClr val="tx2">
                    <a:lumMod val="50000"/>
                  </a:schemeClr>
                </a:solidFill>
                <a:latin typeface="+mn-lt"/>
                <a:ea typeface="Open Sans Semibold" panose="020B0706030804020204" pitchFamily="34" charset="0"/>
                <a:cs typeface="Open Sans Semibold" panose="020B0706030804020204" pitchFamily="34" charset="0"/>
              </a:rPr>
              <a:t>Executive Summary</a:t>
            </a:r>
          </a:p>
        </p:txBody>
      </p:sp>
      <p:grpSp>
        <p:nvGrpSpPr>
          <p:cNvPr id="3" name="Group 2">
            <a:extLst>
              <a:ext uri="{FF2B5EF4-FFF2-40B4-BE49-F238E27FC236}">
                <a16:creationId xmlns:a16="http://schemas.microsoft.com/office/drawing/2014/main" id="{D85C541C-B788-31A6-B6C9-1E17B52060EE}"/>
              </a:ext>
            </a:extLst>
          </p:cNvPr>
          <p:cNvGrpSpPr/>
          <p:nvPr/>
        </p:nvGrpSpPr>
        <p:grpSpPr>
          <a:xfrm>
            <a:off x="806924" y="1682369"/>
            <a:ext cx="10176347" cy="4785996"/>
            <a:chOff x="836741" y="1387379"/>
            <a:chExt cx="10231816" cy="5049775"/>
          </a:xfrm>
        </p:grpSpPr>
        <p:sp>
          <p:nvSpPr>
            <p:cNvPr id="6" name="Rectangle 54">
              <a:extLst>
                <a:ext uri="{FF2B5EF4-FFF2-40B4-BE49-F238E27FC236}">
                  <a16:creationId xmlns:a16="http://schemas.microsoft.com/office/drawing/2014/main" id="{60740F1F-71BB-C6C0-B121-D264B6F1FB94}"/>
                </a:ext>
              </a:extLst>
            </p:cNvPr>
            <p:cNvSpPr/>
            <p:nvPr/>
          </p:nvSpPr>
          <p:spPr>
            <a:xfrm>
              <a:off x="8341617" y="3496697"/>
              <a:ext cx="1566229" cy="126694"/>
            </a:xfrm>
            <a:prstGeom prst="rect">
              <a:avLst/>
            </a:prstGeom>
          </p:spPr>
          <p:txBody>
            <a:bodyPr wrap="square" lIns="0" tIns="0" rIns="0" bIns="0">
              <a:spAutoFit/>
            </a:bodyPr>
            <a:lstStyle/>
            <a:p>
              <a:pPr algn="ctr" defTabSz="684429">
                <a:defRPr/>
              </a:pPr>
              <a:endParaRPr lang="en-US" sz="823" b="1" kern="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sym typeface="Open Sans Light"/>
              </a:endParaRPr>
            </a:p>
          </p:txBody>
        </p:sp>
        <p:pic>
          <p:nvPicPr>
            <p:cNvPr id="7" name="Picture 6" descr="\\Cagmasrv1\sso$\Gestion_Deloitte\Global_Brand\- Templates\Icons\Iconography Deloitte\Icon_Award_certificate_Blue.png">
              <a:extLst>
                <a:ext uri="{FF2B5EF4-FFF2-40B4-BE49-F238E27FC236}">
                  <a16:creationId xmlns:a16="http://schemas.microsoft.com/office/drawing/2014/main" id="{F3F70DC1-F1C4-BD82-DB62-2AFD267111F0}"/>
                </a:ext>
              </a:extLst>
            </p:cNvPr>
            <p:cNvPicPr>
              <a:picLocks noChangeAspect="1" noChangeArrowheads="1"/>
            </p:cNvPicPr>
            <p:nvPr/>
          </p:nvPicPr>
          <p:blipFill>
            <a:blip r:embed="rId2" cstate="email">
              <a:duotone>
                <a:prstClr val="black"/>
                <a:srgbClr val="3F8E31">
                  <a:tint val="45000"/>
                  <a:satMod val="400000"/>
                </a:srgbClr>
              </a:duotone>
              <a:extLst>
                <a:ext uri="{28A0092B-C50C-407E-A947-70E740481C1C}">
                  <a14:useLocalDpi xmlns:a14="http://schemas.microsoft.com/office/drawing/2010/main" val="0"/>
                </a:ext>
              </a:extLst>
            </a:blip>
            <a:srcRect/>
            <a:stretch>
              <a:fillRect/>
            </a:stretch>
          </p:blipFill>
          <p:spPr bwMode="auto">
            <a:xfrm>
              <a:off x="1782963" y="3698417"/>
              <a:ext cx="291854" cy="37834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030754DF-CC6B-9924-1696-479834BEF96A}"/>
                </a:ext>
              </a:extLst>
            </p:cNvPr>
            <p:cNvSpPr/>
            <p:nvPr/>
          </p:nvSpPr>
          <p:spPr>
            <a:xfrm>
              <a:off x="1013326" y="4125474"/>
              <a:ext cx="1851088" cy="584532"/>
            </a:xfrm>
            <a:prstGeom prst="rect">
              <a:avLst/>
            </a:prstGeom>
            <a:ln>
              <a:noFill/>
            </a:ln>
          </p:spPr>
          <p:txBody>
            <a:bodyPr wrap="square">
              <a:spAutoFit/>
            </a:bodyPr>
            <a:lstStyle/>
            <a:p>
              <a:pPr algn="ctr" defTabSz="744779" hangingPunct="1">
                <a:defRPr/>
              </a:pPr>
              <a:r>
                <a:rPr lang="en-US" sz="10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BCM Governance Framework and Policies and Procedures</a:t>
              </a:r>
            </a:p>
          </p:txBody>
        </p:sp>
        <p:pic>
          <p:nvPicPr>
            <p:cNvPr id="9" name="Picture 27" descr="C:\Users\jsauvageau\Desktop\7.png">
              <a:extLst>
                <a:ext uri="{FF2B5EF4-FFF2-40B4-BE49-F238E27FC236}">
                  <a16:creationId xmlns:a16="http://schemas.microsoft.com/office/drawing/2014/main" id="{37D44430-94D0-2A70-A0A5-3DD5B57B50B3}"/>
                </a:ext>
              </a:extLst>
            </p:cNvPr>
            <p:cNvPicPr>
              <a:picLocks noChangeAspect="1" noChangeArrowheads="1"/>
            </p:cNvPicPr>
            <p:nvPr/>
          </p:nvPicPr>
          <p:blipFill>
            <a:blip r:embed="rId3" cstate="email">
              <a:biLevel thresh="75000"/>
              <a:extLst>
                <a:ext uri="{28A0092B-C50C-407E-A947-70E740481C1C}">
                  <a14:useLocalDpi xmlns:a14="http://schemas.microsoft.com/office/drawing/2010/main" val="0"/>
                </a:ext>
              </a:extLst>
            </a:blip>
            <a:srcRect/>
            <a:stretch>
              <a:fillRect/>
            </a:stretch>
          </p:blipFill>
          <p:spPr bwMode="auto">
            <a:xfrm>
              <a:off x="8418436" y="3895915"/>
              <a:ext cx="284140" cy="31711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7956B72E-313F-418E-1B08-503D27937830}"/>
                </a:ext>
              </a:extLst>
            </p:cNvPr>
            <p:cNvSpPr/>
            <p:nvPr/>
          </p:nvSpPr>
          <p:spPr>
            <a:xfrm>
              <a:off x="7931511" y="4212176"/>
              <a:ext cx="1314362" cy="246221"/>
            </a:xfrm>
            <a:prstGeom prst="rect">
              <a:avLst/>
            </a:prstGeom>
            <a:ln>
              <a:noFill/>
            </a:ln>
          </p:spPr>
          <p:txBody>
            <a:bodyPr wrap="square">
              <a:spAutoFit/>
            </a:bodyPr>
            <a:lstStyle/>
            <a:p>
              <a:pPr algn="ctr" defTabSz="744779" hangingPunct="1">
                <a:defRPr/>
              </a:pPr>
              <a:r>
                <a:rPr lang="en-US" sz="1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wareness</a:t>
              </a:r>
            </a:p>
          </p:txBody>
        </p:sp>
        <p:pic>
          <p:nvPicPr>
            <p:cNvPr id="11" name="Picture 10" descr="C:\Users\jsauvageau\Desktop\1.png">
              <a:extLst>
                <a:ext uri="{FF2B5EF4-FFF2-40B4-BE49-F238E27FC236}">
                  <a16:creationId xmlns:a16="http://schemas.microsoft.com/office/drawing/2014/main" id="{60EB5D9C-A6BD-ECC0-3B93-B67E086BAF41}"/>
                </a:ext>
              </a:extLst>
            </p:cNvPr>
            <p:cNvPicPr>
              <a:picLocks noChangeAspect="1" noChangeArrowheads="1"/>
            </p:cNvPicPr>
            <p:nvPr/>
          </p:nvPicPr>
          <p:blipFill>
            <a:blip r:embed="rId4" cstate="email">
              <a:biLevel thresh="75000"/>
              <a:extLst>
                <a:ext uri="{28A0092B-C50C-407E-A947-70E740481C1C}">
                  <a14:useLocalDpi xmlns:a14="http://schemas.microsoft.com/office/drawing/2010/main" val="0"/>
                </a:ext>
              </a:extLst>
            </a:blip>
            <a:srcRect/>
            <a:stretch>
              <a:fillRect/>
            </a:stretch>
          </p:blipFill>
          <p:spPr bwMode="auto">
            <a:xfrm>
              <a:off x="1782963" y="2567800"/>
              <a:ext cx="291854" cy="37127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223B5BB8-94F8-FCF2-D976-85264D0C254D}"/>
                </a:ext>
              </a:extLst>
            </p:cNvPr>
            <p:cNvSpPr/>
            <p:nvPr/>
          </p:nvSpPr>
          <p:spPr>
            <a:xfrm>
              <a:off x="1220656" y="2987557"/>
              <a:ext cx="1416467" cy="400110"/>
            </a:xfrm>
            <a:prstGeom prst="rect">
              <a:avLst/>
            </a:prstGeom>
            <a:ln>
              <a:noFill/>
            </a:ln>
          </p:spPr>
          <p:txBody>
            <a:bodyPr wrap="square">
              <a:spAutoFit/>
            </a:bodyPr>
            <a:lstStyle/>
            <a:p>
              <a:pPr algn="ctr" defTabSz="744779" hangingPunct="1">
                <a:defRPr/>
              </a:pPr>
              <a:r>
                <a:rPr lang="en-US" sz="10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Business Understanding</a:t>
              </a:r>
            </a:p>
          </p:txBody>
        </p:sp>
        <p:pic>
          <p:nvPicPr>
            <p:cNvPr id="13" name="Picture 2" descr="\\Cagmasrv1\sso$\Gestion_Deloitte\Global_Brand\- Templates\Icons\Iconography Deloitte\Icon_Magnifying_glass_Green.png">
              <a:extLst>
                <a:ext uri="{FF2B5EF4-FFF2-40B4-BE49-F238E27FC236}">
                  <a16:creationId xmlns:a16="http://schemas.microsoft.com/office/drawing/2014/main" id="{FCD969CB-90BF-C243-1885-E701A24B0F9B}"/>
                </a:ext>
              </a:extLst>
            </p:cNvPr>
            <p:cNvPicPr>
              <a:picLocks noChangeAspect="1" noChangeArrowheads="1"/>
            </p:cNvPicPr>
            <p:nvPr/>
          </p:nvPicPr>
          <p:blipFill>
            <a:blip r:embed="rId5" cstate="email">
              <a:biLevel thresh="50000"/>
              <a:extLst>
                <a:ext uri="{28A0092B-C50C-407E-A947-70E740481C1C}">
                  <a14:useLocalDpi xmlns:a14="http://schemas.microsoft.com/office/drawing/2010/main" val="0"/>
                </a:ext>
              </a:extLst>
            </a:blip>
            <a:srcRect/>
            <a:stretch>
              <a:fillRect/>
            </a:stretch>
          </p:blipFill>
          <p:spPr bwMode="auto">
            <a:xfrm>
              <a:off x="3703752" y="2623105"/>
              <a:ext cx="216959" cy="25529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5F8AD5A-03C2-F1CD-D9BA-49D90366193C}"/>
                </a:ext>
              </a:extLst>
            </p:cNvPr>
            <p:cNvSpPr/>
            <p:nvPr/>
          </p:nvSpPr>
          <p:spPr>
            <a:xfrm>
              <a:off x="3233071" y="2863722"/>
              <a:ext cx="1158322" cy="400110"/>
            </a:xfrm>
            <a:prstGeom prst="rect">
              <a:avLst/>
            </a:prstGeom>
            <a:ln>
              <a:noFill/>
            </a:ln>
          </p:spPr>
          <p:txBody>
            <a:bodyPr wrap="square">
              <a:spAutoFit/>
            </a:bodyPr>
            <a:lstStyle/>
            <a:p>
              <a:pPr algn="ctr" defTabSz="744779" hangingPunct="1">
                <a:defRPr/>
              </a:pPr>
              <a:r>
                <a:rPr lang="en-US" sz="10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Business Impact Analysis (BIA)</a:t>
              </a:r>
            </a:p>
          </p:txBody>
        </p:sp>
        <p:pic>
          <p:nvPicPr>
            <p:cNvPr id="17" name="Picture 15" descr="C:\Users\jsauvageau\Desktop\8.png">
              <a:extLst>
                <a:ext uri="{FF2B5EF4-FFF2-40B4-BE49-F238E27FC236}">
                  <a16:creationId xmlns:a16="http://schemas.microsoft.com/office/drawing/2014/main" id="{876345F4-5285-D583-DD03-D658AA326BED}"/>
                </a:ext>
              </a:extLst>
            </p:cNvPr>
            <p:cNvPicPr>
              <a:picLocks noChangeAspect="1" noChangeArrowheads="1"/>
            </p:cNvPicPr>
            <p:nvPr/>
          </p:nvPicPr>
          <p:blipFill>
            <a:blip r:embed="rId6" cstate="email">
              <a:biLevel thresh="75000"/>
              <a:extLst>
                <a:ext uri="{28A0092B-C50C-407E-A947-70E740481C1C}">
                  <a14:useLocalDpi xmlns:a14="http://schemas.microsoft.com/office/drawing/2010/main" val="0"/>
                </a:ext>
              </a:extLst>
            </a:blip>
            <a:srcRect/>
            <a:stretch>
              <a:fillRect/>
            </a:stretch>
          </p:blipFill>
          <p:spPr bwMode="auto">
            <a:xfrm>
              <a:off x="5321087" y="3813567"/>
              <a:ext cx="353143" cy="28895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F13D0CDE-A0E6-4E46-C2E4-FF8FFFB8FECB}"/>
                </a:ext>
              </a:extLst>
            </p:cNvPr>
            <p:cNvSpPr/>
            <p:nvPr/>
          </p:nvSpPr>
          <p:spPr>
            <a:xfrm>
              <a:off x="4923846" y="4137245"/>
              <a:ext cx="1147625" cy="400110"/>
            </a:xfrm>
            <a:prstGeom prst="rect">
              <a:avLst/>
            </a:prstGeom>
            <a:ln>
              <a:noFill/>
            </a:ln>
          </p:spPr>
          <p:txBody>
            <a:bodyPr wrap="square">
              <a:spAutoFit/>
            </a:bodyPr>
            <a:lstStyle/>
            <a:p>
              <a:pPr algn="ctr" defTabSz="744779" hangingPunct="1">
                <a:defRPr/>
              </a:pPr>
              <a:r>
                <a:rPr lang="en-US" sz="10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Recovery Strategies</a:t>
              </a:r>
            </a:p>
          </p:txBody>
        </p:sp>
        <p:sp>
          <p:nvSpPr>
            <p:cNvPr id="19" name="Rectangle 18">
              <a:extLst>
                <a:ext uri="{FF2B5EF4-FFF2-40B4-BE49-F238E27FC236}">
                  <a16:creationId xmlns:a16="http://schemas.microsoft.com/office/drawing/2014/main" id="{DA62D8E2-C235-6621-7F84-C3776DB647F2}"/>
                </a:ext>
              </a:extLst>
            </p:cNvPr>
            <p:cNvSpPr/>
            <p:nvPr/>
          </p:nvSpPr>
          <p:spPr>
            <a:xfrm>
              <a:off x="6274734" y="2984696"/>
              <a:ext cx="1343310" cy="553998"/>
            </a:xfrm>
            <a:prstGeom prst="rect">
              <a:avLst/>
            </a:prstGeom>
            <a:ln>
              <a:noFill/>
            </a:ln>
          </p:spPr>
          <p:txBody>
            <a:bodyPr wrap="square">
              <a:spAutoFit/>
            </a:bodyPr>
            <a:lstStyle/>
            <a:p>
              <a:pPr algn="ctr" defTabSz="744779" hangingPunct="1">
                <a:defRPr/>
              </a:pPr>
              <a:r>
                <a:rPr lang="en-US" sz="1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risis Management &amp; Communication Plan (CMP)</a:t>
              </a:r>
            </a:p>
          </p:txBody>
        </p:sp>
        <p:pic>
          <p:nvPicPr>
            <p:cNvPr id="20" name="Picture 26" descr="C:\Users\jsauvageau\Desktop\8.png">
              <a:extLst>
                <a:ext uri="{FF2B5EF4-FFF2-40B4-BE49-F238E27FC236}">
                  <a16:creationId xmlns:a16="http://schemas.microsoft.com/office/drawing/2014/main" id="{6D46738C-1882-0A4B-02B7-F2A319343D73}"/>
                </a:ext>
              </a:extLst>
            </p:cNvPr>
            <p:cNvPicPr>
              <a:picLocks noChangeAspect="1" noChangeArrowheads="1"/>
            </p:cNvPicPr>
            <p:nvPr/>
          </p:nvPicPr>
          <p:blipFill>
            <a:blip r:embed="rId7" cstate="email">
              <a:biLevel thresh="75000"/>
              <a:extLst>
                <a:ext uri="{28A0092B-C50C-407E-A947-70E740481C1C}">
                  <a14:useLocalDpi xmlns:a14="http://schemas.microsoft.com/office/drawing/2010/main" val="0"/>
                </a:ext>
              </a:extLst>
            </a:blip>
            <a:srcRect/>
            <a:stretch>
              <a:fillRect/>
            </a:stretch>
          </p:blipFill>
          <p:spPr bwMode="auto">
            <a:xfrm>
              <a:off x="6803150" y="3928202"/>
              <a:ext cx="286477" cy="31972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FD1FD675-1DE2-541C-410F-44C6EF408B5D}"/>
                </a:ext>
              </a:extLst>
            </p:cNvPr>
            <p:cNvSpPr/>
            <p:nvPr/>
          </p:nvSpPr>
          <p:spPr>
            <a:xfrm>
              <a:off x="6302576" y="4313942"/>
              <a:ext cx="1302076" cy="400110"/>
            </a:xfrm>
            <a:prstGeom prst="rect">
              <a:avLst/>
            </a:prstGeom>
            <a:ln>
              <a:noFill/>
            </a:ln>
          </p:spPr>
          <p:txBody>
            <a:bodyPr wrap="square">
              <a:spAutoFit/>
            </a:bodyPr>
            <a:lstStyle/>
            <a:p>
              <a:pPr algn="ctr" defTabSz="744779" hangingPunct="1">
                <a:defRPr/>
              </a:pPr>
              <a:r>
                <a:rPr lang="en-US" sz="10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Business Continuity Plans (BCP)</a:t>
              </a:r>
            </a:p>
          </p:txBody>
        </p:sp>
        <p:pic>
          <p:nvPicPr>
            <p:cNvPr id="22" name="Picture 21" descr="C:\Users\jsauvageau\Desktop\3.png">
              <a:extLst>
                <a:ext uri="{FF2B5EF4-FFF2-40B4-BE49-F238E27FC236}">
                  <a16:creationId xmlns:a16="http://schemas.microsoft.com/office/drawing/2014/main" id="{42C4DD10-4B6E-CB80-7AAA-511840ACD613}"/>
                </a:ext>
              </a:extLst>
            </p:cNvPr>
            <p:cNvPicPr>
              <a:picLocks noChangeAspect="1" noChangeArrowheads="1"/>
            </p:cNvPicPr>
            <p:nvPr/>
          </p:nvPicPr>
          <p:blipFill>
            <a:blip r:embed="rId8" cstate="email">
              <a:biLevel thresh="75000"/>
              <a:extLst>
                <a:ext uri="{28A0092B-C50C-407E-A947-70E740481C1C}">
                  <a14:useLocalDpi xmlns:a14="http://schemas.microsoft.com/office/drawing/2010/main" val="0"/>
                </a:ext>
              </a:extLst>
            </a:blip>
            <a:srcRect/>
            <a:stretch>
              <a:fillRect/>
            </a:stretch>
          </p:blipFill>
          <p:spPr bwMode="auto">
            <a:xfrm>
              <a:off x="8412785" y="4712685"/>
              <a:ext cx="353143" cy="39626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3" name="Picture 2" descr="\\Cagmasrv1\sso$\Gestion_Deloitte\Global_Brand\- Templates\Icons\Iconography Deloitte\Icon_People_group_Blue.png">
              <a:extLst>
                <a:ext uri="{FF2B5EF4-FFF2-40B4-BE49-F238E27FC236}">
                  <a16:creationId xmlns:a16="http://schemas.microsoft.com/office/drawing/2014/main" id="{249DDD90-3C74-B586-2E1B-AD32D20BE07C}"/>
                </a:ext>
              </a:extLst>
            </p:cNvPr>
            <p:cNvPicPr>
              <a:picLocks noChangeAspect="1" noChangeArrowheads="1"/>
            </p:cNvPicPr>
            <p:nvPr/>
          </p:nvPicPr>
          <p:blipFill>
            <a:blip r:embed="rId9" cstate="email">
              <a:duotone>
                <a:prstClr val="black"/>
                <a:srgbClr val="3F8E31">
                  <a:tint val="45000"/>
                  <a:satMod val="400000"/>
                </a:srgbClr>
              </a:duotone>
              <a:extLst>
                <a:ext uri="{28A0092B-C50C-407E-A947-70E740481C1C}">
                  <a14:useLocalDpi xmlns:a14="http://schemas.microsoft.com/office/drawing/2010/main" val="0"/>
                </a:ext>
              </a:extLst>
            </a:blip>
            <a:srcRect/>
            <a:stretch>
              <a:fillRect/>
            </a:stretch>
          </p:blipFill>
          <p:spPr bwMode="auto">
            <a:xfrm>
              <a:off x="8397259" y="3105476"/>
              <a:ext cx="353143" cy="28417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FF27EEE5-B0CA-5595-3E1C-93965B9BC159}"/>
                </a:ext>
              </a:extLst>
            </p:cNvPr>
            <p:cNvSpPr/>
            <p:nvPr/>
          </p:nvSpPr>
          <p:spPr>
            <a:xfrm>
              <a:off x="8148232" y="3359683"/>
              <a:ext cx="857154" cy="246221"/>
            </a:xfrm>
            <a:prstGeom prst="rect">
              <a:avLst/>
            </a:prstGeom>
            <a:ln>
              <a:noFill/>
            </a:ln>
          </p:spPr>
          <p:txBody>
            <a:bodyPr wrap="square">
              <a:spAutoFit/>
            </a:bodyPr>
            <a:lstStyle/>
            <a:p>
              <a:pPr algn="ctr" defTabSz="744779" hangingPunct="1">
                <a:defRPr/>
              </a:pPr>
              <a:r>
                <a:rPr lang="en-US" sz="10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Training</a:t>
              </a:r>
            </a:p>
          </p:txBody>
        </p:sp>
        <p:sp>
          <p:nvSpPr>
            <p:cNvPr id="25" name="Rectangle 24">
              <a:extLst>
                <a:ext uri="{FF2B5EF4-FFF2-40B4-BE49-F238E27FC236}">
                  <a16:creationId xmlns:a16="http://schemas.microsoft.com/office/drawing/2014/main" id="{78A0A12E-A04C-B253-86D1-CF20890C9CC3}"/>
                </a:ext>
              </a:extLst>
            </p:cNvPr>
            <p:cNvSpPr/>
            <p:nvPr/>
          </p:nvSpPr>
          <p:spPr>
            <a:xfrm>
              <a:off x="8047569" y="5092324"/>
              <a:ext cx="1083571" cy="246221"/>
            </a:xfrm>
            <a:prstGeom prst="rect">
              <a:avLst/>
            </a:prstGeom>
            <a:ln>
              <a:noFill/>
            </a:ln>
          </p:spPr>
          <p:txBody>
            <a:bodyPr wrap="square">
              <a:spAutoFit/>
            </a:bodyPr>
            <a:lstStyle/>
            <a:p>
              <a:pPr algn="ctr" defTabSz="744779" hangingPunct="1">
                <a:defRPr/>
              </a:pPr>
              <a:r>
                <a:rPr lang="en-US" sz="10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Exercising</a:t>
              </a:r>
            </a:p>
          </p:txBody>
        </p:sp>
        <p:sp>
          <p:nvSpPr>
            <p:cNvPr id="26" name="Right Arrow 35">
              <a:extLst>
                <a:ext uri="{FF2B5EF4-FFF2-40B4-BE49-F238E27FC236}">
                  <a16:creationId xmlns:a16="http://schemas.microsoft.com/office/drawing/2014/main" id="{C2068367-BCE8-8DDE-2422-4A252A8040AB}"/>
                </a:ext>
              </a:extLst>
            </p:cNvPr>
            <p:cNvSpPr/>
            <p:nvPr/>
          </p:nvSpPr>
          <p:spPr>
            <a:xfrm>
              <a:off x="2867436" y="4052761"/>
              <a:ext cx="143855" cy="157628"/>
            </a:xfrm>
            <a:prstGeom prst="rightArrow">
              <a:avLst/>
            </a:prstGeom>
            <a:solidFill>
              <a:sysClr val="windowText" lastClr="000000"/>
            </a:solidFill>
            <a:ln>
              <a:solidFill>
                <a:sysClr val="windowText" lastClr="000000"/>
              </a:solidFill>
            </a:ln>
            <a:effectLst>
              <a:outerShdw blurRad="40000" dist="23000" dir="5400000" rotWithShape="0">
                <a:srgbClr val="000000">
                  <a:alpha val="35000"/>
                </a:srgbClr>
              </a:outerShdw>
            </a:effectLst>
          </p:spPr>
          <p:txBody>
            <a:bodyPr rtlCol="0" anchor="ctr"/>
            <a:lstStyle/>
            <a:p>
              <a:pPr marL="0" marR="0" lvl="0" indent="0" algn="ctr" defTabSz="744779"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7" name="Right Arrow 36">
              <a:extLst>
                <a:ext uri="{FF2B5EF4-FFF2-40B4-BE49-F238E27FC236}">
                  <a16:creationId xmlns:a16="http://schemas.microsoft.com/office/drawing/2014/main" id="{DE633223-F5A4-ACAE-0D17-9510B62F55D6}"/>
                </a:ext>
              </a:extLst>
            </p:cNvPr>
            <p:cNvSpPr/>
            <p:nvPr/>
          </p:nvSpPr>
          <p:spPr>
            <a:xfrm>
              <a:off x="9331493" y="4052761"/>
              <a:ext cx="143855" cy="157628"/>
            </a:xfrm>
            <a:prstGeom prst="rightArrow">
              <a:avLst/>
            </a:prstGeom>
            <a:solidFill>
              <a:sysClr val="windowText" lastClr="000000"/>
            </a:solidFill>
            <a:ln>
              <a:solidFill>
                <a:sysClr val="windowText" lastClr="000000"/>
              </a:solidFill>
            </a:ln>
            <a:effectLst>
              <a:outerShdw blurRad="40000" dist="23000" dir="5400000" rotWithShape="0">
                <a:srgbClr val="000000">
                  <a:alpha val="35000"/>
                </a:srgbClr>
              </a:outerShdw>
            </a:effectLst>
          </p:spPr>
          <p:txBody>
            <a:bodyPr rtlCol="0" anchor="ctr"/>
            <a:lstStyle/>
            <a:p>
              <a:pPr marL="0" marR="0" lvl="0" indent="0" algn="ctr" defTabSz="744779"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8" name="Right Bracket 27">
              <a:extLst>
                <a:ext uri="{FF2B5EF4-FFF2-40B4-BE49-F238E27FC236}">
                  <a16:creationId xmlns:a16="http://schemas.microsoft.com/office/drawing/2014/main" id="{97581ED9-5751-996F-ED15-AF11F96779D1}"/>
                </a:ext>
              </a:extLst>
            </p:cNvPr>
            <p:cNvSpPr/>
            <p:nvPr/>
          </p:nvSpPr>
          <p:spPr>
            <a:xfrm>
              <a:off x="7488077" y="2767132"/>
              <a:ext cx="106762" cy="2938056"/>
            </a:xfrm>
            <a:prstGeom prst="rightBracket">
              <a:avLst/>
            </a:prstGeom>
            <a:noFill/>
            <a:ln w="9525" cap="flat" cmpd="sng" algn="ctr">
              <a:solidFill>
                <a:sysClr val="windowText" lastClr="000000">
                  <a:shade val="95000"/>
                  <a:satMod val="105000"/>
                </a:sysClr>
              </a:solidFill>
              <a:prstDash val="solid"/>
            </a:ln>
            <a:effectLst/>
          </p:spPr>
          <p:txBody>
            <a:bodyPr rtlCol="0" anchor="ctr"/>
            <a:lstStyle/>
            <a:p>
              <a:pPr marL="0" marR="0" lvl="0" indent="0" algn="ctr" defTabSz="744779"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29" name="Elbow Connector 40">
              <a:extLst>
                <a:ext uri="{FF2B5EF4-FFF2-40B4-BE49-F238E27FC236}">
                  <a16:creationId xmlns:a16="http://schemas.microsoft.com/office/drawing/2014/main" id="{4BE394D4-559D-148C-46FB-4D77CCF9499C}"/>
                </a:ext>
              </a:extLst>
            </p:cNvPr>
            <p:cNvCxnSpPr/>
            <p:nvPr/>
          </p:nvCxnSpPr>
          <p:spPr>
            <a:xfrm>
              <a:off x="7598320" y="4215232"/>
              <a:ext cx="604418" cy="534195"/>
            </a:xfrm>
            <a:prstGeom prst="bentConnector3">
              <a:avLst>
                <a:gd name="adj1" fmla="val 50000"/>
              </a:avLst>
            </a:prstGeom>
            <a:noFill/>
            <a:ln w="9525" cap="flat" cmpd="sng" algn="ctr">
              <a:solidFill>
                <a:sysClr val="windowText" lastClr="000000">
                  <a:shade val="95000"/>
                  <a:satMod val="105000"/>
                </a:sysClr>
              </a:solidFill>
              <a:prstDash val="solid"/>
              <a:tailEnd type="triangle"/>
            </a:ln>
            <a:effectLst/>
          </p:spPr>
        </p:cxnSp>
        <p:cxnSp>
          <p:nvCxnSpPr>
            <p:cNvPr id="30" name="Straight Arrow Connector 29">
              <a:extLst>
                <a:ext uri="{FF2B5EF4-FFF2-40B4-BE49-F238E27FC236}">
                  <a16:creationId xmlns:a16="http://schemas.microsoft.com/office/drawing/2014/main" id="{48D2D470-F156-5659-0F12-1B5595060958}"/>
                </a:ext>
              </a:extLst>
            </p:cNvPr>
            <p:cNvCxnSpPr/>
            <p:nvPr/>
          </p:nvCxnSpPr>
          <p:spPr>
            <a:xfrm>
              <a:off x="5729996" y="4056716"/>
              <a:ext cx="650343" cy="0"/>
            </a:xfrm>
            <a:prstGeom prst="straightConnector1">
              <a:avLst/>
            </a:prstGeom>
            <a:noFill/>
            <a:ln w="9525" cap="flat" cmpd="sng" algn="ctr">
              <a:solidFill>
                <a:sysClr val="windowText" lastClr="000000">
                  <a:shade val="95000"/>
                  <a:satMod val="105000"/>
                </a:sysClr>
              </a:solidFill>
              <a:prstDash val="solid"/>
              <a:tailEnd type="triangle"/>
            </a:ln>
            <a:effectLst/>
          </p:spPr>
        </p:cxnSp>
        <p:sp>
          <p:nvSpPr>
            <p:cNvPr id="31" name="Rounded Rectangle 42">
              <a:extLst>
                <a:ext uri="{FF2B5EF4-FFF2-40B4-BE49-F238E27FC236}">
                  <a16:creationId xmlns:a16="http://schemas.microsoft.com/office/drawing/2014/main" id="{52EA3384-70D3-6515-2D84-DD3F41CAA7CE}"/>
                </a:ext>
              </a:extLst>
            </p:cNvPr>
            <p:cNvSpPr/>
            <p:nvPr/>
          </p:nvSpPr>
          <p:spPr>
            <a:xfrm>
              <a:off x="1003346" y="1857939"/>
              <a:ext cx="1841268" cy="403496"/>
            </a:xfrm>
            <a:prstGeom prst="roundRect">
              <a:avLst/>
            </a:prstGeom>
            <a:solidFill>
              <a:schemeClr val="accent1"/>
            </a:solidFill>
            <a:ln>
              <a:noFill/>
            </a:ln>
            <a:effectLst>
              <a:outerShdw blurRad="40000" dist="23000" dir="5400000" rotWithShape="0">
                <a:srgbClr val="000000">
                  <a:alpha val="35000"/>
                </a:srgbClr>
              </a:outerShdw>
            </a:effectLst>
          </p:spPr>
          <p:txBody>
            <a:bodyPr rtlCol="0" anchor="ctr"/>
            <a:lstStyle/>
            <a:p>
              <a:pPr marL="0" marR="0" lvl="0" indent="0" algn="ctr" defTabSz="744779"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CM Program Governance</a:t>
              </a:r>
            </a:p>
          </p:txBody>
        </p:sp>
        <p:sp>
          <p:nvSpPr>
            <p:cNvPr id="32" name="Rounded Rectangle 43">
              <a:extLst>
                <a:ext uri="{FF2B5EF4-FFF2-40B4-BE49-F238E27FC236}">
                  <a16:creationId xmlns:a16="http://schemas.microsoft.com/office/drawing/2014/main" id="{E1D288AE-624B-0C74-B79A-7F8DF807AD94}"/>
                </a:ext>
              </a:extLst>
            </p:cNvPr>
            <p:cNvSpPr/>
            <p:nvPr/>
          </p:nvSpPr>
          <p:spPr>
            <a:xfrm>
              <a:off x="3058064" y="1857939"/>
              <a:ext cx="1625859" cy="403496"/>
            </a:xfrm>
            <a:prstGeom prst="roundRect">
              <a:avLst/>
            </a:prstGeom>
            <a:solidFill>
              <a:schemeClr val="accent1"/>
            </a:solidFill>
            <a:ln>
              <a:noFill/>
            </a:ln>
            <a:effectLst>
              <a:outerShdw blurRad="40000" dist="23000" dir="5400000" rotWithShape="0">
                <a:srgbClr val="000000">
                  <a:alpha val="35000"/>
                </a:srgbClr>
              </a:outerShdw>
            </a:effectLst>
          </p:spPr>
          <p:txBody>
            <a:bodyPr rtlCol="0" anchor="ctr"/>
            <a:lstStyle/>
            <a:p>
              <a:pPr marL="0" marR="0" lvl="0" indent="0" algn="ctr" defTabSz="744779"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nalysis</a:t>
              </a:r>
            </a:p>
          </p:txBody>
        </p:sp>
        <p:sp>
          <p:nvSpPr>
            <p:cNvPr id="33" name="Rounded Rectangle 44">
              <a:extLst>
                <a:ext uri="{FF2B5EF4-FFF2-40B4-BE49-F238E27FC236}">
                  <a16:creationId xmlns:a16="http://schemas.microsoft.com/office/drawing/2014/main" id="{65EF1FE5-7A07-E59C-C19F-2B749D14A590}"/>
                </a:ext>
              </a:extLst>
            </p:cNvPr>
            <p:cNvSpPr/>
            <p:nvPr/>
          </p:nvSpPr>
          <p:spPr>
            <a:xfrm>
              <a:off x="4789501" y="1857939"/>
              <a:ext cx="2926547" cy="403496"/>
            </a:xfrm>
            <a:prstGeom prst="roundRect">
              <a:avLst/>
            </a:prstGeom>
            <a:solidFill>
              <a:schemeClr val="accent1"/>
            </a:solidFill>
            <a:ln>
              <a:noFill/>
            </a:ln>
            <a:effectLst>
              <a:outerShdw blurRad="40000" dist="23000" dir="5400000" rotWithShape="0">
                <a:srgbClr val="000000">
                  <a:alpha val="35000"/>
                </a:srgbClr>
              </a:outerShdw>
            </a:effectLst>
          </p:spPr>
          <p:txBody>
            <a:bodyPr rtlCol="0" anchor="ctr"/>
            <a:lstStyle/>
            <a:p>
              <a:pPr marL="0" marR="0" lvl="0" indent="0" algn="ctr" defTabSz="744779"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trategies and Plans Design</a:t>
              </a:r>
            </a:p>
          </p:txBody>
        </p:sp>
        <p:sp>
          <p:nvSpPr>
            <p:cNvPr id="34" name="Rounded Rectangle 45">
              <a:extLst>
                <a:ext uri="{FF2B5EF4-FFF2-40B4-BE49-F238E27FC236}">
                  <a16:creationId xmlns:a16="http://schemas.microsoft.com/office/drawing/2014/main" id="{B85271F9-8624-EF99-29F9-0B767AAD7A68}"/>
                </a:ext>
              </a:extLst>
            </p:cNvPr>
            <p:cNvSpPr/>
            <p:nvPr/>
          </p:nvSpPr>
          <p:spPr>
            <a:xfrm>
              <a:off x="7821626" y="1857939"/>
              <a:ext cx="1465823" cy="403496"/>
            </a:xfrm>
            <a:prstGeom prst="roundRect">
              <a:avLst/>
            </a:prstGeom>
            <a:solidFill>
              <a:schemeClr val="accent1"/>
            </a:solidFill>
            <a:ln>
              <a:noFill/>
            </a:ln>
            <a:effectLst>
              <a:outerShdw blurRad="40000" dist="23000" dir="5400000" rotWithShape="0">
                <a:srgbClr val="000000">
                  <a:alpha val="35000"/>
                </a:srgbClr>
              </a:outerShdw>
            </a:effectLst>
          </p:spPr>
          <p:txBody>
            <a:bodyPr rtlCol="0" anchor="ctr"/>
            <a:lstStyle/>
            <a:p>
              <a:pPr marL="0" marR="0" lvl="0" indent="0" algn="ctr" defTabSz="744779"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raining &amp; Exercising</a:t>
              </a:r>
            </a:p>
          </p:txBody>
        </p:sp>
        <p:sp>
          <p:nvSpPr>
            <p:cNvPr id="35" name="Rounded Rectangle 46">
              <a:extLst>
                <a:ext uri="{FF2B5EF4-FFF2-40B4-BE49-F238E27FC236}">
                  <a16:creationId xmlns:a16="http://schemas.microsoft.com/office/drawing/2014/main" id="{6E808A2A-B3C1-241D-C081-288C646A8760}"/>
                </a:ext>
              </a:extLst>
            </p:cNvPr>
            <p:cNvSpPr/>
            <p:nvPr/>
          </p:nvSpPr>
          <p:spPr>
            <a:xfrm>
              <a:off x="9505394" y="1858013"/>
              <a:ext cx="1465823" cy="402277"/>
            </a:xfrm>
            <a:prstGeom prst="roundRect">
              <a:avLst/>
            </a:prstGeom>
            <a:solidFill>
              <a:schemeClr val="accent1"/>
            </a:solidFill>
            <a:ln>
              <a:noFill/>
            </a:ln>
            <a:effectLst>
              <a:outerShdw blurRad="40000" dist="23000" dir="5400000" rotWithShape="0">
                <a:srgbClr val="000000">
                  <a:alpha val="35000"/>
                </a:srgbClr>
              </a:outerShdw>
            </a:effectLst>
          </p:spPr>
          <p:txBody>
            <a:bodyPr rtlCol="0" anchor="ctr"/>
            <a:lstStyle/>
            <a:p>
              <a:pPr marL="0" marR="0" lvl="0" indent="0" algn="ctr" defTabSz="744779"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mprovement</a:t>
              </a:r>
            </a:p>
          </p:txBody>
        </p:sp>
        <p:pic>
          <p:nvPicPr>
            <p:cNvPr id="36" name="Picture 26" descr="C:\Users\jsauvageau\Desktop\8.png">
              <a:extLst>
                <a:ext uri="{FF2B5EF4-FFF2-40B4-BE49-F238E27FC236}">
                  <a16:creationId xmlns:a16="http://schemas.microsoft.com/office/drawing/2014/main" id="{5C21C5D9-E526-3C9C-69B7-8A1CB7111D14}"/>
                </a:ext>
              </a:extLst>
            </p:cNvPr>
            <p:cNvPicPr>
              <a:picLocks noChangeAspect="1" noChangeArrowheads="1"/>
            </p:cNvPicPr>
            <p:nvPr/>
          </p:nvPicPr>
          <p:blipFill>
            <a:blip r:embed="rId7" cstate="email">
              <a:biLevel thresh="75000"/>
              <a:extLst>
                <a:ext uri="{28A0092B-C50C-407E-A947-70E740481C1C}">
                  <a14:useLocalDpi xmlns:a14="http://schemas.microsoft.com/office/drawing/2010/main" val="0"/>
                </a:ext>
              </a:extLst>
            </a:blip>
            <a:srcRect/>
            <a:stretch>
              <a:fillRect/>
            </a:stretch>
          </p:blipFill>
          <p:spPr bwMode="auto">
            <a:xfrm>
              <a:off x="6802267" y="5161230"/>
              <a:ext cx="288244" cy="31972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7" name="Rectangle 36">
              <a:extLst>
                <a:ext uri="{FF2B5EF4-FFF2-40B4-BE49-F238E27FC236}">
                  <a16:creationId xmlns:a16="http://schemas.microsoft.com/office/drawing/2014/main" id="{DB5B6693-FC20-1C8B-9D92-5437C604ECA7}"/>
                </a:ext>
              </a:extLst>
            </p:cNvPr>
            <p:cNvSpPr/>
            <p:nvPr/>
          </p:nvSpPr>
          <p:spPr>
            <a:xfrm>
              <a:off x="6302957" y="5480958"/>
              <a:ext cx="1286862" cy="400110"/>
            </a:xfrm>
            <a:prstGeom prst="rect">
              <a:avLst/>
            </a:prstGeom>
            <a:ln>
              <a:noFill/>
            </a:ln>
          </p:spPr>
          <p:txBody>
            <a:bodyPr wrap="square">
              <a:spAutoFit/>
            </a:bodyPr>
            <a:lstStyle/>
            <a:p>
              <a:pPr algn="ctr" defTabSz="744779" hangingPunct="1">
                <a:defRPr/>
              </a:pPr>
              <a:r>
                <a:rPr lang="en-US" sz="10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T Disaster Recovery Plan</a:t>
              </a:r>
            </a:p>
          </p:txBody>
        </p:sp>
        <p:cxnSp>
          <p:nvCxnSpPr>
            <p:cNvPr id="38" name="Elbow Connector 50">
              <a:extLst>
                <a:ext uri="{FF2B5EF4-FFF2-40B4-BE49-F238E27FC236}">
                  <a16:creationId xmlns:a16="http://schemas.microsoft.com/office/drawing/2014/main" id="{E0E4665E-407E-FE23-68B7-0D07FC4D8251}"/>
                </a:ext>
              </a:extLst>
            </p:cNvPr>
            <p:cNvCxnSpPr/>
            <p:nvPr/>
          </p:nvCxnSpPr>
          <p:spPr>
            <a:xfrm>
              <a:off x="4410679" y="3068687"/>
              <a:ext cx="1099678" cy="569584"/>
            </a:xfrm>
            <a:prstGeom prst="bentConnector3">
              <a:avLst>
                <a:gd name="adj1" fmla="val 100108"/>
              </a:avLst>
            </a:prstGeom>
            <a:noFill/>
            <a:ln w="9525" cap="flat" cmpd="sng" algn="ctr">
              <a:solidFill>
                <a:sysClr val="windowText" lastClr="000000">
                  <a:shade val="95000"/>
                  <a:satMod val="105000"/>
                </a:sysClr>
              </a:solidFill>
              <a:prstDash val="solid"/>
              <a:tailEnd type="triangle"/>
            </a:ln>
            <a:effectLst/>
          </p:spPr>
        </p:cxnSp>
        <p:pic>
          <p:nvPicPr>
            <p:cNvPr id="39" name="Picture 26" descr="C:\Users\jsauvageau\Desktop\8.png">
              <a:extLst>
                <a:ext uri="{FF2B5EF4-FFF2-40B4-BE49-F238E27FC236}">
                  <a16:creationId xmlns:a16="http://schemas.microsoft.com/office/drawing/2014/main" id="{BF853536-FD13-CCC7-C649-31F37643FA64}"/>
                </a:ext>
              </a:extLst>
            </p:cNvPr>
            <p:cNvPicPr>
              <a:picLocks noChangeAspect="1" noChangeArrowheads="1"/>
            </p:cNvPicPr>
            <p:nvPr/>
          </p:nvPicPr>
          <p:blipFill>
            <a:blip r:embed="rId7" cstate="email">
              <a:biLevel thresh="75000"/>
              <a:extLst>
                <a:ext uri="{28A0092B-C50C-407E-A947-70E740481C1C}">
                  <a14:useLocalDpi xmlns:a14="http://schemas.microsoft.com/office/drawing/2010/main" val="0"/>
                </a:ext>
              </a:extLst>
            </a:blip>
            <a:srcRect/>
            <a:stretch>
              <a:fillRect/>
            </a:stretch>
          </p:blipFill>
          <p:spPr bwMode="auto">
            <a:xfrm>
              <a:off x="6803150" y="2663593"/>
              <a:ext cx="286477" cy="319728"/>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40" name="Elbow Connector 54">
              <a:extLst>
                <a:ext uri="{FF2B5EF4-FFF2-40B4-BE49-F238E27FC236}">
                  <a16:creationId xmlns:a16="http://schemas.microsoft.com/office/drawing/2014/main" id="{43300125-731A-666D-DF81-F1C3227C3BFD}"/>
                </a:ext>
              </a:extLst>
            </p:cNvPr>
            <p:cNvCxnSpPr/>
            <p:nvPr/>
          </p:nvCxnSpPr>
          <p:spPr>
            <a:xfrm flipV="1">
              <a:off x="4397978" y="4790849"/>
              <a:ext cx="1099678" cy="569584"/>
            </a:xfrm>
            <a:prstGeom prst="bentConnector3">
              <a:avLst>
                <a:gd name="adj1" fmla="val 100108"/>
              </a:avLst>
            </a:prstGeom>
            <a:noFill/>
            <a:ln w="9525" cap="flat" cmpd="sng" algn="ctr">
              <a:solidFill>
                <a:sysClr val="windowText" lastClr="000000">
                  <a:shade val="95000"/>
                  <a:satMod val="105000"/>
                </a:sysClr>
              </a:solidFill>
              <a:prstDash val="solid"/>
              <a:tailEnd type="triangle"/>
            </a:ln>
            <a:effectLst/>
          </p:spPr>
        </p:cxnSp>
        <p:cxnSp>
          <p:nvCxnSpPr>
            <p:cNvPr id="41" name="Elbow Connector 55">
              <a:extLst>
                <a:ext uri="{FF2B5EF4-FFF2-40B4-BE49-F238E27FC236}">
                  <a16:creationId xmlns:a16="http://schemas.microsoft.com/office/drawing/2014/main" id="{D31AFA95-87DB-7303-0495-FF9D7E241DA4}"/>
                </a:ext>
              </a:extLst>
            </p:cNvPr>
            <p:cNvCxnSpPr/>
            <p:nvPr/>
          </p:nvCxnSpPr>
          <p:spPr>
            <a:xfrm flipV="1">
              <a:off x="7591589" y="3668254"/>
              <a:ext cx="614300" cy="549243"/>
            </a:xfrm>
            <a:prstGeom prst="bentConnector3">
              <a:avLst>
                <a:gd name="adj1" fmla="val 50000"/>
              </a:avLst>
            </a:prstGeom>
            <a:noFill/>
            <a:ln w="9525" cap="flat" cmpd="sng" algn="ctr">
              <a:solidFill>
                <a:sysClr val="windowText" lastClr="000000">
                  <a:shade val="95000"/>
                  <a:satMod val="105000"/>
                </a:sysClr>
              </a:solidFill>
              <a:prstDash val="solid"/>
              <a:tailEnd type="triangle"/>
            </a:ln>
            <a:effectLst/>
          </p:spPr>
        </p:cxnSp>
        <p:grpSp>
          <p:nvGrpSpPr>
            <p:cNvPr id="42" name="Group 41">
              <a:extLst>
                <a:ext uri="{FF2B5EF4-FFF2-40B4-BE49-F238E27FC236}">
                  <a16:creationId xmlns:a16="http://schemas.microsoft.com/office/drawing/2014/main" id="{A013A0AB-6A71-8B01-B115-F09F422BCB08}"/>
                </a:ext>
              </a:extLst>
            </p:cNvPr>
            <p:cNvGrpSpPr/>
            <p:nvPr/>
          </p:nvGrpSpPr>
          <p:grpSpPr>
            <a:xfrm>
              <a:off x="836741" y="1387379"/>
              <a:ext cx="10231816" cy="5049775"/>
              <a:chOff x="3884288" y="3627503"/>
              <a:chExt cx="14930726" cy="7976550"/>
            </a:xfrm>
            <a:solidFill>
              <a:schemeClr val="accent1"/>
            </a:solidFill>
          </p:grpSpPr>
          <p:sp>
            <p:nvSpPr>
              <p:cNvPr id="53" name="AutoShape 15">
                <a:extLst>
                  <a:ext uri="{FF2B5EF4-FFF2-40B4-BE49-F238E27FC236}">
                    <a16:creationId xmlns:a16="http://schemas.microsoft.com/office/drawing/2014/main" id="{558652FA-4BA7-3F22-26A5-9F3DA8C2F5FE}"/>
                  </a:ext>
                </a:extLst>
              </p:cNvPr>
              <p:cNvSpPr>
                <a:spLocks noChangeArrowheads="1"/>
              </p:cNvSpPr>
              <p:nvPr/>
            </p:nvSpPr>
            <p:spPr bwMode="auto">
              <a:xfrm>
                <a:off x="3884288" y="3627503"/>
                <a:ext cx="14930722" cy="521641"/>
              </a:xfrm>
              <a:prstGeom prst="rect">
                <a:avLst/>
              </a:prstGeom>
              <a:solidFill>
                <a:schemeClr val="accent2"/>
              </a:solidFill>
              <a:ln w="6350" algn="ctr">
                <a:noFill/>
                <a:miter lim="800000"/>
                <a:headEnd type="none" w="sm" len="sm"/>
                <a:tailEnd type="none" w="sm" len="sm"/>
              </a:ln>
            </p:spPr>
            <p:txBody>
              <a:bodyPr tIns="68397" bIns="68397" anchor="ctr"/>
              <a:lstStyle/>
              <a:p>
                <a:pPr marL="0" marR="0" lvl="0" indent="0" algn="ctr" defTabSz="911954" eaLnBrk="1" fontAlgn="auto" latinLnBrk="0" hangingPunct="1">
                  <a:lnSpc>
                    <a:spcPct val="100000"/>
                  </a:lnSpc>
                  <a:spcBef>
                    <a:spcPts val="0"/>
                  </a:spcBef>
                  <a:spcAft>
                    <a:spcPts val="0"/>
                  </a:spcAft>
                  <a:buClrTx/>
                  <a:buSzTx/>
                  <a:buFontTx/>
                  <a:buNone/>
                  <a:tabLst/>
                  <a:defRPr/>
                </a:pPr>
                <a:r>
                  <a:rPr kumimoji="0" lang="en-GB" altLang="ja-JP" sz="1000" b="1" i="0" u="none" strike="noStrike" kern="1200" cap="none" spc="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siness Continuity Management System</a:t>
                </a:r>
              </a:p>
            </p:txBody>
          </p:sp>
          <p:sp>
            <p:nvSpPr>
              <p:cNvPr id="55" name="AutoShape 15">
                <a:extLst>
                  <a:ext uri="{FF2B5EF4-FFF2-40B4-BE49-F238E27FC236}">
                    <a16:creationId xmlns:a16="http://schemas.microsoft.com/office/drawing/2014/main" id="{97A22D15-02A8-F643-8C9F-B81DFE8D57BD}"/>
                  </a:ext>
                </a:extLst>
              </p:cNvPr>
              <p:cNvSpPr>
                <a:spLocks noChangeArrowheads="1"/>
              </p:cNvSpPr>
              <p:nvPr/>
            </p:nvSpPr>
            <p:spPr bwMode="auto">
              <a:xfrm>
                <a:off x="3884291" y="11072630"/>
                <a:ext cx="14930723" cy="531423"/>
              </a:xfrm>
              <a:prstGeom prst="rect">
                <a:avLst/>
              </a:prstGeom>
              <a:solidFill>
                <a:schemeClr val="accent2"/>
              </a:solidFill>
              <a:ln w="6350" algn="ctr">
                <a:noFill/>
                <a:miter lim="800000"/>
                <a:headEnd type="none" w="sm" len="sm"/>
                <a:tailEnd type="none" w="sm" len="sm"/>
              </a:ln>
            </p:spPr>
            <p:txBody>
              <a:bodyPr tIns="68397" bIns="68397" anchor="ctr"/>
              <a:lstStyle/>
              <a:p>
                <a:pPr marL="0" marR="0" lvl="0" indent="0" algn="ctr" defTabSz="911954" eaLnBrk="1" fontAlgn="auto" latinLnBrk="0" hangingPunct="1">
                  <a:lnSpc>
                    <a:spcPct val="100000"/>
                  </a:lnSpc>
                  <a:spcBef>
                    <a:spcPts val="0"/>
                  </a:spcBef>
                  <a:spcAft>
                    <a:spcPts val="0"/>
                  </a:spcAft>
                  <a:buClrTx/>
                  <a:buSzTx/>
                  <a:buFontTx/>
                  <a:buNone/>
                  <a:tabLst/>
                  <a:defRPr/>
                </a:pPr>
                <a:r>
                  <a:rPr kumimoji="0" lang="en-GB" altLang="ja-JP" sz="1000" b="1" i="0" u="none" strike="noStrike" kern="1200" cap="none" spc="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tinual Improvement, Maintenance, Awareness and Communication</a:t>
                </a:r>
              </a:p>
            </p:txBody>
          </p:sp>
          <p:cxnSp>
            <p:nvCxnSpPr>
              <p:cNvPr id="56" name="Elbow Connector 70">
                <a:extLst>
                  <a:ext uri="{FF2B5EF4-FFF2-40B4-BE49-F238E27FC236}">
                    <a16:creationId xmlns:a16="http://schemas.microsoft.com/office/drawing/2014/main" id="{F0B6E12A-0F94-27DC-FEA2-F1128DD38AE6}"/>
                  </a:ext>
                </a:extLst>
              </p:cNvPr>
              <p:cNvCxnSpPr>
                <a:cxnSpLocks/>
                <a:stCxn id="53" idx="1"/>
                <a:endCxn id="55" idx="1"/>
              </p:cNvCxnSpPr>
              <p:nvPr/>
            </p:nvCxnSpPr>
            <p:spPr>
              <a:xfrm rot="10800000" flipH="1" flipV="1">
                <a:off x="3884288" y="3888324"/>
                <a:ext cx="3" cy="7450017"/>
              </a:xfrm>
              <a:prstGeom prst="bentConnector3">
                <a:avLst>
                  <a:gd name="adj1" fmla="val -11430000000"/>
                </a:avLst>
              </a:prstGeom>
              <a:grpFill/>
              <a:ln w="9525" cap="flat" cmpd="sng" algn="ctr">
                <a:solidFill>
                  <a:sysClr val="windowText" lastClr="000000"/>
                </a:solidFill>
                <a:prstDash val="solid"/>
                <a:tailEnd type="triangle"/>
              </a:ln>
              <a:effectLst/>
            </p:spPr>
          </p:cxnSp>
          <p:cxnSp>
            <p:nvCxnSpPr>
              <p:cNvPr id="57" name="Elbow Connector 70">
                <a:extLst>
                  <a:ext uri="{FF2B5EF4-FFF2-40B4-BE49-F238E27FC236}">
                    <a16:creationId xmlns:a16="http://schemas.microsoft.com/office/drawing/2014/main" id="{2BB885C6-7C44-BCBE-517A-D60B3EE8CA40}"/>
                  </a:ext>
                </a:extLst>
              </p:cNvPr>
              <p:cNvCxnSpPr>
                <a:cxnSpLocks/>
                <a:stCxn id="53" idx="3"/>
                <a:endCxn id="55" idx="3"/>
              </p:cNvCxnSpPr>
              <p:nvPr/>
            </p:nvCxnSpPr>
            <p:spPr>
              <a:xfrm>
                <a:off x="18815010" y="3888324"/>
                <a:ext cx="3" cy="7450017"/>
              </a:xfrm>
              <a:prstGeom prst="bentConnector3">
                <a:avLst>
                  <a:gd name="adj1" fmla="val 7620100000"/>
                </a:avLst>
              </a:prstGeom>
              <a:grpFill/>
              <a:ln w="9525" cap="flat" cmpd="sng" algn="ctr">
                <a:solidFill>
                  <a:sysClr val="windowText" lastClr="000000"/>
                </a:solidFill>
                <a:prstDash val="solid"/>
                <a:tailEnd type="triangle"/>
              </a:ln>
              <a:effectLst/>
            </p:spPr>
          </p:cxnSp>
        </p:grpSp>
        <p:sp>
          <p:nvSpPr>
            <p:cNvPr id="43" name="Rectangle 42">
              <a:extLst>
                <a:ext uri="{FF2B5EF4-FFF2-40B4-BE49-F238E27FC236}">
                  <a16:creationId xmlns:a16="http://schemas.microsoft.com/office/drawing/2014/main" id="{8B1B7700-9168-EA8D-6DA6-5D213009C03E}"/>
                </a:ext>
              </a:extLst>
            </p:cNvPr>
            <p:cNvSpPr/>
            <p:nvPr/>
          </p:nvSpPr>
          <p:spPr>
            <a:xfrm>
              <a:off x="9711678" y="2978387"/>
              <a:ext cx="1063903" cy="246221"/>
            </a:xfrm>
            <a:prstGeom prst="rect">
              <a:avLst/>
            </a:prstGeom>
            <a:ln>
              <a:noFill/>
            </a:ln>
          </p:spPr>
          <p:txBody>
            <a:bodyPr wrap="square">
              <a:spAutoFit/>
            </a:bodyPr>
            <a:lstStyle/>
            <a:p>
              <a:pPr algn="ctr" defTabSz="911954" hangingPunct="1">
                <a:defRPr/>
              </a:pPr>
              <a:r>
                <a:rPr lang="en-US" sz="10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nternal Audit</a:t>
              </a:r>
            </a:p>
          </p:txBody>
        </p:sp>
        <p:sp>
          <p:nvSpPr>
            <p:cNvPr id="44" name="Rectangle 43">
              <a:extLst>
                <a:ext uri="{FF2B5EF4-FFF2-40B4-BE49-F238E27FC236}">
                  <a16:creationId xmlns:a16="http://schemas.microsoft.com/office/drawing/2014/main" id="{4E5FDAD2-CD54-FE6C-006F-C74FEC683577}"/>
                </a:ext>
              </a:extLst>
            </p:cNvPr>
            <p:cNvSpPr/>
            <p:nvPr/>
          </p:nvSpPr>
          <p:spPr>
            <a:xfrm>
              <a:off x="9674700" y="4090814"/>
              <a:ext cx="1137860" cy="400110"/>
            </a:xfrm>
            <a:prstGeom prst="rect">
              <a:avLst/>
            </a:prstGeom>
            <a:ln>
              <a:noFill/>
            </a:ln>
          </p:spPr>
          <p:txBody>
            <a:bodyPr wrap="square">
              <a:spAutoFit/>
            </a:bodyPr>
            <a:lstStyle/>
            <a:p>
              <a:pPr algn="ctr" defTabSz="911954" hangingPunct="1">
                <a:defRPr/>
              </a:pPr>
              <a:r>
                <a:rPr lang="en-US" sz="10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Management Review</a:t>
              </a:r>
            </a:p>
          </p:txBody>
        </p:sp>
        <p:sp>
          <p:nvSpPr>
            <p:cNvPr id="45" name="Rectangle 44">
              <a:extLst>
                <a:ext uri="{FF2B5EF4-FFF2-40B4-BE49-F238E27FC236}">
                  <a16:creationId xmlns:a16="http://schemas.microsoft.com/office/drawing/2014/main" id="{A054CECB-7C0E-CD34-559C-FAC35CC78618}"/>
                </a:ext>
              </a:extLst>
            </p:cNvPr>
            <p:cNvSpPr/>
            <p:nvPr/>
          </p:nvSpPr>
          <p:spPr>
            <a:xfrm>
              <a:off x="9631469" y="5207666"/>
              <a:ext cx="1224322" cy="400110"/>
            </a:xfrm>
            <a:prstGeom prst="rect">
              <a:avLst/>
            </a:prstGeom>
            <a:ln>
              <a:noFill/>
            </a:ln>
          </p:spPr>
          <p:txBody>
            <a:bodyPr wrap="square">
              <a:spAutoFit/>
            </a:bodyPr>
            <a:lstStyle/>
            <a:p>
              <a:pPr algn="ctr" defTabSz="911954" hangingPunct="1">
                <a:defRPr/>
              </a:pPr>
              <a:r>
                <a:rPr lang="en-US" sz="10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erformance Evaluation</a:t>
              </a:r>
            </a:p>
          </p:txBody>
        </p:sp>
        <p:pic>
          <p:nvPicPr>
            <p:cNvPr id="46" name="Graphic 45" descr="Eye">
              <a:extLst>
                <a:ext uri="{FF2B5EF4-FFF2-40B4-BE49-F238E27FC236}">
                  <a16:creationId xmlns:a16="http://schemas.microsoft.com/office/drawing/2014/main" id="{E944690D-133B-BB06-D164-77B624B3A6AF}"/>
                </a:ext>
              </a:extLst>
            </p:cNvPr>
            <p:cNvPicPr>
              <a:picLocks noChangeAspect="1"/>
            </p:cNvPicPr>
            <p:nvPr/>
          </p:nvPicPr>
          <p:blipFill>
            <a:blip r:embed="rId10" cstate="email">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028160" y="2554669"/>
              <a:ext cx="430940" cy="491992"/>
            </a:xfrm>
            <a:prstGeom prst="rect">
              <a:avLst/>
            </a:prstGeom>
          </p:spPr>
        </p:pic>
        <p:pic>
          <p:nvPicPr>
            <p:cNvPr id="47" name="Graphic 46" descr="Gauge">
              <a:extLst>
                <a:ext uri="{FF2B5EF4-FFF2-40B4-BE49-F238E27FC236}">
                  <a16:creationId xmlns:a16="http://schemas.microsoft.com/office/drawing/2014/main" id="{2792A6B4-A317-9A55-7A6D-AD948A9801C2}"/>
                </a:ext>
              </a:extLst>
            </p:cNvPr>
            <p:cNvPicPr>
              <a:picLocks noChangeAspect="1"/>
            </p:cNvPicPr>
            <p:nvPr/>
          </p:nvPicPr>
          <p:blipFill>
            <a:blip r:embed="rId12" cstate="email">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036695" y="4803911"/>
              <a:ext cx="413871" cy="472505"/>
            </a:xfrm>
            <a:prstGeom prst="rect">
              <a:avLst/>
            </a:prstGeom>
          </p:spPr>
        </p:pic>
        <p:pic>
          <p:nvPicPr>
            <p:cNvPr id="48" name="Graphic 47" descr="Customer review">
              <a:extLst>
                <a:ext uri="{FF2B5EF4-FFF2-40B4-BE49-F238E27FC236}">
                  <a16:creationId xmlns:a16="http://schemas.microsoft.com/office/drawing/2014/main" id="{5114662B-B409-C819-1FCF-701B9BA8550D}"/>
                </a:ext>
              </a:extLst>
            </p:cNvPr>
            <p:cNvPicPr>
              <a:picLocks noChangeAspect="1"/>
            </p:cNvPicPr>
            <p:nvPr/>
          </p:nvPicPr>
          <p:blipFill>
            <a:blip r:embed="rId14" cstate="email">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016423" y="3628195"/>
              <a:ext cx="454415" cy="518793"/>
            </a:xfrm>
            <a:prstGeom prst="rect">
              <a:avLst/>
            </a:prstGeom>
          </p:spPr>
        </p:pic>
        <p:pic>
          <p:nvPicPr>
            <p:cNvPr id="49" name="Picture 27" descr="C:\Users\jsauvageau\Desktop\7.png">
              <a:extLst>
                <a:ext uri="{FF2B5EF4-FFF2-40B4-BE49-F238E27FC236}">
                  <a16:creationId xmlns:a16="http://schemas.microsoft.com/office/drawing/2014/main" id="{22D34CEA-A938-678C-6725-7DBBA8D840C6}"/>
                </a:ext>
              </a:extLst>
            </p:cNvPr>
            <p:cNvPicPr>
              <a:picLocks noChangeAspect="1" noChangeArrowheads="1"/>
            </p:cNvPicPr>
            <p:nvPr/>
          </p:nvPicPr>
          <p:blipFill>
            <a:blip r:embed="rId3" cstate="email">
              <a:biLevel thresh="75000"/>
              <a:extLst>
                <a:ext uri="{28A0092B-C50C-407E-A947-70E740481C1C}">
                  <a14:useLocalDpi xmlns:a14="http://schemas.microsoft.com/office/drawing/2010/main" val="0"/>
                </a:ext>
              </a:extLst>
            </a:blip>
            <a:srcRect/>
            <a:stretch>
              <a:fillRect/>
            </a:stretch>
          </p:blipFill>
          <p:spPr bwMode="auto">
            <a:xfrm>
              <a:off x="1782963" y="4990505"/>
              <a:ext cx="287527" cy="4103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0" name="Rectangle 49">
              <a:extLst>
                <a:ext uri="{FF2B5EF4-FFF2-40B4-BE49-F238E27FC236}">
                  <a16:creationId xmlns:a16="http://schemas.microsoft.com/office/drawing/2014/main" id="{8EB72E78-F1EB-EA03-4172-5A214C9C2D65}"/>
                </a:ext>
              </a:extLst>
            </p:cNvPr>
            <p:cNvSpPr/>
            <p:nvPr/>
          </p:nvSpPr>
          <p:spPr>
            <a:xfrm>
              <a:off x="1133634" y="5457563"/>
              <a:ext cx="1578872" cy="422162"/>
            </a:xfrm>
            <a:prstGeom prst="rect">
              <a:avLst/>
            </a:prstGeom>
            <a:ln>
              <a:noFill/>
            </a:ln>
          </p:spPr>
          <p:txBody>
            <a:bodyPr wrap="square">
              <a:spAutoFit/>
            </a:bodyPr>
            <a:lstStyle/>
            <a:p>
              <a:pPr algn="ctr" defTabSz="744779" hangingPunct="1">
                <a:defRPr/>
              </a:pPr>
              <a:r>
                <a:rPr lang="en-US" sz="10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urrent State Assessment</a:t>
              </a:r>
            </a:p>
          </p:txBody>
        </p:sp>
        <p:pic>
          <p:nvPicPr>
            <p:cNvPr id="51" name="Picture 2" descr="\\Cagmasrv1\sso$\Gestion_Deloitte\Global_Brand\- Templates\Icons\Iconography Deloitte\Icon_Caution_Green.png">
              <a:extLst>
                <a:ext uri="{FF2B5EF4-FFF2-40B4-BE49-F238E27FC236}">
                  <a16:creationId xmlns:a16="http://schemas.microsoft.com/office/drawing/2014/main" id="{2B87B5F5-EB89-67D2-24DB-2EFB0E5C4CD4}"/>
                </a:ext>
              </a:extLst>
            </p:cNvPr>
            <p:cNvPicPr>
              <a:picLocks noChangeAspect="1" noChangeArrowheads="1"/>
            </p:cNvPicPr>
            <p:nvPr/>
          </p:nvPicPr>
          <p:blipFill>
            <a:blip r:embed="rId16" cstate="email">
              <a:biLevel thresh="50000"/>
              <a:extLst>
                <a:ext uri="{28A0092B-C50C-407E-A947-70E740481C1C}">
                  <a14:useLocalDpi xmlns:a14="http://schemas.microsoft.com/office/drawing/2010/main" val="0"/>
                </a:ext>
              </a:extLst>
            </a:blip>
            <a:srcRect/>
            <a:stretch>
              <a:fillRect/>
            </a:stretch>
          </p:blipFill>
          <p:spPr bwMode="auto">
            <a:xfrm>
              <a:off x="3572356" y="4999889"/>
              <a:ext cx="292822" cy="22414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3398A2E3-8B53-0ED8-E0C0-4B86BB283CE6}"/>
                </a:ext>
              </a:extLst>
            </p:cNvPr>
            <p:cNvSpPr/>
            <p:nvPr/>
          </p:nvSpPr>
          <p:spPr>
            <a:xfrm>
              <a:off x="3204123" y="5281570"/>
              <a:ext cx="1158322" cy="553998"/>
            </a:xfrm>
            <a:prstGeom prst="rect">
              <a:avLst/>
            </a:prstGeom>
            <a:ln>
              <a:noFill/>
            </a:ln>
          </p:spPr>
          <p:txBody>
            <a:bodyPr wrap="square">
              <a:spAutoFit/>
            </a:bodyPr>
            <a:lstStyle/>
            <a:p>
              <a:pPr algn="ctr" defTabSz="744779" hangingPunct="1">
                <a:defRPr/>
              </a:pPr>
              <a:r>
                <a:rPr lang="en-US" sz="10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Threat Risk Assessment (TRA)</a:t>
              </a:r>
            </a:p>
          </p:txBody>
        </p:sp>
      </p:grpSp>
      <p:sp>
        <p:nvSpPr>
          <p:cNvPr id="14" name="Content Placeholder 3">
            <a:extLst>
              <a:ext uri="{FF2B5EF4-FFF2-40B4-BE49-F238E27FC236}">
                <a16:creationId xmlns:a16="http://schemas.microsoft.com/office/drawing/2014/main" id="{A9CEDC96-5F98-502B-CFDE-340FA5F40277}"/>
              </a:ext>
            </a:extLst>
          </p:cNvPr>
          <p:cNvSpPr txBox="1">
            <a:spLocks/>
          </p:cNvSpPr>
          <p:nvPr/>
        </p:nvSpPr>
        <p:spPr>
          <a:xfrm>
            <a:off x="412436" y="1040608"/>
            <a:ext cx="11454667" cy="606080"/>
          </a:xfrm>
          <a:prstGeom prst="rect">
            <a:avLst/>
          </a:prstGeom>
        </p:spPr>
        <p:txBody>
          <a:bodyPr vert="horz" lIns="0" tIns="0" rIns="0" bIns="0" rtlCol="0" anchor="t">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1219170">
              <a:spcBef>
                <a:spcPts val="600"/>
              </a:spcBef>
              <a:spcAft>
                <a:spcPts val="998"/>
              </a:spcAft>
              <a:defRPr/>
            </a:pPr>
            <a:r>
              <a:rPr lang="en-US" sz="1050" dirty="0">
                <a:solidFill>
                  <a:prstClr val="black"/>
                </a:solidFill>
                <a:ea typeface="Open Sans Light" panose="020B0306030504020204" pitchFamily="34" charset="0"/>
                <a:cs typeface="Open Sans Light" panose="020B0306030504020204" pitchFamily="34" charset="0"/>
              </a:rPr>
              <a:t>Deloitte utilizes the below approach to implement BCMS in line with ISO 22301:2019 and CST. This encapsulates a phased approach which sets the tone at the top with BCM Governance, analysis of business-critical operations, design the recovery strategies and develop the recovery plans. This is further supported to enhance the Resilience culture of the organization through Training and Exercising and a Performance Improvement System.</a:t>
            </a:r>
          </a:p>
        </p:txBody>
      </p:sp>
      <p:sp>
        <p:nvSpPr>
          <p:cNvPr id="15" name="Text Placeholder 20">
            <a:extLst>
              <a:ext uri="{FF2B5EF4-FFF2-40B4-BE49-F238E27FC236}">
                <a16:creationId xmlns:a16="http://schemas.microsoft.com/office/drawing/2014/main" id="{6B4A0D92-C6D8-6824-EB56-BB9D78038F49}"/>
              </a:ext>
            </a:extLst>
          </p:cNvPr>
          <p:cNvSpPr txBox="1">
            <a:spLocks/>
          </p:cNvSpPr>
          <p:nvPr/>
        </p:nvSpPr>
        <p:spPr>
          <a:xfrm>
            <a:off x="412436"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1400" b="1" dirty="0">
                <a:solidFill>
                  <a:srgbClr val="575757"/>
                </a:solidFill>
                <a:latin typeface="+mn-lt"/>
                <a:ea typeface="Open Sans Light" panose="020B0306030504020204" pitchFamily="34" charset="0"/>
                <a:cs typeface="Open Sans Light" panose="020B0306030504020204" pitchFamily="34" charset="0"/>
              </a:rPr>
              <a:t>Our Methodology</a:t>
            </a:r>
          </a:p>
        </p:txBody>
      </p:sp>
    </p:spTree>
    <p:extLst>
      <p:ext uri="{BB962C8B-B14F-4D97-AF65-F5344CB8AC3E}">
        <p14:creationId xmlns:p14="http://schemas.microsoft.com/office/powerpoint/2010/main" val="1829617626"/>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ext Placeholder 20">
            <a:extLst>
              <a:ext uri="{FF2B5EF4-FFF2-40B4-BE49-F238E27FC236}">
                <a16:creationId xmlns:a16="http://schemas.microsoft.com/office/drawing/2014/main" id="{0B00487E-9A8E-46E0-B60F-BB884C23310C}"/>
              </a:ext>
            </a:extLst>
          </p:cNvPr>
          <p:cNvSpPr txBox="1">
            <a:spLocks/>
          </p:cNvSpPr>
          <p:nvPr/>
        </p:nvSpPr>
        <p:spPr>
          <a:xfrm>
            <a:off x="412436" y="736689"/>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mn-lt"/>
                <a:ea typeface="Open Sans Light" panose="020B0306030504020204" pitchFamily="34" charset="0"/>
                <a:cs typeface="Open Sans Light" panose="020B0306030504020204" pitchFamily="34" charset="0"/>
                <a:sym typeface="Open Sans Light"/>
              </a:rPr>
              <a:t>Our Reputation as Market Leader – Recognition</a:t>
            </a:r>
          </a:p>
        </p:txBody>
      </p:sp>
      <p:sp>
        <p:nvSpPr>
          <p:cNvPr id="76" name="Title 1">
            <a:extLst>
              <a:ext uri="{FF2B5EF4-FFF2-40B4-BE49-F238E27FC236}">
                <a16:creationId xmlns:a16="http://schemas.microsoft.com/office/drawing/2014/main" id="{11F95CE4-70DC-4FF6-9740-A5C6EC6923E7}"/>
              </a:ext>
            </a:extLst>
          </p:cNvPr>
          <p:cNvSpPr txBox="1">
            <a:spLocks/>
          </p:cNvSpPr>
          <p:nvPr/>
        </p:nvSpPr>
        <p:spPr bwMode="gray">
          <a:xfrm>
            <a:off x="412436"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400" kern="1200">
                <a:solidFill>
                  <a:srgbClr val="86BC25"/>
                </a:solidFill>
                <a:latin typeface="+mj-lt"/>
                <a:ea typeface="Verdana" panose="020B0604030504040204" pitchFamily="34" charset="0"/>
                <a:cs typeface="Calibri" panose="020F0502020204030204" pitchFamily="34" charset="0"/>
              </a:defRPr>
            </a:lvl1pPr>
          </a:lstStyle>
          <a:p>
            <a:pPr defTabSz="914400"/>
            <a:r>
              <a:rPr lang="en-US" sz="2000" kern="0" dirty="0">
                <a:solidFill>
                  <a:schemeClr val="tx2">
                    <a:lumMod val="50000"/>
                  </a:schemeClr>
                </a:solidFill>
                <a:latin typeface="+mn-lt"/>
                <a:ea typeface="Open Sans Semibold" panose="020B0706030804020204" pitchFamily="34" charset="0"/>
                <a:cs typeface="Open Sans Semibold" panose="020B0706030804020204" pitchFamily="34" charset="0"/>
              </a:rPr>
              <a:t>Executive Summary</a:t>
            </a:r>
          </a:p>
        </p:txBody>
      </p:sp>
      <p:sp>
        <p:nvSpPr>
          <p:cNvPr id="16" name="Text Placeholder 2">
            <a:extLst>
              <a:ext uri="{FF2B5EF4-FFF2-40B4-BE49-F238E27FC236}">
                <a16:creationId xmlns:a16="http://schemas.microsoft.com/office/drawing/2014/main" id="{C2231934-4C12-4291-A2F2-A54DF62ED105}"/>
              </a:ext>
            </a:extLst>
          </p:cNvPr>
          <p:cNvSpPr txBox="1">
            <a:spLocks/>
          </p:cNvSpPr>
          <p:nvPr/>
        </p:nvSpPr>
        <p:spPr>
          <a:xfrm>
            <a:off x="333200" y="1063577"/>
            <a:ext cx="5472403" cy="757255"/>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US" sz="1800" b="1" i="0" u="none" strike="noStrike" kern="1200" cap="none" spc="0" normalizeH="0" baseline="0" noProof="0" dirty="0">
                <a:ln>
                  <a:noFill/>
                </a:ln>
                <a:solidFill>
                  <a:srgbClr val="86BC25"/>
                </a:solidFill>
                <a:effectLst/>
                <a:uLnTx/>
                <a:uFillTx/>
                <a:ea typeface="Open Sans Light" panose="020B0306030504020204" pitchFamily="34" charset="0"/>
                <a:cs typeface="Open Sans Light" panose="020B0306030504020204" pitchFamily="34" charset="0"/>
              </a:rPr>
              <a:t>Deloitte is recognized as a global leader in capabilities, vision and execution</a:t>
            </a:r>
          </a:p>
        </p:txBody>
      </p:sp>
      <p:sp>
        <p:nvSpPr>
          <p:cNvPr id="17" name="Content Placeholder 3">
            <a:extLst>
              <a:ext uri="{FF2B5EF4-FFF2-40B4-BE49-F238E27FC236}">
                <a16:creationId xmlns:a16="http://schemas.microsoft.com/office/drawing/2014/main" id="{2088C13B-BB36-4AC2-91B8-77D54C41899C}"/>
              </a:ext>
            </a:extLst>
          </p:cNvPr>
          <p:cNvSpPr txBox="1">
            <a:spLocks/>
          </p:cNvSpPr>
          <p:nvPr/>
        </p:nvSpPr>
        <p:spPr>
          <a:xfrm>
            <a:off x="412436" y="1820832"/>
            <a:ext cx="6469087" cy="1779789"/>
          </a:xfrm>
          <a:prstGeom prst="rect">
            <a:avLst/>
          </a:prstGeom>
        </p:spPr>
        <p:txBody>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200" b="0" i="0" u="none" strike="noStrike" kern="1200" cap="none" spc="0" normalizeH="0" baseline="0" noProof="0" dirty="0">
                <a:ln>
                  <a:noFill/>
                </a:ln>
                <a:solidFill>
                  <a:prstClr val="black"/>
                </a:solidFill>
                <a:effectLst/>
                <a:uLnTx/>
                <a:uFillTx/>
                <a:ea typeface="Open Sans Light" panose="020B0306030504020204" pitchFamily="34" charset="0"/>
                <a:cs typeface="Open Sans Light" panose="020B0306030504020204" pitchFamily="34" charset="0"/>
              </a:rPr>
              <a:t>For several consecutive years, industry analysts have maintained their perspective on Deloitte Consulting practices globally.</a:t>
            </a:r>
          </a:p>
          <a:p>
            <a:pPr marL="0" marR="0" lvl="0" indent="0" algn="l" defTabSz="914400" rtl="0" eaLnBrk="1" fontAlgn="auto" latinLnBrk="0" hangingPunct="1">
              <a:lnSpc>
                <a:spcPct val="100000"/>
              </a:lnSpc>
              <a:spcBef>
                <a:spcPts val="300"/>
              </a:spcBef>
              <a:spcAft>
                <a:spcPts val="300"/>
              </a:spcAft>
              <a:buClrTx/>
              <a:buSzTx/>
              <a:buFont typeface="Arial" pitchFamily="34" charset="0"/>
              <a:buNone/>
              <a:tabLst/>
              <a:defRPr/>
            </a:pPr>
            <a:r>
              <a:rPr kumimoji="0" lang="en-US" sz="1200" b="0" i="0" u="none" strike="noStrike" kern="1200" cap="none" spc="0" normalizeH="0" baseline="0" noProof="0" dirty="0">
                <a:ln>
                  <a:noFill/>
                </a:ln>
                <a:solidFill>
                  <a:prstClr val="black"/>
                </a:solidFill>
                <a:effectLst/>
                <a:uLnTx/>
                <a:uFillTx/>
                <a:ea typeface="Open Sans Light" panose="020B0306030504020204" pitchFamily="34" charset="0"/>
                <a:cs typeface="Open Sans Light" panose="020B0306030504020204" pitchFamily="34" charset="0"/>
              </a:rPr>
              <a:t>As the </a:t>
            </a:r>
            <a:r>
              <a:rPr kumimoji="0" lang="en-US" sz="1200" b="1" i="0" u="none" strike="noStrike" kern="1200" cap="none" spc="0" normalizeH="0" baseline="0" noProof="0" dirty="0">
                <a:ln>
                  <a:noFill/>
                </a:ln>
                <a:solidFill>
                  <a:prstClr val="black"/>
                </a:solidFill>
                <a:effectLst/>
                <a:uLnTx/>
                <a:uFillTx/>
                <a:ea typeface="Open Sans Light" panose="020B0306030504020204" pitchFamily="34" charset="0"/>
                <a:cs typeface="Open Sans Light" panose="020B0306030504020204" pitchFamily="34" charset="0"/>
              </a:rPr>
              <a:t>world's largest management consulting business</a:t>
            </a:r>
            <a:r>
              <a:rPr kumimoji="0" lang="en-US" sz="1200" b="0" i="0" u="none" strike="noStrike" kern="1200" cap="none" spc="0" normalizeH="0" baseline="0" noProof="0" dirty="0">
                <a:ln>
                  <a:noFill/>
                </a:ln>
                <a:solidFill>
                  <a:prstClr val="black"/>
                </a:solidFill>
                <a:effectLst/>
                <a:uLnTx/>
                <a:uFillTx/>
                <a:ea typeface="Open Sans Light" panose="020B0306030504020204" pitchFamily="34" charset="0"/>
                <a:cs typeface="Open Sans Light" panose="020B0306030504020204" pitchFamily="34" charset="0"/>
              </a:rPr>
              <a:t>, Deloitte is distinct in its ability to help clients solve their most complex problems, from strategy to implementation. </a:t>
            </a: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200" b="0" i="0" u="none" strike="noStrike" kern="1200" cap="none" spc="0" normalizeH="0" baseline="0" noProof="0" dirty="0">
                <a:ln>
                  <a:noFill/>
                </a:ln>
                <a:solidFill>
                  <a:prstClr val="black"/>
                </a:solidFill>
                <a:effectLst/>
                <a:uLnTx/>
                <a:uFillTx/>
                <a:ea typeface="Open Sans Light" panose="020B0306030504020204" pitchFamily="34" charset="0"/>
                <a:cs typeface="Open Sans Light" panose="020B0306030504020204" pitchFamily="34" charset="0"/>
              </a:rPr>
              <a:t>We are differentiated by our </a:t>
            </a:r>
            <a:r>
              <a:rPr kumimoji="0" lang="en-US" sz="1200" b="1" i="0" u="none" strike="noStrike" kern="1200" cap="none" spc="0" normalizeH="0" baseline="0" noProof="0" dirty="0">
                <a:ln>
                  <a:noFill/>
                </a:ln>
                <a:solidFill>
                  <a:prstClr val="black"/>
                </a:solidFill>
                <a:effectLst/>
                <a:uLnTx/>
                <a:uFillTx/>
                <a:ea typeface="Open Sans Light" panose="020B0306030504020204" pitchFamily="34" charset="0"/>
                <a:cs typeface="Open Sans Light" panose="020B0306030504020204" pitchFamily="34" charset="0"/>
              </a:rPr>
              <a:t>capability to execute the advice </a:t>
            </a:r>
            <a:r>
              <a:rPr kumimoji="0" lang="en-US" sz="1200" b="0" i="0" u="none" strike="noStrike" kern="1200" cap="none" spc="0" normalizeH="0" baseline="0" noProof="0" dirty="0">
                <a:ln>
                  <a:noFill/>
                </a:ln>
                <a:solidFill>
                  <a:prstClr val="black"/>
                </a:solidFill>
                <a:effectLst/>
                <a:uLnTx/>
                <a:uFillTx/>
                <a:ea typeface="Open Sans Light" panose="020B0306030504020204" pitchFamily="34" charset="0"/>
                <a:cs typeface="Open Sans Light" panose="020B0306030504020204" pitchFamily="34" charset="0"/>
              </a:rPr>
              <a:t>we provide to help clients in the markets where they operate today and where they want to be in the future. Delivering this kind of value requires the skills to </a:t>
            </a:r>
            <a:r>
              <a:rPr kumimoji="0" lang="en-US" sz="1200" b="1" i="0" u="none" strike="noStrike" kern="1200" cap="none" spc="0" normalizeH="0" baseline="0" noProof="0" dirty="0">
                <a:ln>
                  <a:noFill/>
                </a:ln>
                <a:solidFill>
                  <a:prstClr val="black"/>
                </a:solidFill>
                <a:effectLst/>
                <a:uLnTx/>
                <a:uFillTx/>
                <a:ea typeface="Open Sans Light" panose="020B0306030504020204" pitchFamily="34" charset="0"/>
                <a:cs typeface="Open Sans Light" panose="020B0306030504020204" pitchFamily="34" charset="0"/>
              </a:rPr>
              <a:t>integrate a broad range of talent and skills </a:t>
            </a:r>
            <a:r>
              <a:rPr kumimoji="0" lang="en-US" sz="1200" b="0" i="0" u="none" strike="noStrike" kern="1200" cap="none" spc="0" normalizeH="0" baseline="0" noProof="0" dirty="0">
                <a:ln>
                  <a:noFill/>
                </a:ln>
                <a:solidFill>
                  <a:prstClr val="black"/>
                </a:solidFill>
                <a:effectLst/>
                <a:uLnTx/>
                <a:uFillTx/>
                <a:ea typeface="Open Sans Light" panose="020B0306030504020204" pitchFamily="34" charset="0"/>
                <a:cs typeface="Open Sans Light" panose="020B0306030504020204" pitchFamily="34" charset="0"/>
              </a:rPr>
              <a:t>– across human capital, strategy &amp; operations, and technology – aligned to the unique needs of our clients’ industry sectors, businesses, and organizations.</a:t>
            </a:r>
          </a:p>
          <a:p>
            <a:pPr marL="0" marR="0" lvl="0" indent="0" algn="l" defTabSz="914400" rtl="0" eaLnBrk="1" fontAlgn="auto" latinLnBrk="0" hangingPunct="1">
              <a:lnSpc>
                <a:spcPct val="100000"/>
              </a:lnSpc>
              <a:spcBef>
                <a:spcPts val="1200"/>
              </a:spcBef>
              <a:spcAft>
                <a:spcPts val="0"/>
              </a:spcAft>
              <a:buClrTx/>
              <a:buSzTx/>
              <a:buFont typeface="Arial" pitchFamily="34" charset="0"/>
              <a:buNone/>
              <a:tabLst/>
              <a:defRPr/>
            </a:pPr>
            <a:endParaRPr kumimoji="0" lang="en-US" sz="1200" b="0" i="0" u="none" strike="noStrike" kern="1200" cap="none" spc="0" normalizeH="0" baseline="0" noProof="0" dirty="0">
              <a:ln>
                <a:noFill/>
              </a:ln>
              <a:solidFill>
                <a:prstClr val="black"/>
              </a:solidFill>
              <a:effectLst/>
              <a:uLnTx/>
              <a:uFillTx/>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1200"/>
              </a:spcBef>
              <a:spcAft>
                <a:spcPts val="0"/>
              </a:spcAft>
              <a:buClrTx/>
              <a:buSzTx/>
              <a:buFont typeface="Arial" pitchFamily="34" charset="0"/>
              <a:buNone/>
              <a:tabLst/>
              <a:defRPr/>
            </a:pPr>
            <a:endParaRPr kumimoji="0" lang="en-US" sz="1200" b="1" i="0" u="none" strike="noStrike" kern="1200" cap="none" spc="0" normalizeH="0" baseline="0" noProof="0" dirty="0">
              <a:ln>
                <a:noFill/>
              </a:ln>
              <a:solidFill>
                <a:srgbClr val="00ABAB"/>
              </a:solidFill>
              <a:effectLst/>
              <a:uLnTx/>
              <a:uFillTx/>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1200"/>
              </a:spcBef>
              <a:spcAft>
                <a:spcPts val="0"/>
              </a:spcAft>
              <a:buClrTx/>
              <a:buSzTx/>
              <a:buFont typeface="Arial" pitchFamily="34" charset="0"/>
              <a:buNone/>
              <a:tabLst/>
              <a:defRPr/>
            </a:pPr>
            <a:endParaRPr kumimoji="0" lang="en-US" sz="1200" b="0" i="0" u="none" strike="noStrike" kern="1200" cap="none" spc="0" normalizeH="0" baseline="0" noProof="0" dirty="0">
              <a:ln>
                <a:noFill/>
              </a:ln>
              <a:solidFill>
                <a:prstClr val="black"/>
              </a:solidFill>
              <a:effectLst/>
              <a:uLnTx/>
              <a:uFillTx/>
              <a:ea typeface="Open Sans Light" panose="020B0306030504020204" pitchFamily="34" charset="0"/>
              <a:cs typeface="Open Sans Light" panose="020B0306030504020204" pitchFamily="34" charset="0"/>
            </a:endParaRPr>
          </a:p>
        </p:txBody>
      </p:sp>
      <p:sp>
        <p:nvSpPr>
          <p:cNvPr id="18" name="Text Placeholder 1">
            <a:extLst>
              <a:ext uri="{FF2B5EF4-FFF2-40B4-BE49-F238E27FC236}">
                <a16:creationId xmlns:a16="http://schemas.microsoft.com/office/drawing/2014/main" id="{86F39CD4-DB66-49CF-B077-424F943B67B0}"/>
              </a:ext>
            </a:extLst>
          </p:cNvPr>
          <p:cNvSpPr txBox="1">
            <a:spLocks/>
          </p:cNvSpPr>
          <p:nvPr/>
        </p:nvSpPr>
        <p:spPr>
          <a:xfrm>
            <a:off x="5676322" y="2310737"/>
            <a:ext cx="4463343" cy="371355"/>
          </a:xfrm>
          <a:prstGeom prst="rect">
            <a:avLst/>
          </a:prstGeom>
        </p:spPr>
        <p:txBody>
          <a:bodyPr vert="horz" lIns="0" tIns="0" rIns="0" bIns="0" rtlCol="0">
            <a:noAutofit/>
          </a:bodyPr>
          <a:lstStyle>
            <a:lvl1pPr marL="0" indent="0" algn="l" defTabSz="990577" rtl="0" eaLnBrk="1" latinLnBrk="0" hangingPunct="1">
              <a:spcBef>
                <a:spcPts val="0"/>
              </a:spcBef>
              <a:spcAft>
                <a:spcPts val="1082"/>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90577" rtl="0" eaLnBrk="1" latinLnBrk="0" hangingPunct="1">
              <a:spcBef>
                <a:spcPts val="0"/>
              </a:spcBef>
              <a:spcAft>
                <a:spcPts val="1082"/>
              </a:spcAft>
              <a:buClrTx/>
              <a:buSzPct val="100000"/>
              <a:buFont typeface="Arial"/>
              <a:buNone/>
              <a:defRPr lang="en-US" sz="1000" b="1" kern="1200" dirty="0" smtClean="0">
                <a:solidFill>
                  <a:schemeClr val="tx1"/>
                </a:solidFill>
                <a:latin typeface="+mn-lt"/>
                <a:ea typeface="+mn-ea"/>
                <a:cs typeface="+mn-cs"/>
              </a:defRPr>
            </a:lvl2pPr>
            <a:lvl3pPr marL="191095" indent="-191095" algn="l" defTabSz="990577" rtl="0" eaLnBrk="1" latinLnBrk="0" hangingPunct="1">
              <a:spcBef>
                <a:spcPts val="0"/>
              </a:spcBef>
              <a:spcAft>
                <a:spcPts val="1082"/>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92" indent="-191095" algn="l" defTabSz="990577" rtl="0" eaLnBrk="1" latinLnBrk="0" hangingPunct="1">
              <a:spcBef>
                <a:spcPts val="0"/>
              </a:spcBef>
              <a:spcAft>
                <a:spcPts val="1082"/>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6" indent="-191095" algn="l" defTabSz="865035" rtl="0" eaLnBrk="1" latinLnBrk="0" hangingPunct="1">
              <a:spcBef>
                <a:spcPts val="0"/>
              </a:spcBef>
              <a:spcAft>
                <a:spcPts val="1082"/>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6" indent="-191095" algn="l" defTabSz="990577" rtl="0" eaLnBrk="1" latinLnBrk="0" hangingPunct="1">
              <a:spcBef>
                <a:spcPts val="0"/>
              </a:spcBef>
              <a:spcAft>
                <a:spcPts val="1082"/>
              </a:spcAft>
              <a:buFont typeface="Verdana" panose="020B0604030504040204" pitchFamily="34" charset="0"/>
              <a:buChar char="−"/>
              <a:defRPr sz="1300" kern="1200" baseline="0">
                <a:solidFill>
                  <a:schemeClr val="tx1"/>
                </a:solidFill>
                <a:latin typeface="+mn-lt"/>
                <a:ea typeface="+mn-ea"/>
                <a:cs typeface="+mn-cs"/>
              </a:defRPr>
            </a:lvl6pPr>
            <a:lvl7pPr marL="577186" indent="-191095" algn="l" defTabSz="990577" rtl="0" eaLnBrk="1" latinLnBrk="0" hangingPunct="1">
              <a:spcBef>
                <a:spcPts val="0"/>
              </a:spcBef>
              <a:spcAft>
                <a:spcPts val="1082"/>
              </a:spcAft>
              <a:buFont typeface="Verdana" panose="020B0604030504040204" pitchFamily="34" charset="0"/>
              <a:buChar char="−"/>
              <a:defRPr sz="1300" kern="1200">
                <a:solidFill>
                  <a:schemeClr val="tx1"/>
                </a:solidFill>
                <a:latin typeface="+mn-lt"/>
                <a:ea typeface="+mn-ea"/>
                <a:cs typeface="+mn-cs"/>
              </a:defRPr>
            </a:lvl7pPr>
            <a:lvl8pPr marL="577186" indent="-191095" algn="l" defTabSz="990577" rtl="0" eaLnBrk="1" latinLnBrk="0" hangingPunct="1">
              <a:spcBef>
                <a:spcPts val="0"/>
              </a:spcBef>
              <a:spcAft>
                <a:spcPts val="1082"/>
              </a:spcAft>
              <a:buFont typeface="Verdana" panose="020B0604030504040204" pitchFamily="34" charset="0"/>
              <a:buChar char="−"/>
              <a:defRPr sz="1300" kern="1200" baseline="0">
                <a:solidFill>
                  <a:schemeClr val="tx1"/>
                </a:solidFill>
                <a:latin typeface="+mn-lt"/>
                <a:ea typeface="+mn-ea"/>
                <a:cs typeface="+mn-cs"/>
              </a:defRPr>
            </a:lvl8pPr>
            <a:lvl9pPr marL="577186" indent="-191095" algn="l" defTabSz="990577" rtl="0" eaLnBrk="1" latinLnBrk="0" hangingPunct="1">
              <a:spcBef>
                <a:spcPts val="0"/>
              </a:spcBef>
              <a:spcAft>
                <a:spcPts val="1082"/>
              </a:spcAft>
              <a:buFont typeface="Verdana" panose="020B0604030504040204" pitchFamily="34" charset="0"/>
              <a:buChar char="−"/>
              <a:defRPr sz="1300" kern="1200" baseline="0">
                <a:solidFill>
                  <a:schemeClr val="tx1"/>
                </a:solidFill>
                <a:latin typeface="+mn-lt"/>
                <a:ea typeface="+mn-ea"/>
                <a:cs typeface="+mn-cs"/>
              </a:defRPr>
            </a:lvl9pPr>
          </a:lstStyle>
          <a:p>
            <a:pPr marL="0" marR="0" lvl="0" indent="0" algn="l" defTabSz="990577" rtl="0" eaLnBrk="1" fontAlgn="auto" latinLnBrk="0" hangingPunct="1">
              <a:lnSpc>
                <a:spcPct val="100000"/>
              </a:lnSpc>
              <a:spcBef>
                <a:spcPts val="0"/>
              </a:spcBef>
              <a:spcAft>
                <a:spcPts val="1082"/>
              </a:spcAft>
              <a:buClrTx/>
              <a:buSzPct val="100000"/>
              <a:buFont typeface="Arial" panose="020B0604020202020204" pitchFamily="34" charset="0"/>
              <a:buNone/>
              <a:tabLst/>
              <a:defRPr/>
            </a:pPr>
            <a:endParaRPr kumimoji="0" lang="en-US" sz="1600" b="0" i="0" u="none" strike="noStrike" kern="1200" cap="none" spc="0" normalizeH="0" baseline="0" noProof="0">
              <a:ln>
                <a:noFill/>
              </a:ln>
              <a:solidFill>
                <a:prstClr val="white">
                  <a:lumMod val="50000"/>
                </a:prst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 name="Oval 18">
            <a:extLst>
              <a:ext uri="{FF2B5EF4-FFF2-40B4-BE49-F238E27FC236}">
                <a16:creationId xmlns:a16="http://schemas.microsoft.com/office/drawing/2014/main" id="{39C530F9-1C7B-4242-8696-B76668774E13}"/>
              </a:ext>
            </a:extLst>
          </p:cNvPr>
          <p:cNvSpPr/>
          <p:nvPr/>
        </p:nvSpPr>
        <p:spPr bwMode="gray">
          <a:xfrm>
            <a:off x="7078994" y="1897248"/>
            <a:ext cx="1340521" cy="1340521"/>
          </a:xfrm>
          <a:prstGeom prst="ellipse">
            <a:avLst/>
          </a:prstGeom>
          <a:solidFill>
            <a:srgbClr val="046A38"/>
          </a:solidFill>
          <a:ln w="19050" algn="ctr">
            <a:noFill/>
            <a:miter lim="800000"/>
            <a:headEnd/>
            <a:tailEnd/>
          </a:ln>
        </p:spPr>
        <p:txBody>
          <a:bodyPr wrap="square" lIns="0" tIns="0" rIns="0" bIns="63125" rtlCol="0" anchor="ctr"/>
          <a:lstStyle/>
          <a:p>
            <a:pPr marL="0" marR="0" lvl="0" indent="0" algn="ctr" defTabSz="63304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mn-lt"/>
                <a:ea typeface="Open Sans Light" panose="020B0306030504020204" pitchFamily="34" charset="0"/>
                <a:cs typeface="Open Sans Light" panose="020B0306030504020204" pitchFamily="34" charset="0"/>
              </a:rPr>
              <a:t>#1</a:t>
            </a:r>
          </a:p>
          <a:p>
            <a:pPr marL="0" marR="0" lvl="0" indent="0" algn="ctr" defTabSz="63304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Open Sans Light" panose="020B0306030504020204" pitchFamily="34" charset="0"/>
                <a:cs typeface="Open Sans Light" panose="020B0306030504020204" pitchFamily="34" charset="0"/>
              </a:rPr>
              <a:t>globally in </a:t>
            </a:r>
          </a:p>
          <a:p>
            <a:pPr marL="0" marR="0" lvl="0" indent="0" algn="ctr" defTabSz="63304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Open Sans Light" panose="020B0306030504020204" pitchFamily="34" charset="0"/>
                <a:cs typeface="Open Sans Light" panose="020B0306030504020204" pitchFamily="34" charset="0"/>
              </a:rPr>
              <a:t>Consulting based </a:t>
            </a:r>
          </a:p>
          <a:p>
            <a:pPr marL="0" marR="0" lvl="0" indent="0" algn="ctr" defTabSz="63304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Open Sans Light" panose="020B0306030504020204" pitchFamily="34" charset="0"/>
                <a:cs typeface="Open Sans Light" panose="020B0306030504020204" pitchFamily="34" charset="0"/>
              </a:rPr>
              <a:t>on revenue by </a:t>
            </a:r>
          </a:p>
          <a:p>
            <a:pPr marL="0" marR="0" lvl="0" indent="0" algn="ctr" defTabSz="63304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Open Sans Light" panose="020B0306030504020204" pitchFamily="34" charset="0"/>
                <a:cs typeface="Open Sans Light" panose="020B0306030504020204" pitchFamily="34" charset="0"/>
              </a:rPr>
              <a:t>Gartner</a:t>
            </a:r>
            <a:r>
              <a:rPr kumimoji="0" lang="en-US" sz="900" b="0" i="0" u="none" strike="noStrike" kern="1200" cap="none" spc="0" normalizeH="0" baseline="30000" noProof="0" dirty="0">
                <a:ln>
                  <a:noFill/>
                </a:ln>
                <a:solidFill>
                  <a:srgbClr val="FFFFFF"/>
                </a:solidFill>
                <a:effectLst/>
                <a:uLnTx/>
                <a:uFillTx/>
                <a:latin typeface="+mn-lt"/>
                <a:ea typeface="Open Sans Light" panose="020B0306030504020204" pitchFamily="34" charset="0"/>
                <a:cs typeface="Open Sans Light" panose="020B0306030504020204" pitchFamily="34" charset="0"/>
              </a:rPr>
              <a:t>1</a:t>
            </a:r>
          </a:p>
        </p:txBody>
      </p:sp>
      <p:sp>
        <p:nvSpPr>
          <p:cNvPr id="20" name="Oval 19">
            <a:extLst>
              <a:ext uri="{FF2B5EF4-FFF2-40B4-BE49-F238E27FC236}">
                <a16:creationId xmlns:a16="http://schemas.microsoft.com/office/drawing/2014/main" id="{14E03251-E113-48A8-8BFD-22750A6C06AE}"/>
              </a:ext>
            </a:extLst>
          </p:cNvPr>
          <p:cNvSpPr/>
          <p:nvPr/>
        </p:nvSpPr>
        <p:spPr bwMode="gray">
          <a:xfrm>
            <a:off x="9998495" y="1882660"/>
            <a:ext cx="1340521" cy="1340521"/>
          </a:xfrm>
          <a:prstGeom prst="ellipse">
            <a:avLst/>
          </a:prstGeom>
          <a:solidFill>
            <a:srgbClr val="53565A"/>
          </a:solidFill>
          <a:ln w="6350" algn="ctr">
            <a:solidFill>
              <a:schemeClr val="bg1"/>
            </a:solidFill>
            <a:miter lim="800000"/>
            <a:headEnd/>
            <a:tailEnd/>
          </a:ln>
        </p:spPr>
        <p:txBody>
          <a:bodyPr wrap="square" lIns="0" tIns="0" rIns="0" bIns="0" rtlCol="0" anchor="ctr"/>
          <a:lstStyle/>
          <a:p>
            <a:pPr marL="0" marR="0" lvl="0" indent="0" algn="ctr" defTabSz="633046" rtl="0" eaLnBrk="1" fontAlgn="auto" latinLnBrk="0" hangingPunct="1">
              <a:lnSpc>
                <a:spcPct val="106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mn-lt"/>
                <a:ea typeface="Open Sans Light" panose="020B0306030504020204" pitchFamily="34" charset="0"/>
                <a:cs typeface="Open Sans Light" panose="020B0306030504020204" pitchFamily="34" charset="0"/>
              </a:rPr>
              <a:t>#1</a:t>
            </a:r>
          </a:p>
          <a:p>
            <a:pPr marL="0" marR="0" lvl="0" indent="0" algn="ctr" defTabSz="633046" rtl="0" eaLnBrk="1" fontAlgn="auto" latinLnBrk="0" hangingPunct="1">
              <a:lnSpc>
                <a:spcPct val="106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mn-lt"/>
                <a:ea typeface="Open Sans Light" panose="020B0306030504020204" pitchFamily="34" charset="0"/>
                <a:cs typeface="Open Sans Light" panose="020B0306030504020204" pitchFamily="34" charset="0"/>
              </a:rPr>
              <a:t>globally in Consulting based on revenue and market share by Kennedy</a:t>
            </a:r>
            <a:r>
              <a:rPr kumimoji="0" lang="en-US" sz="900" b="0" i="0" u="none" strike="noStrike" kern="1200" cap="none" spc="0" normalizeH="0" baseline="30000" noProof="0">
                <a:ln>
                  <a:noFill/>
                </a:ln>
                <a:solidFill>
                  <a:srgbClr val="FFFFFF"/>
                </a:solidFill>
                <a:effectLst/>
                <a:uLnTx/>
                <a:uFillTx/>
                <a:latin typeface="+mn-lt"/>
                <a:ea typeface="Open Sans Light" panose="020B0306030504020204" pitchFamily="34" charset="0"/>
                <a:cs typeface="Open Sans Light" panose="020B0306030504020204" pitchFamily="34" charset="0"/>
              </a:rPr>
              <a:t>3</a:t>
            </a:r>
            <a:r>
              <a:rPr kumimoji="0" lang="en-US" sz="900" b="0" i="0" u="none" strike="noStrike" kern="1200" cap="none" spc="0" normalizeH="0" baseline="0" noProof="0">
                <a:ln>
                  <a:noFill/>
                </a:ln>
                <a:solidFill>
                  <a:srgbClr val="FFFFFF"/>
                </a:solidFill>
                <a:effectLst/>
                <a:uLnTx/>
                <a:uFillTx/>
                <a:latin typeface="+mn-lt"/>
                <a:ea typeface="Open Sans Light" panose="020B0306030504020204" pitchFamily="34" charset="0"/>
                <a:cs typeface="Open Sans Light" panose="020B0306030504020204" pitchFamily="34" charset="0"/>
              </a:rPr>
              <a:t> </a:t>
            </a:r>
          </a:p>
        </p:txBody>
      </p:sp>
      <p:sp>
        <p:nvSpPr>
          <p:cNvPr id="21" name="Oval 20">
            <a:extLst>
              <a:ext uri="{FF2B5EF4-FFF2-40B4-BE49-F238E27FC236}">
                <a16:creationId xmlns:a16="http://schemas.microsoft.com/office/drawing/2014/main" id="{E90D9462-8BF5-41C4-9EB5-DA21D4ECB760}"/>
              </a:ext>
            </a:extLst>
          </p:cNvPr>
          <p:cNvSpPr/>
          <p:nvPr/>
        </p:nvSpPr>
        <p:spPr bwMode="gray">
          <a:xfrm>
            <a:off x="8528439" y="1869101"/>
            <a:ext cx="1340521" cy="1340521"/>
          </a:xfrm>
          <a:prstGeom prst="ellipse">
            <a:avLst/>
          </a:prstGeom>
          <a:solidFill>
            <a:srgbClr val="D9F1FA"/>
          </a:solidFill>
          <a:ln w="6350" algn="ctr">
            <a:solidFill>
              <a:schemeClr val="bg1"/>
            </a:solidFill>
            <a:miter lim="800000"/>
            <a:headEnd/>
            <a:tailEnd/>
          </a:ln>
        </p:spPr>
        <p:txBody>
          <a:bodyPr wrap="square" lIns="0" tIns="0" rIns="0" bIns="0" rtlCol="0" anchor="ctr"/>
          <a:lstStyle/>
          <a:p>
            <a:pPr marL="0" marR="0" lvl="0" indent="0" algn="ctr" defTabSz="633046"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rPr>
              <a:t>A</a:t>
            </a:r>
          </a:p>
          <a:p>
            <a:pPr marL="0" marR="0" lvl="0" indent="0" algn="ctr" defTabSz="633046"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rPr>
              <a:t> </a:t>
            </a:r>
            <a:r>
              <a:rPr kumimoji="0" lang="en-US" sz="900" b="1" i="0" u="none" strike="noStrike" kern="120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rPr>
              <a:t>worldwide leader</a:t>
            </a:r>
            <a:br>
              <a:rPr kumimoji="0" lang="en-US" sz="900" b="1" i="0" u="none" strike="noStrike" kern="120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rPr>
            </a:br>
            <a:r>
              <a:rPr kumimoji="0" lang="en-US" sz="900" b="0" i="0" u="none" strike="noStrike" kern="120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rPr>
              <a:t>in Business Consulting Services based on capability and strategy by IDC MarketScape</a:t>
            </a:r>
            <a:r>
              <a:rPr kumimoji="0" lang="en-US" sz="900" b="0" i="0" u="none" strike="noStrike" kern="1200" cap="none" spc="0" normalizeH="0" baseline="30000" noProof="0">
                <a:ln>
                  <a:noFill/>
                </a:ln>
                <a:solidFill>
                  <a:prstClr val="black"/>
                </a:solidFill>
                <a:effectLst/>
                <a:uLnTx/>
                <a:uFillTx/>
                <a:latin typeface="+mn-lt"/>
                <a:ea typeface="Open Sans Light" panose="020B0306030504020204" pitchFamily="34" charset="0"/>
                <a:cs typeface="Open Sans Light" panose="020B0306030504020204" pitchFamily="34" charset="0"/>
              </a:rPr>
              <a:t>2</a:t>
            </a:r>
            <a:endParaRPr kumimoji="0" lang="en-US" sz="800" b="0" i="0" u="none" strike="noStrike" kern="1200" cap="none" spc="0" normalizeH="0" baseline="30000" noProof="0">
              <a:ln>
                <a:noFill/>
              </a:ln>
              <a:solidFill>
                <a:prstClr val="black"/>
              </a:solidFill>
              <a:effectLst/>
              <a:uLnTx/>
              <a:uFillTx/>
              <a:latin typeface="+mn-lt"/>
              <a:ea typeface="Open Sans Light" panose="020B0306030504020204" pitchFamily="34" charset="0"/>
              <a:cs typeface="Open Sans Light" panose="020B0306030504020204" pitchFamily="34" charset="0"/>
            </a:endParaRPr>
          </a:p>
        </p:txBody>
      </p:sp>
      <p:sp>
        <p:nvSpPr>
          <p:cNvPr id="22" name="Rectangle 21">
            <a:extLst>
              <a:ext uri="{FF2B5EF4-FFF2-40B4-BE49-F238E27FC236}">
                <a16:creationId xmlns:a16="http://schemas.microsoft.com/office/drawing/2014/main" id="{2F3725C8-1E7E-4C0F-B28E-E6E763F22508}"/>
              </a:ext>
            </a:extLst>
          </p:cNvPr>
          <p:cNvSpPr/>
          <p:nvPr/>
        </p:nvSpPr>
        <p:spPr>
          <a:xfrm>
            <a:off x="333200" y="3644778"/>
            <a:ext cx="6068204" cy="369332"/>
          </a:xfrm>
          <a:prstGeom prst="rect">
            <a:avLst/>
          </a:prstGeom>
        </p:spPr>
        <p:txBody>
          <a:bodyPr wrap="square">
            <a:spAutoFit/>
          </a:bodyPr>
          <a:lstStyle/>
          <a:p>
            <a:pPr hangingPunct="1">
              <a:spcAft>
                <a:spcPts val="1000"/>
              </a:spcAft>
              <a:buSzPct val="100000"/>
              <a:defRPr/>
            </a:pPr>
            <a:r>
              <a:rPr lang="en-US" sz="1800" b="1" kern="1200" dirty="0">
                <a:solidFill>
                  <a:srgbClr val="86BC25"/>
                </a:solidFill>
                <a:latin typeface="+mn-lt"/>
                <a:ea typeface="Open Sans Light" panose="020B0306030504020204" pitchFamily="34" charset="0"/>
                <a:cs typeface="Open Sans Light" panose="020B0306030504020204" pitchFamily="34" charset="0"/>
              </a:rPr>
              <a:t>What the Analysts say about Deloitte</a:t>
            </a:r>
          </a:p>
        </p:txBody>
      </p:sp>
      <p:sp>
        <p:nvSpPr>
          <p:cNvPr id="23" name="Oval 22">
            <a:extLst>
              <a:ext uri="{FF2B5EF4-FFF2-40B4-BE49-F238E27FC236}">
                <a16:creationId xmlns:a16="http://schemas.microsoft.com/office/drawing/2014/main" id="{1E067E9D-4686-43F7-AA31-A81C55A039BD}"/>
              </a:ext>
            </a:extLst>
          </p:cNvPr>
          <p:cNvSpPr/>
          <p:nvPr/>
        </p:nvSpPr>
        <p:spPr bwMode="gray">
          <a:xfrm>
            <a:off x="2821366" y="4187476"/>
            <a:ext cx="1620850" cy="1620853"/>
          </a:xfrm>
          <a:prstGeom prst="ellipse">
            <a:avLst/>
          </a:prstGeom>
          <a:solidFill>
            <a:srgbClr val="86BC25"/>
          </a:solidFill>
          <a:ln w="6350" algn="ctr">
            <a:solidFill>
              <a:schemeClr val="bg1"/>
            </a:solidFill>
            <a:miter lim="800000"/>
            <a:headEnd/>
            <a:tailEnd/>
          </a:ln>
        </p:spPr>
        <p:txBody>
          <a:bodyPr wrap="square"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mn-lt"/>
                <a:ea typeface="Open Sans Light" panose="020B0306030504020204" pitchFamily="34" charset="0"/>
                <a:cs typeface="Open Sans Light" panose="020B0306030504020204" pitchFamily="34" charset="0"/>
              </a:rPr>
              <a:t>A leader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Open Sans Light" panose="020B0306030504020204" pitchFamily="34" charset="0"/>
                <a:cs typeface="Open Sans Light" panose="020B0306030504020204" pitchFamily="34" charset="0"/>
              </a:rPr>
              <a:t>in Global Risk Management Consulting Services, based on completeness of vision and ability to execute” by Gartner </a:t>
            </a:r>
            <a:r>
              <a:rPr kumimoji="0" lang="en-US" sz="1000" b="0" i="0" u="none" strike="noStrike" kern="0" cap="none" spc="0" normalizeH="0" baseline="30000" noProof="0">
                <a:ln>
                  <a:noFill/>
                </a:ln>
                <a:solidFill>
                  <a:srgbClr val="000000"/>
                </a:solidFill>
                <a:effectLst/>
                <a:uLnTx/>
                <a:uFillTx/>
                <a:latin typeface="+mn-lt"/>
                <a:ea typeface="Open Sans Light" panose="020B0306030504020204" pitchFamily="34" charset="0"/>
                <a:cs typeface="Open Sans Light" panose="020B0306030504020204" pitchFamily="34" charset="0"/>
              </a:rPr>
              <a:t>3a</a:t>
            </a:r>
          </a:p>
        </p:txBody>
      </p:sp>
      <p:sp>
        <p:nvSpPr>
          <p:cNvPr id="24" name="Oval 23">
            <a:extLst>
              <a:ext uri="{FF2B5EF4-FFF2-40B4-BE49-F238E27FC236}">
                <a16:creationId xmlns:a16="http://schemas.microsoft.com/office/drawing/2014/main" id="{EE47ECB9-C5D2-4C7D-8F3A-1696FCE670D8}"/>
              </a:ext>
            </a:extLst>
          </p:cNvPr>
          <p:cNvSpPr/>
          <p:nvPr/>
        </p:nvSpPr>
        <p:spPr bwMode="gray">
          <a:xfrm>
            <a:off x="1017168" y="4149576"/>
            <a:ext cx="1620850" cy="1620848"/>
          </a:xfrm>
          <a:prstGeom prst="ellipse">
            <a:avLst/>
          </a:prstGeom>
          <a:solidFill>
            <a:schemeClr val="tx2"/>
          </a:solidFill>
          <a:ln w="19050" algn="ctr">
            <a:noFill/>
            <a:miter lim="800000"/>
            <a:headEnd/>
            <a:tailEnd/>
          </a:ln>
        </p:spPr>
        <p:txBody>
          <a:bodyPr wrap="square" lIns="0" tIns="0" rIns="0" bIns="63125"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rPr>
              <a:t>A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rPr>
              <a:t>global leader</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rPr>
              <a:t> in Business</a:t>
            </a:r>
            <a:r>
              <a:rPr kumimoji="0" lang="en-US" sz="10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rPr>
              <a:t> </a:t>
            </a:r>
            <a:r>
              <a:rPr kumimoji="0" lang="en-US" sz="1000" b="0"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rPr>
              <a:t>Transformation</a:t>
            </a:r>
            <a:r>
              <a:rPr kumimoji="0" lang="en-US" sz="10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rPr>
              <a:t> </a:t>
            </a:r>
            <a:r>
              <a:rPr kumimoji="0" lang="en-US" sz="1000" b="0"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rPr>
              <a:t>consulting based on strategy and current offering” by Forrester </a:t>
            </a:r>
            <a:r>
              <a:rPr kumimoji="0" lang="en-US" sz="1000" b="0" i="0" u="none" strike="noStrike" kern="1200" cap="none" spc="0" normalizeH="0" baseline="30000" noProof="0">
                <a:ln>
                  <a:noFill/>
                </a:ln>
                <a:solidFill>
                  <a:prstClr val="white"/>
                </a:solidFill>
                <a:effectLst/>
                <a:uLnTx/>
                <a:uFillTx/>
                <a:latin typeface="+mn-lt"/>
                <a:ea typeface="Open Sans Light" panose="020B0306030504020204" pitchFamily="34" charset="0"/>
                <a:cs typeface="Open Sans Light" panose="020B0306030504020204" pitchFamily="34" charset="0"/>
              </a:rPr>
              <a:t>5</a:t>
            </a:r>
          </a:p>
        </p:txBody>
      </p:sp>
      <p:sp>
        <p:nvSpPr>
          <p:cNvPr id="25" name="Oval 24">
            <a:extLst>
              <a:ext uri="{FF2B5EF4-FFF2-40B4-BE49-F238E27FC236}">
                <a16:creationId xmlns:a16="http://schemas.microsoft.com/office/drawing/2014/main" id="{2BA8491C-E0CE-45AF-8E3A-8AB95CD61782}"/>
              </a:ext>
            </a:extLst>
          </p:cNvPr>
          <p:cNvSpPr/>
          <p:nvPr/>
        </p:nvSpPr>
        <p:spPr bwMode="gray">
          <a:xfrm>
            <a:off x="4641952" y="4173568"/>
            <a:ext cx="1620851" cy="1620851"/>
          </a:xfrm>
          <a:prstGeom prst="ellipse">
            <a:avLst/>
          </a:prstGeom>
          <a:solidFill>
            <a:srgbClr val="046A38"/>
          </a:solidFill>
          <a:ln w="6350" algn="ctr">
            <a:solidFill>
              <a:schemeClr val="bg1"/>
            </a:solidFill>
            <a:miter lim="800000"/>
            <a:headEnd/>
            <a:tailEnd/>
          </a:ln>
        </p:spPr>
        <p:txBody>
          <a:bodyPr wrap="square"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rPr>
              <a:t>A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rPr>
              <a:t>worldwide leader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rPr>
              <a:t>in Organizational Consulting Services based on capability and strategy” by IDC </a:t>
            </a:r>
            <a:r>
              <a:rPr kumimoji="0" lang="en-US" sz="1000" b="0" i="0" u="none" strike="noStrike" kern="0" cap="none" spc="0" normalizeH="0" baseline="30000" noProof="0">
                <a:ln>
                  <a:noFill/>
                </a:ln>
                <a:solidFill>
                  <a:prstClr val="white"/>
                </a:solidFill>
                <a:effectLst/>
                <a:uLnTx/>
                <a:uFillTx/>
                <a:latin typeface="+mn-lt"/>
                <a:ea typeface="Open Sans Light" panose="020B0306030504020204" pitchFamily="34" charset="0"/>
                <a:cs typeface="Open Sans Light" panose="020B0306030504020204" pitchFamily="34" charset="0"/>
              </a:rPr>
              <a:t>4 </a:t>
            </a:r>
            <a:endParaRPr kumimoji="0" lang="en-US" sz="1000" b="0" i="0" u="none" strike="noStrike" kern="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endParaRPr>
          </a:p>
        </p:txBody>
      </p:sp>
      <p:sp>
        <p:nvSpPr>
          <p:cNvPr id="26" name="Oval 25">
            <a:extLst>
              <a:ext uri="{FF2B5EF4-FFF2-40B4-BE49-F238E27FC236}">
                <a16:creationId xmlns:a16="http://schemas.microsoft.com/office/drawing/2014/main" id="{F1D4BEE1-096B-46CF-9F63-F60E90ECC3A5}"/>
              </a:ext>
            </a:extLst>
          </p:cNvPr>
          <p:cNvSpPr/>
          <p:nvPr/>
        </p:nvSpPr>
        <p:spPr bwMode="gray">
          <a:xfrm>
            <a:off x="6525945" y="4172065"/>
            <a:ext cx="1620851" cy="1620848"/>
          </a:xfrm>
          <a:prstGeom prst="ellipse">
            <a:avLst/>
          </a:prstGeom>
          <a:solidFill>
            <a:srgbClr val="D9F1FA"/>
          </a:solidFill>
          <a:ln w="19050" algn="ctr">
            <a:noFill/>
            <a:miter lim="800000"/>
            <a:headEnd/>
            <a:tailEnd/>
          </a:ln>
        </p:spPr>
        <p:txBody>
          <a:bodyPr wrap="square" lIns="0" tIns="0" rIns="0" bIns="63125"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ysClr val="windowText" lastClr="000000"/>
                </a:solidFill>
                <a:effectLst/>
                <a:uLnTx/>
                <a:uFillTx/>
                <a:latin typeface="+mn-lt"/>
                <a:ea typeface="Open Sans Light" panose="020B0306030504020204" pitchFamily="34" charset="0"/>
                <a:cs typeface="Open Sans Light" panose="020B0306030504020204" pitchFamily="34" charset="0"/>
              </a:rPr>
              <a:t>A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ysClr val="windowText" lastClr="000000"/>
                </a:solidFill>
                <a:effectLst/>
                <a:uLnTx/>
                <a:uFillTx/>
                <a:latin typeface="+mn-lt"/>
                <a:ea typeface="Open Sans Light" panose="020B0306030504020204" pitchFamily="34" charset="0"/>
                <a:cs typeface="Open Sans Light" panose="020B0306030504020204" pitchFamily="34" charset="0"/>
              </a:rPr>
              <a:t>global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ysClr val="windowText" lastClr="000000"/>
                </a:solidFill>
                <a:effectLst/>
                <a:uLnTx/>
                <a:uFillTx/>
                <a:latin typeface="+mn-lt"/>
                <a:ea typeface="Open Sans Light" panose="020B0306030504020204" pitchFamily="34" charset="0"/>
                <a:cs typeface="Open Sans Light" panose="020B0306030504020204" pitchFamily="34" charset="0"/>
              </a:rPr>
              <a:t>Leader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ysClr val="windowText" lastClr="000000"/>
                </a:solidFill>
                <a:effectLst/>
                <a:uLnTx/>
                <a:uFillTx/>
                <a:latin typeface="+mn-lt"/>
                <a:ea typeface="Open Sans Light" panose="020B0306030504020204" pitchFamily="34" charset="0"/>
                <a:cs typeface="Open Sans Light" panose="020B0306030504020204" pitchFamily="34" charset="0"/>
              </a:rPr>
              <a:t>in IT Consulting to the Energy &amp; Utilities Industries based on capabilities” by Kennedy </a:t>
            </a:r>
            <a:r>
              <a:rPr kumimoji="0" lang="en-US" sz="1000" b="0" i="0" u="none" strike="noStrike" kern="0" cap="none" spc="0" normalizeH="0" baseline="30000" noProof="0">
                <a:ln>
                  <a:noFill/>
                </a:ln>
                <a:solidFill>
                  <a:sysClr val="windowText" lastClr="000000"/>
                </a:solidFill>
                <a:effectLst/>
                <a:uLnTx/>
                <a:uFillTx/>
                <a:latin typeface="+mn-lt"/>
                <a:ea typeface="Open Sans Light" panose="020B0306030504020204" pitchFamily="34" charset="0"/>
                <a:cs typeface="Open Sans Light" panose="020B0306030504020204" pitchFamily="34" charset="0"/>
              </a:rPr>
              <a:t>2</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30000" noProof="0">
              <a:ln>
                <a:noFill/>
              </a:ln>
              <a:solidFill>
                <a:sysClr val="windowText" lastClr="000000"/>
              </a:solidFill>
              <a:effectLst/>
              <a:uLnTx/>
              <a:uFillTx/>
              <a:latin typeface="+mn-lt"/>
              <a:ea typeface="Open Sans Light" panose="020B0306030504020204" pitchFamily="34" charset="0"/>
              <a:cs typeface="Open Sans Light" panose="020B0306030504020204" pitchFamily="34" charset="0"/>
            </a:endParaRPr>
          </a:p>
        </p:txBody>
      </p:sp>
      <p:sp>
        <p:nvSpPr>
          <p:cNvPr id="27" name="Oval 26">
            <a:extLst>
              <a:ext uri="{FF2B5EF4-FFF2-40B4-BE49-F238E27FC236}">
                <a16:creationId xmlns:a16="http://schemas.microsoft.com/office/drawing/2014/main" id="{A040F9A4-3DDC-433E-9FB9-B3622D196559}"/>
              </a:ext>
            </a:extLst>
          </p:cNvPr>
          <p:cNvSpPr/>
          <p:nvPr/>
        </p:nvSpPr>
        <p:spPr bwMode="gray">
          <a:xfrm>
            <a:off x="8378825" y="4192861"/>
            <a:ext cx="1620851" cy="1620847"/>
          </a:xfrm>
          <a:prstGeom prst="ellipse">
            <a:avLst/>
          </a:prstGeom>
          <a:solidFill>
            <a:srgbClr val="86BC25"/>
          </a:solidFill>
          <a:ln w="19050" algn="ctr">
            <a:noFill/>
            <a:miter lim="800000"/>
            <a:headEnd/>
            <a:tailEnd/>
          </a:ln>
        </p:spPr>
        <p:txBody>
          <a:bodyPr wrap="square" lIns="0" tIns="0" rIns="0" bIns="63125"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solidFill>
                <a:effectLst/>
                <a:uLnTx/>
                <a:uFillTx/>
                <a:latin typeface="+mn-lt"/>
                <a:ea typeface="Open Sans Light" panose="020B0306030504020204" pitchFamily="34" charset="0"/>
                <a:cs typeface="Open Sans Light" panose="020B0306030504020204" pitchFamily="34" charset="0"/>
              </a:rPr>
              <a:t>A global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solidFill>
                <a:effectLst/>
                <a:uLnTx/>
                <a:uFillTx/>
                <a:latin typeface="+mn-lt"/>
                <a:ea typeface="Open Sans Light" panose="020B0306030504020204" pitchFamily="34" charset="0"/>
                <a:cs typeface="Open Sans Light" panose="020B0306030504020204" pitchFamily="34" charset="0"/>
              </a:rPr>
              <a:t>leader </a:t>
            </a:r>
            <a:r>
              <a:rPr kumimoji="0" lang="en-US" sz="1000" b="0" i="0" u="none" strike="noStrike" kern="0" cap="none" spc="0" normalizeH="0" baseline="0" noProof="0">
                <a:ln>
                  <a:noFill/>
                </a:ln>
                <a:solidFill>
                  <a:srgbClr val="000000"/>
                </a:solidFill>
                <a:effectLst/>
                <a:uLnTx/>
                <a:uFillTx/>
                <a:latin typeface="+mn-lt"/>
                <a:ea typeface="Open Sans Light" panose="020B0306030504020204" pitchFamily="34" charset="0"/>
                <a:cs typeface="Open Sans Light" panose="020B0306030504020204" pitchFamily="34" charset="0"/>
              </a:rPr>
              <a:t>in Forensics &amp; Dispute Advisory services based on breadth and depth capabilities” by Kennedy </a:t>
            </a:r>
            <a:r>
              <a:rPr kumimoji="0" lang="en-US" sz="1000" b="0" i="0" u="none" strike="noStrike" kern="0" cap="none" spc="0" normalizeH="0" baseline="30000" noProof="0">
                <a:ln>
                  <a:noFill/>
                </a:ln>
                <a:solidFill>
                  <a:srgbClr val="000000"/>
                </a:solidFill>
                <a:effectLst/>
                <a:uLnTx/>
                <a:uFillTx/>
                <a:latin typeface="+mn-lt"/>
                <a:ea typeface="Open Sans Light" panose="020B0306030504020204" pitchFamily="34" charset="0"/>
                <a:cs typeface="Open Sans Light" panose="020B0306030504020204" pitchFamily="34" charset="0"/>
              </a:rPr>
              <a:t>1</a:t>
            </a:r>
          </a:p>
        </p:txBody>
      </p:sp>
    </p:spTree>
    <p:extLst>
      <p:ext uri="{BB962C8B-B14F-4D97-AF65-F5344CB8AC3E}">
        <p14:creationId xmlns:p14="http://schemas.microsoft.com/office/powerpoint/2010/main" val="3332771343"/>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itle 1">
            <a:extLst>
              <a:ext uri="{FF2B5EF4-FFF2-40B4-BE49-F238E27FC236}">
                <a16:creationId xmlns:a16="http://schemas.microsoft.com/office/drawing/2014/main" id="{11F95CE4-70DC-4FF6-9740-A5C6EC6923E7}"/>
              </a:ext>
            </a:extLst>
          </p:cNvPr>
          <p:cNvSpPr txBox="1">
            <a:spLocks/>
          </p:cNvSpPr>
          <p:nvPr/>
        </p:nvSpPr>
        <p:spPr bwMode="gray">
          <a:xfrm>
            <a:off x="412436"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400" kern="1200">
                <a:solidFill>
                  <a:srgbClr val="86BC25"/>
                </a:solidFill>
                <a:latin typeface="+mj-lt"/>
                <a:ea typeface="Verdana" panose="020B0604030504040204" pitchFamily="34" charset="0"/>
                <a:cs typeface="Calibri" panose="020F0502020204030204" pitchFamily="34" charset="0"/>
              </a:defRPr>
            </a:lvl1pPr>
          </a:lstStyle>
          <a:p>
            <a:pPr defTabSz="914400"/>
            <a:r>
              <a:rPr lang="en-US" sz="2000" kern="0" dirty="0">
                <a:solidFill>
                  <a:schemeClr val="tx2">
                    <a:lumMod val="50000"/>
                  </a:schemeClr>
                </a:solidFill>
                <a:latin typeface="+mn-lt"/>
                <a:ea typeface="Open Sans Semibold" panose="020B0706030804020204" pitchFamily="34" charset="0"/>
                <a:cs typeface="Open Sans Semibold" panose="020B0706030804020204" pitchFamily="34" charset="0"/>
              </a:rPr>
              <a:t>Executive Summary</a:t>
            </a:r>
          </a:p>
        </p:txBody>
      </p:sp>
      <p:sp>
        <p:nvSpPr>
          <p:cNvPr id="2" name="Content Placeholder 37">
            <a:extLst>
              <a:ext uri="{FF2B5EF4-FFF2-40B4-BE49-F238E27FC236}">
                <a16:creationId xmlns:a16="http://schemas.microsoft.com/office/drawing/2014/main" id="{2E021508-94F7-22FA-5E40-A81C56062659}"/>
              </a:ext>
            </a:extLst>
          </p:cNvPr>
          <p:cNvSpPr txBox="1">
            <a:spLocks/>
          </p:cNvSpPr>
          <p:nvPr/>
        </p:nvSpPr>
        <p:spPr>
          <a:xfrm>
            <a:off x="465045" y="1112685"/>
            <a:ext cx="11252200" cy="500878"/>
          </a:xfrm>
          <a:prstGeom prst="rect">
            <a:avLst/>
          </a:prstGeom>
        </p:spPr>
        <p:txBody>
          <a:bodyPr lIns="0" rIns="0"/>
          <a:lstStyle>
            <a:lvl1pPr marL="0" indent="0" algn="l" defTabSz="1219170" rtl="0" eaLnBrk="1" latinLnBrk="0" hangingPunct="1">
              <a:lnSpc>
                <a:spcPct val="120000"/>
              </a:lnSpc>
              <a:spcBef>
                <a:spcPts val="0"/>
              </a:spcBef>
              <a:spcAft>
                <a:spcPts val="6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1219170" rtl="0" eaLnBrk="1" latinLnBrk="0" hangingPunct="1">
              <a:spcBef>
                <a:spcPts val="0"/>
              </a:spcBef>
              <a:spcAft>
                <a:spcPts val="600"/>
              </a:spcAft>
              <a:buClrTx/>
              <a:buSzPct val="100000"/>
              <a:buFont typeface="Arial"/>
              <a:buNone/>
              <a:defRPr lang="en-US" sz="11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6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6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6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just" defTabSz="1219170" rtl="0" eaLnBrk="1" fontAlgn="auto" latinLnBrk="0" hangingPunct="1">
              <a:lnSpc>
                <a:spcPct val="120000"/>
              </a:lnSpc>
              <a:spcBef>
                <a:spcPts val="0"/>
              </a:spcBef>
              <a:spcAft>
                <a:spcPts val="600"/>
              </a:spcAft>
              <a:buClrTx/>
              <a:buSzPct val="100000"/>
              <a:buFont typeface="Arial" panose="020B0604020202020204" pitchFamily="34" charset="0"/>
              <a:buNone/>
              <a:tabLst/>
              <a:defRPr/>
            </a:pPr>
            <a:r>
              <a:rPr kumimoji="0" lang="en-US" sz="1200" i="0" u="none" strike="noStrike" kern="1200" cap="none" spc="0" normalizeH="0" baseline="0" noProof="0" dirty="0">
                <a:ln>
                  <a:noFill/>
                </a:ln>
                <a:solidFill>
                  <a:prstClr val="black"/>
                </a:solidFill>
                <a:effectLst/>
                <a:uLnTx/>
                <a:uFillTx/>
                <a:ea typeface="Open Sans Light" panose="020B0306030504020204" pitchFamily="34" charset="0"/>
                <a:cs typeface="Open Sans Light" panose="020B0306030504020204" pitchFamily="34" charset="0"/>
              </a:rPr>
              <a:t>A leading organization such as </a:t>
            </a:r>
            <a:r>
              <a:rPr lang="en-US" sz="1200" dirty="0">
                <a:solidFill>
                  <a:schemeClr val="accent1"/>
                </a:solidFill>
                <a:ea typeface="Open Sans Light" panose="020B0306030504020204" pitchFamily="34" charset="0"/>
                <a:cs typeface="Open Sans Light" panose="020B0306030504020204" pitchFamily="34" charset="0"/>
              </a:rPr>
              <a:t>Salam </a:t>
            </a:r>
            <a:r>
              <a:rPr kumimoji="0" lang="en-US" sz="1200" i="0" u="none" strike="noStrike" kern="1200" cap="none" spc="0" normalizeH="0" baseline="0" noProof="0" dirty="0">
                <a:ln>
                  <a:noFill/>
                </a:ln>
                <a:solidFill>
                  <a:prstClr val="black"/>
                </a:solidFill>
                <a:effectLst/>
                <a:uLnTx/>
                <a:uFillTx/>
                <a:ea typeface="Open Sans Light" panose="020B0306030504020204" pitchFamily="34" charset="0"/>
                <a:cs typeface="Open Sans Light" panose="020B0306030504020204" pitchFamily="34" charset="0"/>
              </a:rPr>
              <a:t>can ensure that its resilience journey is set onto a successful and results-oriented path by partnering with an award-winning firm with proven experience.</a:t>
            </a:r>
          </a:p>
        </p:txBody>
      </p:sp>
      <p:sp>
        <p:nvSpPr>
          <p:cNvPr id="3" name="Rounded Rectangle 5">
            <a:extLst>
              <a:ext uri="{FF2B5EF4-FFF2-40B4-BE49-F238E27FC236}">
                <a16:creationId xmlns:a16="http://schemas.microsoft.com/office/drawing/2014/main" id="{CB921BC6-E533-24E9-3CF3-327F017D4AD6}"/>
              </a:ext>
            </a:extLst>
          </p:cNvPr>
          <p:cNvSpPr/>
          <p:nvPr/>
        </p:nvSpPr>
        <p:spPr bwMode="gray">
          <a:xfrm>
            <a:off x="443899" y="1674620"/>
            <a:ext cx="3685032" cy="385677"/>
          </a:xfrm>
          <a:prstGeom prst="rect">
            <a:avLst/>
          </a:prstGeom>
          <a:solidFill>
            <a:schemeClr val="accent1"/>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mn-lt"/>
                <a:cs typeface="Calibri Light" panose="020F0302020204030204" pitchFamily="34" charset="0"/>
              </a:rPr>
              <a:t>Award Winning Performance</a:t>
            </a:r>
          </a:p>
        </p:txBody>
      </p:sp>
      <p:sp>
        <p:nvSpPr>
          <p:cNvPr id="6" name="Rectangle 5">
            <a:extLst>
              <a:ext uri="{FF2B5EF4-FFF2-40B4-BE49-F238E27FC236}">
                <a16:creationId xmlns:a16="http://schemas.microsoft.com/office/drawing/2014/main" id="{ECB8CD6E-2A28-81CF-E6A2-0EB9F10BD51E}"/>
              </a:ext>
            </a:extLst>
          </p:cNvPr>
          <p:cNvSpPr/>
          <p:nvPr/>
        </p:nvSpPr>
        <p:spPr>
          <a:xfrm>
            <a:off x="443899" y="2065299"/>
            <a:ext cx="3685032" cy="4001095"/>
          </a:xfrm>
          <a:prstGeom prst="rect">
            <a:avLst/>
          </a:prstGeom>
        </p:spPr>
        <p:txBody>
          <a:bodyPr wrap="square">
            <a:spAutoFit/>
          </a:bodyPr>
          <a:lstStyle/>
          <a:p>
            <a:pPr defTabSz="1208241">
              <a:spcAft>
                <a:spcPct val="60000"/>
              </a:spcAft>
              <a:buClr>
                <a:srgbClr val="000000"/>
              </a:buClr>
              <a:defRPr/>
            </a:pPr>
            <a:r>
              <a:rPr lang="en-US" sz="1000" kern="0">
                <a:solidFill>
                  <a:prstClr val="black"/>
                </a:solidFill>
                <a:latin typeface="+mn-lt"/>
                <a:ea typeface="Verdana" panose="020B0604030504040204" pitchFamily="34" charset="0"/>
                <a:cs typeface="Calibri Light" panose="020F0302020204030204" pitchFamily="34" charset="0"/>
              </a:rPr>
              <a:t>A member of our team of Professionals have been honored with the prestigious BCM &amp; Risk Management award for his exceptional contribution at the </a:t>
            </a:r>
            <a:r>
              <a:rPr lang="en-US" sz="1000" b="1" kern="0">
                <a:solidFill>
                  <a:prstClr val="black"/>
                </a:solidFill>
                <a:latin typeface="+mn-lt"/>
                <a:ea typeface="Verdana" panose="020B0604030504040204" pitchFamily="34" charset="0"/>
                <a:cs typeface="Calibri Light" panose="020F0302020204030204" pitchFamily="34" charset="0"/>
              </a:rPr>
              <a:t>GCC Security Symposium &amp; CISO Awards 7</a:t>
            </a:r>
            <a:r>
              <a:rPr lang="en-US" sz="1000" b="1" kern="0" baseline="30000">
                <a:solidFill>
                  <a:prstClr val="black"/>
                </a:solidFill>
                <a:latin typeface="+mn-lt"/>
                <a:ea typeface="Verdana" panose="020B0604030504040204" pitchFamily="34" charset="0"/>
                <a:cs typeface="Calibri Light" panose="020F0302020204030204" pitchFamily="34" charset="0"/>
              </a:rPr>
              <a:t>th</a:t>
            </a:r>
            <a:r>
              <a:rPr lang="en-US" sz="1000" b="1" kern="0">
                <a:solidFill>
                  <a:prstClr val="black"/>
                </a:solidFill>
                <a:latin typeface="+mn-lt"/>
                <a:ea typeface="Verdana" panose="020B0604030504040204" pitchFamily="34" charset="0"/>
                <a:cs typeface="Calibri Light" panose="020F0302020204030204" pitchFamily="34" charset="0"/>
              </a:rPr>
              <a:t> Edition </a:t>
            </a:r>
            <a:r>
              <a:rPr lang="en-US" sz="1000" kern="0">
                <a:solidFill>
                  <a:prstClr val="black"/>
                </a:solidFill>
                <a:latin typeface="+mn-lt"/>
                <a:ea typeface="Verdana" panose="020B0604030504040204" pitchFamily="34" charset="0"/>
                <a:cs typeface="Calibri Light" panose="020F0302020204030204" pitchFamily="34" charset="0"/>
              </a:rPr>
              <a:t>in Riyadh in the Year 2023.</a:t>
            </a:r>
          </a:p>
          <a:p>
            <a:pPr defTabSz="1208241">
              <a:spcAft>
                <a:spcPct val="60000"/>
              </a:spcAft>
              <a:buClr>
                <a:srgbClr val="000000"/>
              </a:buClr>
              <a:defRPr/>
            </a:pPr>
            <a:endParaRPr lang="en-US" sz="1000" kern="0">
              <a:solidFill>
                <a:prstClr val="black"/>
              </a:solidFill>
              <a:latin typeface="+mn-lt"/>
              <a:ea typeface="Verdana" panose="020B0604030504040204" pitchFamily="34" charset="0"/>
              <a:cs typeface="Calibri Light" panose="020F0302020204030204" pitchFamily="34" charset="0"/>
            </a:endParaRPr>
          </a:p>
          <a:p>
            <a:pPr defTabSz="1208241">
              <a:spcAft>
                <a:spcPct val="60000"/>
              </a:spcAft>
              <a:buClr>
                <a:srgbClr val="000000"/>
              </a:buClr>
              <a:defRPr/>
            </a:pPr>
            <a:endParaRPr lang="en-US" sz="1000" kern="0">
              <a:solidFill>
                <a:prstClr val="black"/>
              </a:solidFill>
              <a:latin typeface="+mn-lt"/>
              <a:ea typeface="Verdana" panose="020B0604030504040204" pitchFamily="34" charset="0"/>
              <a:cs typeface="Calibri Light" panose="020F0302020204030204" pitchFamily="34" charset="0"/>
            </a:endParaRPr>
          </a:p>
          <a:p>
            <a:pPr defTabSz="1208241">
              <a:spcAft>
                <a:spcPct val="60000"/>
              </a:spcAft>
              <a:buClr>
                <a:srgbClr val="000000"/>
              </a:buClr>
              <a:defRPr/>
            </a:pPr>
            <a:endParaRPr lang="en-US" sz="1000" kern="0">
              <a:solidFill>
                <a:prstClr val="black"/>
              </a:solidFill>
              <a:latin typeface="+mn-lt"/>
              <a:ea typeface="Verdana" panose="020B0604030504040204" pitchFamily="34" charset="0"/>
              <a:cs typeface="Calibri Light" panose="020F0302020204030204" pitchFamily="34" charset="0"/>
            </a:endParaRPr>
          </a:p>
          <a:p>
            <a:pPr defTabSz="1208241">
              <a:spcAft>
                <a:spcPct val="60000"/>
              </a:spcAft>
              <a:buClr>
                <a:srgbClr val="000000"/>
              </a:buClr>
              <a:defRPr/>
            </a:pPr>
            <a:endParaRPr lang="en-US" sz="1000" kern="0">
              <a:solidFill>
                <a:prstClr val="black"/>
              </a:solidFill>
              <a:latin typeface="+mn-lt"/>
              <a:ea typeface="Verdana" panose="020B0604030504040204" pitchFamily="34" charset="0"/>
              <a:cs typeface="Calibri Light" panose="020F0302020204030204" pitchFamily="34" charset="0"/>
            </a:endParaRPr>
          </a:p>
          <a:p>
            <a:pPr defTabSz="1208241">
              <a:spcAft>
                <a:spcPct val="60000"/>
              </a:spcAft>
              <a:buClr>
                <a:srgbClr val="000000"/>
              </a:buClr>
              <a:defRPr/>
            </a:pPr>
            <a:endParaRPr lang="en-US" sz="1000" kern="0">
              <a:solidFill>
                <a:prstClr val="black"/>
              </a:solidFill>
              <a:latin typeface="+mn-lt"/>
              <a:ea typeface="Verdana" panose="020B0604030504040204" pitchFamily="34" charset="0"/>
              <a:cs typeface="Calibri Light" panose="020F0302020204030204" pitchFamily="34" charset="0"/>
            </a:endParaRPr>
          </a:p>
          <a:p>
            <a:pPr defTabSz="1208241">
              <a:spcAft>
                <a:spcPct val="60000"/>
              </a:spcAft>
              <a:buClr>
                <a:srgbClr val="000000"/>
              </a:buClr>
              <a:defRPr/>
            </a:pPr>
            <a:endParaRPr lang="en-US" sz="1000" kern="0">
              <a:solidFill>
                <a:prstClr val="black"/>
              </a:solidFill>
              <a:latin typeface="+mn-lt"/>
              <a:ea typeface="Verdana" panose="020B0604030504040204" pitchFamily="34" charset="0"/>
              <a:cs typeface="Calibri Light" panose="020F0302020204030204" pitchFamily="34" charset="0"/>
            </a:endParaRPr>
          </a:p>
          <a:p>
            <a:pPr defTabSz="1208241">
              <a:spcAft>
                <a:spcPct val="60000"/>
              </a:spcAft>
              <a:buClr>
                <a:srgbClr val="000000"/>
              </a:buClr>
              <a:defRPr/>
            </a:pPr>
            <a:endParaRPr lang="en-US" sz="1000" kern="0">
              <a:solidFill>
                <a:prstClr val="black"/>
              </a:solidFill>
              <a:latin typeface="+mn-lt"/>
              <a:ea typeface="Verdana" panose="020B0604030504040204" pitchFamily="34" charset="0"/>
              <a:cs typeface="Calibri Light" panose="020F0302020204030204" pitchFamily="34" charset="0"/>
            </a:endParaRPr>
          </a:p>
          <a:p>
            <a:pPr defTabSz="1208241">
              <a:spcAft>
                <a:spcPct val="60000"/>
              </a:spcAft>
              <a:buClr>
                <a:srgbClr val="000000"/>
              </a:buClr>
              <a:defRPr/>
            </a:pPr>
            <a:endParaRPr lang="en-US" sz="1000" kern="0">
              <a:solidFill>
                <a:prstClr val="black"/>
              </a:solidFill>
              <a:latin typeface="+mn-lt"/>
              <a:ea typeface="Verdana" panose="020B0604030504040204" pitchFamily="34" charset="0"/>
              <a:cs typeface="Calibri Light" panose="020F0302020204030204" pitchFamily="34" charset="0"/>
            </a:endParaRPr>
          </a:p>
          <a:p>
            <a:pPr defTabSz="1208241">
              <a:spcAft>
                <a:spcPct val="60000"/>
              </a:spcAft>
              <a:buClr>
                <a:srgbClr val="000000"/>
              </a:buClr>
              <a:defRPr/>
            </a:pPr>
            <a:r>
              <a:rPr lang="en-US" sz="1000" kern="0">
                <a:solidFill>
                  <a:prstClr val="black"/>
                </a:solidFill>
                <a:latin typeface="+mn-lt"/>
                <a:ea typeface="Verdana" panose="020B0604030504040204" pitchFamily="34" charset="0"/>
                <a:cs typeface="Calibri Light" panose="020F0302020204030204" pitchFamily="34" charset="0"/>
              </a:rPr>
              <a:t>The winning organization of such awards offer a comprehensive array of solutions designed to help their clients evaluate their risks, determine acceptable levels of exposure and monitor the applications of these controls. For the past two decades, Deloitte has excelled in delivering business continuity, resilience and operational risk management solutions to a number of clients and redefined the standard of excellence in the BCM domain for the region.</a:t>
            </a:r>
          </a:p>
        </p:txBody>
      </p:sp>
      <p:pic>
        <p:nvPicPr>
          <p:cNvPr id="7" name="Picture 6" descr="Two men shaking hands in front of a blue backdrop&#10;&#10;Description automatically generated with medium confidence">
            <a:extLst>
              <a:ext uri="{FF2B5EF4-FFF2-40B4-BE49-F238E27FC236}">
                <a16:creationId xmlns:a16="http://schemas.microsoft.com/office/drawing/2014/main" id="{99F4484F-A30E-39E6-735C-4C610BDF4835}"/>
              </a:ext>
            </a:extLst>
          </p:cNvPr>
          <p:cNvPicPr>
            <a:picLocks/>
          </p:cNvPicPr>
          <p:nvPr/>
        </p:nvPicPr>
        <p:blipFill>
          <a:blip r:embed="rId2" cstate="email">
            <a:extLst>
              <a:ext uri="{28A0092B-C50C-407E-A947-70E740481C1C}">
                <a14:useLocalDpi xmlns:a14="http://schemas.microsoft.com/office/drawing/2010/main" val="0"/>
              </a:ext>
            </a:extLst>
          </a:blip>
          <a:stretch>
            <a:fillRect/>
          </a:stretch>
        </p:blipFill>
        <p:spPr>
          <a:xfrm>
            <a:off x="771378" y="2833074"/>
            <a:ext cx="3030075" cy="1768616"/>
          </a:xfrm>
          <a:prstGeom prst="rect">
            <a:avLst/>
          </a:prstGeom>
        </p:spPr>
      </p:pic>
      <p:sp>
        <p:nvSpPr>
          <p:cNvPr id="8" name="Rounded Rectangle 44">
            <a:extLst>
              <a:ext uri="{FF2B5EF4-FFF2-40B4-BE49-F238E27FC236}">
                <a16:creationId xmlns:a16="http://schemas.microsoft.com/office/drawing/2014/main" id="{5F37E36D-DC3E-801E-6EC8-D2A6E6367D3C}"/>
              </a:ext>
            </a:extLst>
          </p:cNvPr>
          <p:cNvSpPr/>
          <p:nvPr/>
        </p:nvSpPr>
        <p:spPr bwMode="gray">
          <a:xfrm>
            <a:off x="4258328" y="1674620"/>
            <a:ext cx="3685032" cy="385677"/>
          </a:xfrm>
          <a:prstGeom prst="rect">
            <a:avLst/>
          </a:prstGeom>
          <a:solidFill>
            <a:schemeClr val="accent1"/>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latin typeface="+mn-lt"/>
                <a:cs typeface="Calibri Light" panose="020F0302020204030204" pitchFamily="34" charset="0"/>
              </a:rPr>
              <a:t>Deloitte Crisis &amp; Resilience Conference</a:t>
            </a:r>
          </a:p>
        </p:txBody>
      </p:sp>
      <p:sp>
        <p:nvSpPr>
          <p:cNvPr id="9" name="Rounded Rectangle 45">
            <a:extLst>
              <a:ext uri="{FF2B5EF4-FFF2-40B4-BE49-F238E27FC236}">
                <a16:creationId xmlns:a16="http://schemas.microsoft.com/office/drawing/2014/main" id="{C28C6D4A-3E98-4777-1525-51F4FA0742C0}"/>
              </a:ext>
            </a:extLst>
          </p:cNvPr>
          <p:cNvSpPr/>
          <p:nvPr/>
        </p:nvSpPr>
        <p:spPr bwMode="gray">
          <a:xfrm>
            <a:off x="8063069" y="1674620"/>
            <a:ext cx="3685032" cy="385677"/>
          </a:xfrm>
          <a:prstGeom prst="rect">
            <a:avLst/>
          </a:prstGeom>
          <a:solidFill>
            <a:schemeClr val="accent1"/>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mn-lt"/>
                <a:cs typeface="Calibri Light" panose="020F0302020204030204" pitchFamily="34" charset="0"/>
              </a:rPr>
              <a:t>Forums &amp; Community Partners</a:t>
            </a:r>
          </a:p>
        </p:txBody>
      </p:sp>
      <p:sp>
        <p:nvSpPr>
          <p:cNvPr id="10" name="Rectangle 9">
            <a:extLst>
              <a:ext uri="{FF2B5EF4-FFF2-40B4-BE49-F238E27FC236}">
                <a16:creationId xmlns:a16="http://schemas.microsoft.com/office/drawing/2014/main" id="{477C4FA3-89DE-B2E1-16AF-C47A8B815F71}"/>
              </a:ext>
            </a:extLst>
          </p:cNvPr>
          <p:cNvSpPr/>
          <p:nvPr/>
        </p:nvSpPr>
        <p:spPr>
          <a:xfrm>
            <a:off x="4258328" y="2118449"/>
            <a:ext cx="3685032" cy="4401205"/>
          </a:xfrm>
          <a:prstGeom prst="rect">
            <a:avLst/>
          </a:prstGeom>
        </p:spPr>
        <p:txBody>
          <a:bodyPr wrap="square">
            <a:spAutoFit/>
          </a:bodyP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Light" panose="020F0302020204030204" pitchFamily="34" charset="0"/>
              </a:rPr>
              <a:t>Deloitte holds a yearly Crisis &amp; Resilience conference which brings together leaders from across all aspects of resilience together. </a:t>
            </a:r>
          </a:p>
          <a:p>
            <a:pPr marL="0" marR="0" lvl="0" indent="0" defTabSz="1219170" rtl="0" eaLnBrk="1" fontAlgn="auto" latinLnBrk="0" hangingPunct="1">
              <a:lnSpc>
                <a:spcPct val="100000"/>
              </a:lnSpc>
              <a:spcBef>
                <a:spcPts val="0"/>
              </a:spcBef>
              <a:spcAft>
                <a:spcPts val="0"/>
              </a:spcAft>
              <a:buClrTx/>
              <a:buSzTx/>
              <a:buFontTx/>
              <a:buNone/>
              <a:tabLst/>
              <a:defRPr/>
            </a:pPr>
            <a:r>
              <a:rPr lang="en-US" sz="1000" dirty="0">
                <a:solidFill>
                  <a:prstClr val="black"/>
                </a:solidFill>
                <a:latin typeface="+mn-lt"/>
                <a:ea typeface="Verdana" panose="020B0604030504040204" pitchFamily="34" charset="0"/>
                <a:cs typeface="Calibri Light" panose="020F0302020204030204" pitchFamily="34" charset="0"/>
              </a:rPr>
              <a:t>The conference includes G</a:t>
            </a:r>
            <a:r>
              <a:rPr kumimoji="0" lang="en-US" sz="10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Light" panose="020F0302020204030204" pitchFamily="34" charset="0"/>
              </a:rPr>
              <a:t>guest speakers who share inspiring stories, gives attendees the </a:t>
            </a:r>
            <a:r>
              <a:rPr lang="en-US" sz="1000" dirty="0">
                <a:solidFill>
                  <a:prstClr val="black"/>
                </a:solidFill>
                <a:latin typeface="+mn-lt"/>
                <a:ea typeface="Verdana" panose="020B0604030504040204" pitchFamily="34" charset="0"/>
                <a:cs typeface="Calibri Light" panose="020F0302020204030204" pitchFamily="34" charset="0"/>
              </a:rPr>
              <a:t>opportunity to </a:t>
            </a:r>
            <a:r>
              <a:rPr kumimoji="0" lang="en-US" sz="10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Light" panose="020F0302020204030204" pitchFamily="34" charset="0"/>
              </a:rPr>
              <a:t>network with industry peers and together shape the future thinking on organizational resilience.</a:t>
            </a:r>
          </a:p>
          <a:p>
            <a:pPr marL="0" marR="0" lvl="0" indent="0" defTabSz="1219170" rtl="0" eaLnBrk="1" fontAlgn="auto" latinLnBrk="0" hangingPunct="1">
              <a:lnSpc>
                <a:spcPct val="100000"/>
              </a:lnSpc>
              <a:spcBef>
                <a:spcPts val="0"/>
              </a:spcBef>
              <a:spcAft>
                <a:spcPts val="0"/>
              </a:spcAft>
              <a:buClrTx/>
              <a:buSzTx/>
              <a:buFontTx/>
              <a:buNone/>
              <a:tabLst/>
              <a:defRPr/>
            </a:pPr>
            <a:endParaRPr lang="en-US" sz="1000" dirty="0">
              <a:solidFill>
                <a:prstClr val="black"/>
              </a:solidFill>
              <a:latin typeface="+mn-lt"/>
              <a:ea typeface="Verdana" panose="020B0604030504040204" pitchFamily="34" charset="0"/>
              <a:cs typeface="Calibri Light" panose="020F0302020204030204" pitchFamily="34" charset="0"/>
            </a:endParaRPr>
          </a:p>
          <a:p>
            <a:pPr marL="0" marR="0" lvl="0" indent="0"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Light" panose="020F0302020204030204" pitchFamily="34" charset="0"/>
            </a:endParaRPr>
          </a:p>
          <a:p>
            <a:pPr marL="0" marR="0" lvl="0" indent="0" defTabSz="1219170" rtl="0" eaLnBrk="1" fontAlgn="auto" latinLnBrk="0" hangingPunct="1">
              <a:lnSpc>
                <a:spcPct val="100000"/>
              </a:lnSpc>
              <a:spcBef>
                <a:spcPts val="0"/>
              </a:spcBef>
              <a:spcAft>
                <a:spcPts val="0"/>
              </a:spcAft>
              <a:buClrTx/>
              <a:buSzTx/>
              <a:buFontTx/>
              <a:buNone/>
              <a:tabLst/>
              <a:defRPr/>
            </a:pPr>
            <a:endParaRPr lang="en-US" sz="1000" dirty="0">
              <a:solidFill>
                <a:prstClr val="black"/>
              </a:solidFill>
              <a:latin typeface="+mn-lt"/>
              <a:ea typeface="Verdana" panose="020B0604030504040204" pitchFamily="34" charset="0"/>
              <a:cs typeface="Calibri Light" panose="020F0302020204030204" pitchFamily="34" charset="0"/>
            </a:endParaRPr>
          </a:p>
          <a:p>
            <a:pPr marL="0" marR="0" lvl="0" indent="0"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Light" panose="020F0302020204030204" pitchFamily="34" charset="0"/>
            </a:endParaRPr>
          </a:p>
          <a:p>
            <a:pPr marL="0" marR="0" lvl="0" indent="0" defTabSz="1219170" rtl="0" eaLnBrk="1" fontAlgn="auto" latinLnBrk="0" hangingPunct="1">
              <a:lnSpc>
                <a:spcPct val="100000"/>
              </a:lnSpc>
              <a:spcBef>
                <a:spcPts val="0"/>
              </a:spcBef>
              <a:spcAft>
                <a:spcPts val="0"/>
              </a:spcAft>
              <a:buClrTx/>
              <a:buSzTx/>
              <a:buFontTx/>
              <a:buNone/>
              <a:tabLst/>
              <a:defRPr/>
            </a:pPr>
            <a:endParaRPr lang="en-US" sz="1000" dirty="0">
              <a:solidFill>
                <a:prstClr val="black"/>
              </a:solidFill>
              <a:latin typeface="+mn-lt"/>
              <a:ea typeface="Verdana" panose="020B0604030504040204" pitchFamily="34" charset="0"/>
              <a:cs typeface="Calibri Light" panose="020F0302020204030204" pitchFamily="34" charset="0"/>
            </a:endParaRPr>
          </a:p>
          <a:p>
            <a:pPr marL="0" marR="0" lvl="0" indent="0"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Light" panose="020F0302020204030204" pitchFamily="34" charset="0"/>
            </a:endParaRPr>
          </a:p>
          <a:p>
            <a:pPr marL="0" marR="0" lvl="0" indent="0" defTabSz="1219170" rtl="0" eaLnBrk="1" fontAlgn="auto" latinLnBrk="0" hangingPunct="1">
              <a:lnSpc>
                <a:spcPct val="100000"/>
              </a:lnSpc>
              <a:spcBef>
                <a:spcPts val="0"/>
              </a:spcBef>
              <a:spcAft>
                <a:spcPts val="0"/>
              </a:spcAft>
              <a:buClrTx/>
              <a:buSzTx/>
              <a:buFontTx/>
              <a:buNone/>
              <a:tabLst/>
              <a:defRPr/>
            </a:pPr>
            <a:endParaRPr lang="en-US" sz="1000" dirty="0">
              <a:solidFill>
                <a:prstClr val="black"/>
              </a:solidFill>
              <a:latin typeface="+mn-lt"/>
              <a:ea typeface="Verdana" panose="020B0604030504040204" pitchFamily="34" charset="0"/>
              <a:cs typeface="Calibri Light" panose="020F0302020204030204" pitchFamily="34" charset="0"/>
            </a:endParaRPr>
          </a:p>
          <a:p>
            <a:pPr marL="0" marR="0" lvl="0" indent="0"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Light" panose="020F0302020204030204" pitchFamily="34" charset="0"/>
            </a:endParaRPr>
          </a:p>
          <a:p>
            <a:pPr marL="0" marR="0" lvl="0" indent="0"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Light" panose="020F0302020204030204" pitchFamily="34" charset="0"/>
            </a:endParaRPr>
          </a:p>
          <a:p>
            <a:pPr marL="0" marR="0" lvl="0" indent="0"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Light" panose="020F0302020204030204" pitchFamily="34" charset="0"/>
            </a:endParaRPr>
          </a:p>
          <a:p>
            <a:pPr marL="0" marR="0" lvl="0" indent="0"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Light" panose="020F0302020204030204" pitchFamily="34" charset="0"/>
            </a:endParaRPr>
          </a:p>
          <a:p>
            <a:pPr marL="0" marR="0" lvl="0" indent="0"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Light" panose="020F0302020204030204" pitchFamily="34" charset="0"/>
              </a:rPr>
              <a:t>This gives attendees an opportunity to join the conversation on themes including:</a:t>
            </a:r>
          </a:p>
          <a:p>
            <a:pPr marL="0" marR="0" lvl="0" indent="0"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Light" panose="020F0302020204030204" pitchFamily="34" charset="0"/>
            </a:endParaRPr>
          </a:p>
          <a:p>
            <a:pPr marL="171450" marR="0" lvl="0" indent="-171450"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Light" panose="020F0302020204030204" pitchFamily="34" charset="0"/>
              </a:rPr>
              <a:t>Delivering resilience at a geopolitical and macro level </a:t>
            </a:r>
          </a:p>
          <a:p>
            <a:pPr marL="171450" marR="0" lvl="0" indent="-171450"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Light" panose="020F0302020204030204" pitchFamily="34" charset="0"/>
              </a:rPr>
              <a:t>Major event readiness – maintaining resilience while the eyes of the world are upon you </a:t>
            </a:r>
          </a:p>
          <a:p>
            <a:pPr marL="171450" marR="0" lvl="0" indent="-171450"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Light" panose="020F0302020204030204" pitchFamily="34" charset="0"/>
              </a:rPr>
              <a:t>Spotlights on the five capitals of resilience: operational resilience; people resilience; environmental resilience; financial resilience; and reputational resilience.</a:t>
            </a:r>
          </a:p>
          <a:p>
            <a:pPr marL="0" marR="0" lvl="0" indent="0"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Light" panose="020F0302020204030204" pitchFamily="34" charset="0"/>
            </a:endParaRPr>
          </a:p>
        </p:txBody>
      </p:sp>
      <p:sp>
        <p:nvSpPr>
          <p:cNvPr id="11" name="Rounded Rectangle 47">
            <a:extLst>
              <a:ext uri="{FF2B5EF4-FFF2-40B4-BE49-F238E27FC236}">
                <a16:creationId xmlns:a16="http://schemas.microsoft.com/office/drawing/2014/main" id="{3D8C2F92-D4FF-2A2A-A936-8983E7C27B3B}"/>
              </a:ext>
            </a:extLst>
          </p:cNvPr>
          <p:cNvSpPr/>
          <p:nvPr/>
        </p:nvSpPr>
        <p:spPr bwMode="gray">
          <a:xfrm>
            <a:off x="8063069" y="5278278"/>
            <a:ext cx="3685032" cy="384048"/>
          </a:xfrm>
          <a:prstGeom prst="rect">
            <a:avLst/>
          </a:prstGeom>
          <a:solidFill>
            <a:schemeClr val="accent1"/>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mn-lt"/>
                <a:cs typeface="Calibri Light" panose="020F0302020204030204" pitchFamily="34" charset="0"/>
              </a:rPr>
              <a:t>Conferences &amp; Seminars</a:t>
            </a:r>
          </a:p>
        </p:txBody>
      </p:sp>
      <p:pic>
        <p:nvPicPr>
          <p:cNvPr id="12" name="Picture 11">
            <a:extLst>
              <a:ext uri="{FF2B5EF4-FFF2-40B4-BE49-F238E27FC236}">
                <a16:creationId xmlns:a16="http://schemas.microsoft.com/office/drawing/2014/main" id="{156612E3-3D43-FF52-6791-9FB929D8176B}"/>
              </a:ext>
            </a:extLst>
          </p:cNvPr>
          <p:cNvPicPr>
            <a:picLocks noChangeAspect="1"/>
          </p:cNvPicPr>
          <p:nvPr/>
        </p:nvPicPr>
        <p:blipFill>
          <a:blip r:embed="rId3"/>
          <a:stretch>
            <a:fillRect/>
          </a:stretch>
        </p:blipFill>
        <p:spPr>
          <a:xfrm>
            <a:off x="9306814" y="2083778"/>
            <a:ext cx="1197543" cy="660031"/>
          </a:xfrm>
          <a:prstGeom prst="rect">
            <a:avLst/>
          </a:prstGeom>
        </p:spPr>
      </p:pic>
      <p:sp>
        <p:nvSpPr>
          <p:cNvPr id="13" name="Rectangle 12">
            <a:extLst>
              <a:ext uri="{FF2B5EF4-FFF2-40B4-BE49-F238E27FC236}">
                <a16:creationId xmlns:a16="http://schemas.microsoft.com/office/drawing/2014/main" id="{7A099613-4435-68E9-F040-4F8A1904C46D}"/>
              </a:ext>
            </a:extLst>
          </p:cNvPr>
          <p:cNvSpPr/>
          <p:nvPr/>
        </p:nvSpPr>
        <p:spPr>
          <a:xfrm>
            <a:off x="8063069" y="2685774"/>
            <a:ext cx="3685032" cy="707886"/>
          </a:xfrm>
          <a:prstGeom prst="rect">
            <a:avLst/>
          </a:prstGeom>
        </p:spPr>
        <p:txBody>
          <a:bodyPr wrap="square">
            <a:spAutoFit/>
          </a:bodyP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mn-lt"/>
                <a:ea typeface="Verdana" panose="020B0604030504040204" pitchFamily="34" charset="0"/>
                <a:cs typeface="Calibri Light" panose="020F0302020204030204" pitchFamily="34" charset="0"/>
              </a:rPr>
              <a:t>Our resilience</a:t>
            </a:r>
            <a:r>
              <a:rPr kumimoji="0" lang="en-US" sz="1000" b="0" i="0" u="none" strike="noStrike" kern="1200" cap="none" spc="0" normalizeH="0" noProof="0">
                <a:ln>
                  <a:noFill/>
                </a:ln>
                <a:solidFill>
                  <a:prstClr val="black"/>
                </a:solidFill>
                <a:effectLst/>
                <a:uLnTx/>
                <a:uFillTx/>
                <a:latin typeface="+mn-lt"/>
                <a:ea typeface="Verdana" panose="020B0604030504040204" pitchFamily="34" charset="0"/>
                <a:cs typeface="Calibri Light" panose="020F0302020204030204" pitchFamily="34" charset="0"/>
              </a:rPr>
              <a:t> team members are members of professional communities such as the Business Continuity Institute’s (BCI) chapters and forums across the region, and regularly contribute to thought leadership across those platforms.</a:t>
            </a:r>
            <a:endParaRPr kumimoji="0" lang="en-US" sz="1000" b="0" i="0" u="none" strike="noStrike" kern="1200" cap="none" spc="0" normalizeH="0" baseline="0" noProof="0">
              <a:ln>
                <a:noFill/>
              </a:ln>
              <a:solidFill>
                <a:prstClr val="black"/>
              </a:solidFill>
              <a:effectLst/>
              <a:uLnTx/>
              <a:uFillTx/>
              <a:latin typeface="+mn-lt"/>
              <a:ea typeface="Verdana" panose="020B0604030504040204" pitchFamily="34" charset="0"/>
              <a:cs typeface="Calibri Light" panose="020F0302020204030204" pitchFamily="34" charset="0"/>
            </a:endParaRPr>
          </a:p>
        </p:txBody>
      </p:sp>
      <p:sp>
        <p:nvSpPr>
          <p:cNvPr id="16" name="Rectangle 15">
            <a:extLst>
              <a:ext uri="{FF2B5EF4-FFF2-40B4-BE49-F238E27FC236}">
                <a16:creationId xmlns:a16="http://schemas.microsoft.com/office/drawing/2014/main" id="{7BFC4527-98F0-51AF-ACD3-169BB5B78CD4}"/>
              </a:ext>
            </a:extLst>
          </p:cNvPr>
          <p:cNvSpPr/>
          <p:nvPr/>
        </p:nvSpPr>
        <p:spPr>
          <a:xfrm>
            <a:off x="8063069" y="5714055"/>
            <a:ext cx="3685032" cy="553998"/>
          </a:xfrm>
          <a:prstGeom prst="rect">
            <a:avLst/>
          </a:prstGeom>
        </p:spPr>
        <p:txBody>
          <a:bodyPr wrap="square">
            <a:spAutoFit/>
          </a:bodyPr>
          <a:lstStyle/>
          <a:p>
            <a:pPr marL="0" marR="0" lvl="0" indent="0" defTabSz="1219170" rtl="0" eaLnBrk="1" fontAlgn="auto" latinLnBrk="0" hangingPunct="1">
              <a:lnSpc>
                <a:spcPct val="100000"/>
              </a:lnSpc>
              <a:spcBef>
                <a:spcPts val="0"/>
              </a:spcBef>
              <a:spcAft>
                <a:spcPts val="0"/>
              </a:spcAft>
              <a:buClrTx/>
              <a:buSzTx/>
              <a:buFontTx/>
              <a:buNone/>
              <a:tabLst/>
              <a:defRPr/>
            </a:pPr>
            <a:r>
              <a:rPr lang="en-US" sz="1000" dirty="0">
                <a:solidFill>
                  <a:prstClr val="black"/>
                </a:solidFill>
                <a:latin typeface="+mn-lt"/>
                <a:ea typeface="Verdana" panose="020B0604030504040204" pitchFamily="34" charset="0"/>
                <a:cs typeface="Calibri Light" panose="020F0302020204030204" pitchFamily="34" charset="0"/>
              </a:rPr>
              <a:t>Our resilience leadership team are regularly invited to speak at conferences and seminars on areas in resilience and crisis management.</a:t>
            </a:r>
            <a:endParaRPr kumimoji="0" lang="en-US" sz="10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Light" panose="020F0302020204030204" pitchFamily="34" charset="0"/>
            </a:endParaRPr>
          </a:p>
        </p:txBody>
      </p:sp>
      <p:pic>
        <p:nvPicPr>
          <p:cNvPr id="17" name="Picture 16">
            <a:extLst>
              <a:ext uri="{FF2B5EF4-FFF2-40B4-BE49-F238E27FC236}">
                <a16:creationId xmlns:a16="http://schemas.microsoft.com/office/drawing/2014/main" id="{4C27A0B6-B933-7D23-B742-D62803B0D84E}"/>
              </a:ext>
            </a:extLst>
          </p:cNvPr>
          <p:cNvPicPr>
            <a:picLocks noChangeAspect="1"/>
          </p:cNvPicPr>
          <p:nvPr/>
        </p:nvPicPr>
        <p:blipFill>
          <a:blip r:embed="rId4"/>
          <a:stretch>
            <a:fillRect/>
          </a:stretch>
        </p:blipFill>
        <p:spPr>
          <a:xfrm>
            <a:off x="9392165" y="3520672"/>
            <a:ext cx="1026841" cy="882094"/>
          </a:xfrm>
          <a:prstGeom prst="rect">
            <a:avLst/>
          </a:prstGeom>
        </p:spPr>
      </p:pic>
      <p:sp>
        <p:nvSpPr>
          <p:cNvPr id="18" name="Rectangle 17">
            <a:extLst>
              <a:ext uri="{FF2B5EF4-FFF2-40B4-BE49-F238E27FC236}">
                <a16:creationId xmlns:a16="http://schemas.microsoft.com/office/drawing/2014/main" id="{1C4C9C0E-9859-C4BC-6149-F65292BA5BE8}"/>
              </a:ext>
            </a:extLst>
          </p:cNvPr>
          <p:cNvSpPr/>
          <p:nvPr/>
        </p:nvSpPr>
        <p:spPr>
          <a:xfrm>
            <a:off x="8063069" y="4540836"/>
            <a:ext cx="3685032" cy="400110"/>
          </a:xfrm>
          <a:prstGeom prst="rect">
            <a:avLst/>
          </a:prstGeom>
        </p:spPr>
        <p:txBody>
          <a:bodyPr wrap="square">
            <a:spAutoFit/>
          </a:bodyP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mn-lt"/>
                <a:ea typeface="Verdana" panose="020B0604030504040204" pitchFamily="34" charset="0"/>
                <a:cs typeface="Calibri Light" panose="020F0302020204030204" pitchFamily="34" charset="0"/>
              </a:rPr>
              <a:t>Our resilience</a:t>
            </a:r>
            <a:r>
              <a:rPr kumimoji="0" lang="en-US" sz="1000" b="0" i="0" u="none" strike="noStrike" kern="1200" cap="none" spc="0" normalizeH="0" noProof="0">
                <a:ln>
                  <a:noFill/>
                </a:ln>
                <a:solidFill>
                  <a:prstClr val="black"/>
                </a:solidFill>
                <a:effectLst/>
                <a:uLnTx/>
                <a:uFillTx/>
                <a:latin typeface="+mn-lt"/>
                <a:ea typeface="Verdana" panose="020B0604030504040204" pitchFamily="34" charset="0"/>
                <a:cs typeface="Calibri Light" panose="020F0302020204030204" pitchFamily="34" charset="0"/>
              </a:rPr>
              <a:t> team members are certified lead implementers and/or lead auditors of the</a:t>
            </a:r>
            <a:r>
              <a:rPr lang="en-US" sz="1000">
                <a:solidFill>
                  <a:prstClr val="black"/>
                </a:solidFill>
                <a:latin typeface="+mn-lt"/>
                <a:ea typeface="Verdana" panose="020B0604030504040204" pitchFamily="34" charset="0"/>
                <a:cs typeface="Calibri Light" panose="020F0302020204030204" pitchFamily="34" charset="0"/>
              </a:rPr>
              <a:t> ISO 22301:2019.</a:t>
            </a:r>
            <a:endParaRPr kumimoji="0" lang="en-US" sz="1000" b="0" i="0" u="none" strike="noStrike" kern="1200" cap="none" spc="0" normalizeH="0" baseline="0" noProof="0">
              <a:ln>
                <a:noFill/>
              </a:ln>
              <a:solidFill>
                <a:prstClr val="black"/>
              </a:solidFill>
              <a:effectLst/>
              <a:uLnTx/>
              <a:uFillTx/>
              <a:latin typeface="+mn-lt"/>
              <a:ea typeface="Verdana" panose="020B0604030504040204" pitchFamily="34" charset="0"/>
              <a:cs typeface="Calibri Light" panose="020F0302020204030204" pitchFamily="34" charset="0"/>
            </a:endParaRPr>
          </a:p>
        </p:txBody>
      </p:sp>
      <p:pic>
        <p:nvPicPr>
          <p:cNvPr id="19" name="Picture 18" descr="A person standing in front of a screen with a person standing in front of a screen&#10;&#10;Description automatically generated">
            <a:extLst>
              <a:ext uri="{FF2B5EF4-FFF2-40B4-BE49-F238E27FC236}">
                <a16:creationId xmlns:a16="http://schemas.microsoft.com/office/drawing/2014/main" id="{F5AF8C3E-DC74-73C6-0885-AB89111E268D}"/>
              </a:ext>
            </a:extLst>
          </p:cNvPr>
          <p:cNvPicPr>
            <a:picLocks noChangeAspect="1"/>
          </p:cNvPicPr>
          <p:nvPr/>
        </p:nvPicPr>
        <p:blipFill>
          <a:blip r:embed="rId5"/>
          <a:stretch>
            <a:fillRect/>
          </a:stretch>
        </p:blipFill>
        <p:spPr>
          <a:xfrm>
            <a:off x="4689267" y="3102313"/>
            <a:ext cx="2763520" cy="1548330"/>
          </a:xfrm>
          <a:prstGeom prst="rect">
            <a:avLst/>
          </a:prstGeom>
        </p:spPr>
      </p:pic>
      <p:sp>
        <p:nvSpPr>
          <p:cNvPr id="4" name="Text Placeholder 20">
            <a:extLst>
              <a:ext uri="{FF2B5EF4-FFF2-40B4-BE49-F238E27FC236}">
                <a16:creationId xmlns:a16="http://schemas.microsoft.com/office/drawing/2014/main" id="{1D2C775B-020B-52C5-4900-6320B34213D6}"/>
              </a:ext>
            </a:extLst>
          </p:cNvPr>
          <p:cNvSpPr txBox="1">
            <a:spLocks/>
          </p:cNvSpPr>
          <p:nvPr/>
        </p:nvSpPr>
        <p:spPr>
          <a:xfrm>
            <a:off x="412436" y="736689"/>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75757"/>
                </a:solidFill>
                <a:effectLst/>
                <a:uLnTx/>
                <a:uFillTx/>
                <a:latin typeface="+mn-lt"/>
                <a:ea typeface="Open Sans Light" panose="020B0306030504020204" pitchFamily="34" charset="0"/>
                <a:cs typeface="Open Sans Light" panose="020B0306030504020204" pitchFamily="34" charset="0"/>
                <a:sym typeface="Open Sans Light"/>
              </a:rPr>
              <a:t>Our Reputation as Market Leader – Recognition</a:t>
            </a:r>
          </a:p>
        </p:txBody>
      </p:sp>
    </p:spTree>
    <p:extLst>
      <p:ext uri="{BB962C8B-B14F-4D97-AF65-F5344CB8AC3E}">
        <p14:creationId xmlns:p14="http://schemas.microsoft.com/office/powerpoint/2010/main" val="4029893540"/>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0">
            <a:extLst>
              <a:ext uri="{FF2B5EF4-FFF2-40B4-BE49-F238E27FC236}">
                <a16:creationId xmlns:a16="http://schemas.microsoft.com/office/drawing/2014/main" id="{D9EFB992-68F5-4CAC-9C22-A198D259AEE8}"/>
              </a:ext>
            </a:extLst>
          </p:cNvPr>
          <p:cNvSpPr txBox="1">
            <a:spLocks/>
          </p:cNvSpPr>
          <p:nvPr/>
        </p:nvSpPr>
        <p:spPr>
          <a:xfrm>
            <a:off x="411480"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defRPr/>
            </a:pPr>
            <a:r>
              <a:rPr kumimoji="0" lang="en-US" sz="1400" b="1" i="0" u="none" strike="noStrike" kern="1200" cap="none" spc="0" normalizeH="0" baseline="0" noProof="0" dirty="0">
                <a:ln>
                  <a:noFill/>
                </a:ln>
                <a:solidFill>
                  <a:srgbClr val="575757"/>
                </a:solidFill>
                <a:effectLst/>
                <a:uLnTx/>
                <a:uFillTx/>
                <a:latin typeface="+mn-lt"/>
                <a:ea typeface="Open Sans Light" panose="020B0306030504020204" pitchFamily="34" charset="0"/>
                <a:cs typeface="Open Sans Light" panose="020B0306030504020204" pitchFamily="34" charset="0"/>
                <a:sym typeface="Open Sans Light"/>
              </a:rPr>
              <a:t>Our Reputation as Market Leader – </a:t>
            </a:r>
            <a:r>
              <a:rPr kumimoji="0" lang="en-US" sz="1400" b="1" i="0" u="none" strike="noStrike" kern="0" cap="none" spc="0" normalizeH="0" baseline="0" noProof="0" dirty="0">
                <a:ln>
                  <a:noFill/>
                </a:ln>
                <a:solidFill>
                  <a:srgbClr val="575757"/>
                </a:solidFill>
                <a:effectLst/>
                <a:uLnTx/>
                <a:uFillTx/>
                <a:latin typeface="+mn-lt"/>
                <a:ea typeface="Open Sans Light" panose="020B0306030504020204" pitchFamily="34" charset="0"/>
                <a:cs typeface="Open Sans Light" panose="020B0306030504020204" pitchFamily="34" charset="0"/>
                <a:sym typeface="Open Sans Light"/>
              </a:rPr>
              <a:t>Awards </a:t>
            </a:r>
          </a:p>
        </p:txBody>
      </p:sp>
      <p:sp>
        <p:nvSpPr>
          <p:cNvPr id="6" name="Title 1">
            <a:extLst>
              <a:ext uri="{FF2B5EF4-FFF2-40B4-BE49-F238E27FC236}">
                <a16:creationId xmlns:a16="http://schemas.microsoft.com/office/drawing/2014/main" id="{C7B9ACD8-1762-4A25-A9B6-CC87C6C58A77}"/>
              </a:ext>
            </a:extLst>
          </p:cNvPr>
          <p:cNvSpPr txBox="1">
            <a:spLocks/>
          </p:cNvSpPr>
          <p:nvPr/>
        </p:nvSpPr>
        <p:spPr>
          <a:xfrm>
            <a:off x="411480" y="402587"/>
            <a:ext cx="11252200" cy="334102"/>
          </a:xfrm>
          <a:prstGeom prst="rect">
            <a:avLst/>
          </a:prstGeom>
        </p:spPr>
        <p:txBody>
          <a:bodyPr vert="horz" wrap="square" lIns="0" tIns="0" rIns="0" bIns="0" rtlCol="0" anchor="t" anchorCtr="0">
            <a:noAutofit/>
          </a:bodyPr>
          <a:lstStyle>
            <a:lvl1pPr>
              <a:defRPr sz="2400" b="0" i="0">
                <a:solidFill>
                  <a:srgbClr val="86BC25"/>
                </a:solidFill>
                <a:latin typeface="Calibri" panose="020F0502020204030204" pitchFamily="34" charset="0"/>
                <a:ea typeface="Verdana" panose="020B0604030504040204" pitchFamily="34" charset="0"/>
                <a:cs typeface="Calibri" panose="020F0502020204030204" pitchFamily="34" charset="0"/>
              </a:defRPr>
            </a:lvl1pPr>
          </a:lstStyle>
          <a:p>
            <a:pPr defTabSz="914400"/>
            <a:r>
              <a:rPr lang="en-US" sz="2000" kern="0">
                <a:solidFill>
                  <a:schemeClr val="tx2">
                    <a:lumMod val="50000"/>
                  </a:schemeClr>
                </a:solidFill>
                <a:latin typeface="+mn-lt"/>
                <a:ea typeface="Open Sans Semibold" panose="020B0706030804020204" pitchFamily="34" charset="0"/>
                <a:cs typeface="Open Sans Semibold" panose="020B0706030804020204" pitchFamily="34" charset="0"/>
              </a:rPr>
              <a:t>Executive Summary</a:t>
            </a:r>
          </a:p>
        </p:txBody>
      </p:sp>
      <p:sp>
        <p:nvSpPr>
          <p:cNvPr id="2" name="Rectangle 1">
            <a:extLst>
              <a:ext uri="{FF2B5EF4-FFF2-40B4-BE49-F238E27FC236}">
                <a16:creationId xmlns:a16="http://schemas.microsoft.com/office/drawing/2014/main" id="{8ABDE556-D292-0130-9EF4-C1B5839AEFCC}"/>
              </a:ext>
            </a:extLst>
          </p:cNvPr>
          <p:cNvSpPr/>
          <p:nvPr/>
        </p:nvSpPr>
        <p:spPr bwMode="gray">
          <a:xfrm>
            <a:off x="7825766" y="1317644"/>
            <a:ext cx="3109852" cy="206504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0">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Light"/>
            </a:endParaRPr>
          </a:p>
        </p:txBody>
      </p:sp>
      <p:sp>
        <p:nvSpPr>
          <p:cNvPr id="3" name="Rectangle 2">
            <a:extLst>
              <a:ext uri="{FF2B5EF4-FFF2-40B4-BE49-F238E27FC236}">
                <a16:creationId xmlns:a16="http://schemas.microsoft.com/office/drawing/2014/main" id="{16957385-40F2-47D2-D8EC-9763011B8605}"/>
              </a:ext>
            </a:extLst>
          </p:cNvPr>
          <p:cNvSpPr/>
          <p:nvPr/>
        </p:nvSpPr>
        <p:spPr bwMode="gray">
          <a:xfrm>
            <a:off x="4306817" y="1320428"/>
            <a:ext cx="3241379" cy="306282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0">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Light"/>
            </a:endParaRPr>
          </a:p>
        </p:txBody>
      </p:sp>
      <p:sp>
        <p:nvSpPr>
          <p:cNvPr id="4" name="Rectangle 3">
            <a:extLst>
              <a:ext uri="{FF2B5EF4-FFF2-40B4-BE49-F238E27FC236}">
                <a16:creationId xmlns:a16="http://schemas.microsoft.com/office/drawing/2014/main" id="{4617CBAB-AA6E-7260-9F37-AAD2D0C6B137}"/>
              </a:ext>
            </a:extLst>
          </p:cNvPr>
          <p:cNvSpPr/>
          <p:nvPr/>
        </p:nvSpPr>
        <p:spPr bwMode="gray">
          <a:xfrm>
            <a:off x="769556" y="1317646"/>
            <a:ext cx="3109852" cy="4412035"/>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0">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Light"/>
            </a:endParaRPr>
          </a:p>
        </p:txBody>
      </p:sp>
      <p:grpSp>
        <p:nvGrpSpPr>
          <p:cNvPr id="48" name="Graphic 4">
            <a:extLst>
              <a:ext uri="{FF2B5EF4-FFF2-40B4-BE49-F238E27FC236}">
                <a16:creationId xmlns:a16="http://schemas.microsoft.com/office/drawing/2014/main" id="{3E79D954-2400-9453-1822-F3AEF752524F}"/>
              </a:ext>
            </a:extLst>
          </p:cNvPr>
          <p:cNvGrpSpPr>
            <a:grpSpLocks noChangeAspect="1"/>
          </p:cNvGrpSpPr>
          <p:nvPr/>
        </p:nvGrpSpPr>
        <p:grpSpPr>
          <a:xfrm>
            <a:off x="8512589" y="3820740"/>
            <a:ext cx="2026458" cy="2289777"/>
            <a:chOff x="1595284" y="2445866"/>
            <a:chExt cx="200569" cy="226631"/>
          </a:xfrm>
          <a:solidFill>
            <a:srgbClr val="0076A8"/>
          </a:solidFill>
        </p:grpSpPr>
        <p:sp>
          <p:nvSpPr>
            <p:cNvPr id="49" name="Graphic 4">
              <a:extLst>
                <a:ext uri="{FF2B5EF4-FFF2-40B4-BE49-F238E27FC236}">
                  <a16:creationId xmlns:a16="http://schemas.microsoft.com/office/drawing/2014/main" id="{B5BFA70A-4AFB-895D-D9AC-8D5B7ECE1C24}"/>
                </a:ext>
              </a:extLst>
            </p:cNvPr>
            <p:cNvSpPr/>
            <p:nvPr/>
          </p:nvSpPr>
          <p:spPr>
            <a:xfrm>
              <a:off x="1595284" y="2445866"/>
              <a:ext cx="200569" cy="226631"/>
            </a:xfrm>
            <a:custGeom>
              <a:avLst/>
              <a:gdLst>
                <a:gd name="connsiteX0" fmla="*/ 167699 w 200569"/>
                <a:gd name="connsiteY0" fmla="*/ 70862 h 226631"/>
                <a:gd name="connsiteX1" fmla="*/ 167699 w 200569"/>
                <a:gd name="connsiteY1" fmla="*/ 40219 h 226631"/>
                <a:gd name="connsiteX2" fmla="*/ 189424 w 200569"/>
                <a:gd name="connsiteY2" fmla="*/ 40219 h 226631"/>
                <a:gd name="connsiteX3" fmla="*/ 167699 w 200569"/>
                <a:gd name="connsiteY3" fmla="*/ 70862 h 226631"/>
                <a:gd name="connsiteX4" fmla="*/ 101243 w 200569"/>
                <a:gd name="connsiteY4" fmla="*/ 129595 h 226631"/>
                <a:gd name="connsiteX5" fmla="*/ 49485 w 200569"/>
                <a:gd name="connsiteY5" fmla="*/ 88099 h 226631"/>
                <a:gd name="connsiteX6" fmla="*/ 49485 w 200569"/>
                <a:gd name="connsiteY6" fmla="*/ 12130 h 226631"/>
                <a:gd name="connsiteX7" fmla="*/ 154919 w 200569"/>
                <a:gd name="connsiteY7" fmla="*/ 12130 h 226631"/>
                <a:gd name="connsiteX8" fmla="*/ 154919 w 200569"/>
                <a:gd name="connsiteY8" fmla="*/ 87461 h 226631"/>
                <a:gd name="connsiteX9" fmla="*/ 101243 w 200569"/>
                <a:gd name="connsiteY9" fmla="*/ 129595 h 226631"/>
                <a:gd name="connsiteX10" fmla="*/ 130637 w 200569"/>
                <a:gd name="connsiteY10" fmla="*/ 199180 h 226631"/>
                <a:gd name="connsiteX11" fmla="*/ 138305 w 200569"/>
                <a:gd name="connsiteY11" fmla="*/ 202372 h 226631"/>
                <a:gd name="connsiteX12" fmla="*/ 142139 w 200569"/>
                <a:gd name="connsiteY12" fmla="*/ 213225 h 226631"/>
                <a:gd name="connsiteX13" fmla="*/ 62265 w 200569"/>
                <a:gd name="connsiteY13" fmla="*/ 213225 h 226631"/>
                <a:gd name="connsiteX14" fmla="*/ 73128 w 200569"/>
                <a:gd name="connsiteY14" fmla="*/ 199180 h 226631"/>
                <a:gd name="connsiteX15" fmla="*/ 130637 w 200569"/>
                <a:gd name="connsiteY15" fmla="*/ 199180 h 226631"/>
                <a:gd name="connsiteX16" fmla="*/ 11784 w 200569"/>
                <a:gd name="connsiteY16" fmla="*/ 38942 h 226631"/>
                <a:gd name="connsiteX17" fmla="*/ 34788 w 200569"/>
                <a:gd name="connsiteY17" fmla="*/ 38942 h 226631"/>
                <a:gd name="connsiteX18" fmla="*/ 36705 w 200569"/>
                <a:gd name="connsiteY18" fmla="*/ 38942 h 226631"/>
                <a:gd name="connsiteX19" fmla="*/ 36705 w 200569"/>
                <a:gd name="connsiteY19" fmla="*/ 71501 h 226631"/>
                <a:gd name="connsiteX20" fmla="*/ 11784 w 200569"/>
                <a:gd name="connsiteY20" fmla="*/ 38942 h 226631"/>
                <a:gd name="connsiteX21" fmla="*/ 194536 w 200569"/>
                <a:gd name="connsiteY21" fmla="*/ 27451 h 226631"/>
                <a:gd name="connsiteX22" fmla="*/ 167699 w 200569"/>
                <a:gd name="connsiteY22" fmla="*/ 27451 h 226631"/>
                <a:gd name="connsiteX23" fmla="*/ 167699 w 200569"/>
                <a:gd name="connsiteY23" fmla="*/ 6384 h 226631"/>
                <a:gd name="connsiteX24" fmla="*/ 161309 w 200569"/>
                <a:gd name="connsiteY24" fmla="*/ 0 h 226631"/>
                <a:gd name="connsiteX25" fmla="*/ 43734 w 200569"/>
                <a:gd name="connsiteY25" fmla="*/ 0 h 226631"/>
                <a:gd name="connsiteX26" fmla="*/ 37344 w 200569"/>
                <a:gd name="connsiteY26" fmla="*/ 6384 h 226631"/>
                <a:gd name="connsiteX27" fmla="*/ 37344 w 200569"/>
                <a:gd name="connsiteY27" fmla="*/ 26813 h 226631"/>
                <a:gd name="connsiteX28" fmla="*/ 35427 w 200569"/>
                <a:gd name="connsiteY28" fmla="*/ 26174 h 226631"/>
                <a:gd name="connsiteX29" fmla="*/ 7311 w 200569"/>
                <a:gd name="connsiteY29" fmla="*/ 26174 h 226631"/>
                <a:gd name="connsiteX30" fmla="*/ 1560 w 200569"/>
                <a:gd name="connsiteY30" fmla="*/ 30005 h 226631"/>
                <a:gd name="connsiteX31" fmla="*/ 32871 w 200569"/>
                <a:gd name="connsiteY31" fmla="*/ 82992 h 226631"/>
                <a:gd name="connsiteX32" fmla="*/ 35427 w 200569"/>
                <a:gd name="connsiteY32" fmla="*/ 83630 h 226631"/>
                <a:gd name="connsiteX33" fmla="*/ 37344 w 200569"/>
                <a:gd name="connsiteY33" fmla="*/ 83630 h 226631"/>
                <a:gd name="connsiteX34" fmla="*/ 37344 w 200569"/>
                <a:gd name="connsiteY34" fmla="*/ 88099 h 226631"/>
                <a:gd name="connsiteX35" fmla="*/ 95492 w 200569"/>
                <a:gd name="connsiteY35" fmla="*/ 142363 h 226631"/>
                <a:gd name="connsiteX36" fmla="*/ 95492 w 200569"/>
                <a:gd name="connsiteY36" fmla="*/ 186412 h 226631"/>
                <a:gd name="connsiteX37" fmla="*/ 72489 w 200569"/>
                <a:gd name="connsiteY37" fmla="*/ 187051 h 226631"/>
                <a:gd name="connsiteX38" fmla="*/ 56514 w 200569"/>
                <a:gd name="connsiteY38" fmla="*/ 194711 h 226631"/>
                <a:gd name="connsiteX39" fmla="*/ 48846 w 200569"/>
                <a:gd name="connsiteY39" fmla="*/ 220247 h 226631"/>
                <a:gd name="connsiteX40" fmla="*/ 55236 w 200569"/>
                <a:gd name="connsiteY40" fmla="*/ 226631 h 226631"/>
                <a:gd name="connsiteX41" fmla="*/ 147890 w 200569"/>
                <a:gd name="connsiteY41" fmla="*/ 226631 h 226631"/>
                <a:gd name="connsiteX42" fmla="*/ 154280 w 200569"/>
                <a:gd name="connsiteY42" fmla="*/ 220886 h 226631"/>
                <a:gd name="connsiteX43" fmla="*/ 147251 w 200569"/>
                <a:gd name="connsiteY43" fmla="*/ 194711 h 226631"/>
                <a:gd name="connsiteX44" fmla="*/ 130637 w 200569"/>
                <a:gd name="connsiteY44" fmla="*/ 187051 h 226631"/>
                <a:gd name="connsiteX45" fmla="*/ 106994 w 200569"/>
                <a:gd name="connsiteY45" fmla="*/ 186412 h 226631"/>
                <a:gd name="connsiteX46" fmla="*/ 106994 w 200569"/>
                <a:gd name="connsiteY46" fmla="*/ 142363 h 226631"/>
                <a:gd name="connsiteX47" fmla="*/ 166421 w 200569"/>
                <a:gd name="connsiteY47" fmla="*/ 88737 h 226631"/>
                <a:gd name="connsiteX48" fmla="*/ 166421 w 200569"/>
                <a:gd name="connsiteY48" fmla="*/ 84907 h 226631"/>
                <a:gd name="connsiteX49" fmla="*/ 167699 w 200569"/>
                <a:gd name="connsiteY49" fmla="*/ 84907 h 226631"/>
                <a:gd name="connsiteX50" fmla="*/ 199009 w 200569"/>
                <a:gd name="connsiteY50" fmla="*/ 31920 h 226631"/>
                <a:gd name="connsiteX51" fmla="*/ 193258 w 200569"/>
                <a:gd name="connsiteY51" fmla="*/ 28089 h 226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00569" h="226631">
                  <a:moveTo>
                    <a:pt x="167699" y="70862"/>
                  </a:moveTo>
                  <a:lnTo>
                    <a:pt x="167699" y="40219"/>
                  </a:lnTo>
                  <a:lnTo>
                    <a:pt x="189424" y="40219"/>
                  </a:lnTo>
                  <a:cubicBezTo>
                    <a:pt x="190063" y="45965"/>
                    <a:pt x="188147" y="60009"/>
                    <a:pt x="167699" y="70862"/>
                  </a:cubicBezTo>
                  <a:moveTo>
                    <a:pt x="101243" y="129595"/>
                  </a:moveTo>
                  <a:cubicBezTo>
                    <a:pt x="50124" y="129595"/>
                    <a:pt x="49485" y="90014"/>
                    <a:pt x="49485" y="88099"/>
                  </a:cubicBezTo>
                  <a:lnTo>
                    <a:pt x="49485" y="12130"/>
                  </a:lnTo>
                  <a:lnTo>
                    <a:pt x="154919" y="12130"/>
                  </a:lnTo>
                  <a:lnTo>
                    <a:pt x="154919" y="87461"/>
                  </a:lnTo>
                  <a:cubicBezTo>
                    <a:pt x="154919" y="89376"/>
                    <a:pt x="149807" y="129595"/>
                    <a:pt x="101243" y="129595"/>
                  </a:cubicBezTo>
                  <a:moveTo>
                    <a:pt x="130637" y="199180"/>
                  </a:moveTo>
                  <a:cubicBezTo>
                    <a:pt x="133193" y="199180"/>
                    <a:pt x="136388" y="200457"/>
                    <a:pt x="138305" y="202372"/>
                  </a:cubicBezTo>
                  <a:cubicBezTo>
                    <a:pt x="140861" y="205564"/>
                    <a:pt x="142139" y="209395"/>
                    <a:pt x="142139" y="213225"/>
                  </a:cubicBezTo>
                  <a:lnTo>
                    <a:pt x="62265" y="213225"/>
                  </a:lnTo>
                  <a:cubicBezTo>
                    <a:pt x="63543" y="200457"/>
                    <a:pt x="71211" y="199819"/>
                    <a:pt x="73128" y="199180"/>
                  </a:cubicBezTo>
                  <a:cubicBezTo>
                    <a:pt x="73128" y="199180"/>
                    <a:pt x="110828" y="197903"/>
                    <a:pt x="130637" y="199180"/>
                  </a:cubicBezTo>
                  <a:moveTo>
                    <a:pt x="11784" y="38942"/>
                  </a:moveTo>
                  <a:lnTo>
                    <a:pt x="34788" y="38942"/>
                  </a:lnTo>
                  <a:cubicBezTo>
                    <a:pt x="35427" y="38942"/>
                    <a:pt x="36066" y="38942"/>
                    <a:pt x="36705" y="38942"/>
                  </a:cubicBezTo>
                  <a:lnTo>
                    <a:pt x="36705" y="71501"/>
                  </a:lnTo>
                  <a:cubicBezTo>
                    <a:pt x="13062" y="60648"/>
                    <a:pt x="11145" y="45965"/>
                    <a:pt x="11784" y="38942"/>
                  </a:cubicBezTo>
                  <a:moveTo>
                    <a:pt x="194536" y="27451"/>
                  </a:moveTo>
                  <a:lnTo>
                    <a:pt x="167699" y="27451"/>
                  </a:lnTo>
                  <a:lnTo>
                    <a:pt x="167699" y="6384"/>
                  </a:lnTo>
                  <a:cubicBezTo>
                    <a:pt x="167699" y="2554"/>
                    <a:pt x="165143" y="0"/>
                    <a:pt x="161309" y="0"/>
                  </a:cubicBezTo>
                  <a:lnTo>
                    <a:pt x="43734" y="0"/>
                  </a:lnTo>
                  <a:cubicBezTo>
                    <a:pt x="39900" y="0"/>
                    <a:pt x="37344" y="2554"/>
                    <a:pt x="37344" y="6384"/>
                  </a:cubicBezTo>
                  <a:lnTo>
                    <a:pt x="37344" y="26813"/>
                  </a:lnTo>
                  <a:cubicBezTo>
                    <a:pt x="36705" y="26813"/>
                    <a:pt x="36066" y="26174"/>
                    <a:pt x="35427" y="26174"/>
                  </a:cubicBezTo>
                  <a:lnTo>
                    <a:pt x="7311" y="26174"/>
                  </a:lnTo>
                  <a:cubicBezTo>
                    <a:pt x="4755" y="26174"/>
                    <a:pt x="2199" y="28089"/>
                    <a:pt x="1560" y="30005"/>
                  </a:cubicBezTo>
                  <a:cubicBezTo>
                    <a:pt x="1560" y="30005"/>
                    <a:pt x="-10581" y="63201"/>
                    <a:pt x="32871" y="82992"/>
                  </a:cubicBezTo>
                  <a:cubicBezTo>
                    <a:pt x="33510" y="83630"/>
                    <a:pt x="34788" y="83630"/>
                    <a:pt x="35427" y="83630"/>
                  </a:cubicBezTo>
                  <a:cubicBezTo>
                    <a:pt x="36066" y="83630"/>
                    <a:pt x="36705" y="83630"/>
                    <a:pt x="37344" y="83630"/>
                  </a:cubicBezTo>
                  <a:lnTo>
                    <a:pt x="37344" y="88099"/>
                  </a:lnTo>
                  <a:cubicBezTo>
                    <a:pt x="37344" y="88737"/>
                    <a:pt x="37983" y="138533"/>
                    <a:pt x="95492" y="142363"/>
                  </a:cubicBezTo>
                  <a:lnTo>
                    <a:pt x="95492" y="186412"/>
                  </a:lnTo>
                  <a:cubicBezTo>
                    <a:pt x="83352" y="186412"/>
                    <a:pt x="73767" y="187051"/>
                    <a:pt x="72489" y="187051"/>
                  </a:cubicBezTo>
                  <a:cubicBezTo>
                    <a:pt x="66099" y="187689"/>
                    <a:pt x="60987" y="190243"/>
                    <a:pt x="56514" y="194711"/>
                  </a:cubicBezTo>
                  <a:cubicBezTo>
                    <a:pt x="50763" y="201734"/>
                    <a:pt x="48207" y="211310"/>
                    <a:pt x="48846" y="220247"/>
                  </a:cubicBezTo>
                  <a:cubicBezTo>
                    <a:pt x="48846" y="224078"/>
                    <a:pt x="51402" y="226631"/>
                    <a:pt x="55236" y="226631"/>
                  </a:cubicBezTo>
                  <a:lnTo>
                    <a:pt x="147890" y="226631"/>
                  </a:lnTo>
                  <a:cubicBezTo>
                    <a:pt x="151085" y="226631"/>
                    <a:pt x="154280" y="224078"/>
                    <a:pt x="154280" y="220886"/>
                  </a:cubicBezTo>
                  <a:cubicBezTo>
                    <a:pt x="154919" y="211948"/>
                    <a:pt x="153002" y="202372"/>
                    <a:pt x="147251" y="194711"/>
                  </a:cubicBezTo>
                  <a:cubicBezTo>
                    <a:pt x="142778" y="190243"/>
                    <a:pt x="137027" y="187051"/>
                    <a:pt x="130637" y="187051"/>
                  </a:cubicBezTo>
                  <a:cubicBezTo>
                    <a:pt x="124247" y="187051"/>
                    <a:pt x="115301" y="186412"/>
                    <a:pt x="106994" y="186412"/>
                  </a:cubicBezTo>
                  <a:lnTo>
                    <a:pt x="106994" y="142363"/>
                  </a:lnTo>
                  <a:cubicBezTo>
                    <a:pt x="137666" y="141724"/>
                    <a:pt x="162587" y="118742"/>
                    <a:pt x="166421" y="88737"/>
                  </a:cubicBezTo>
                  <a:lnTo>
                    <a:pt x="166421" y="84907"/>
                  </a:lnTo>
                  <a:cubicBezTo>
                    <a:pt x="167060" y="84907"/>
                    <a:pt x="167060" y="84907"/>
                    <a:pt x="167699" y="84907"/>
                  </a:cubicBezTo>
                  <a:cubicBezTo>
                    <a:pt x="211150" y="64478"/>
                    <a:pt x="199009" y="31920"/>
                    <a:pt x="199009" y="31920"/>
                  </a:cubicBezTo>
                  <a:cubicBezTo>
                    <a:pt x="197731" y="29366"/>
                    <a:pt x="195814" y="28089"/>
                    <a:pt x="193258" y="28089"/>
                  </a:cubicBezTo>
                </a:path>
              </a:pathLst>
            </a:custGeom>
            <a:solidFill>
              <a:srgbClr val="9FCA52"/>
            </a:solidFill>
            <a:ln w="6390" cap="flat">
              <a:noFill/>
              <a:prstDash val="solid"/>
              <a:miter/>
            </a:ln>
          </p:spPr>
          <p:txBody>
            <a:bodyPr rtlCol="0"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Light"/>
              </a:endParaRPr>
            </a:p>
          </p:txBody>
        </p:sp>
        <p:sp>
          <p:nvSpPr>
            <p:cNvPr id="50" name="Graphic 4">
              <a:extLst>
                <a:ext uri="{FF2B5EF4-FFF2-40B4-BE49-F238E27FC236}">
                  <a16:creationId xmlns:a16="http://schemas.microsoft.com/office/drawing/2014/main" id="{68F82050-8F08-DEB5-24E7-6F5E63EB5474}"/>
                </a:ext>
              </a:extLst>
            </p:cNvPr>
            <p:cNvSpPr/>
            <p:nvPr/>
          </p:nvSpPr>
          <p:spPr>
            <a:xfrm>
              <a:off x="1654993" y="2468448"/>
              <a:ext cx="84183" cy="81636"/>
            </a:xfrm>
            <a:custGeom>
              <a:avLst/>
              <a:gdLst>
                <a:gd name="connsiteX0" fmla="*/ 50480 w 84183"/>
                <a:gd name="connsiteY0" fmla="*/ 50833 h 81636"/>
                <a:gd name="connsiteX1" fmla="*/ 53036 w 84183"/>
                <a:gd name="connsiteY1" fmla="*/ 58494 h 81636"/>
                <a:gd name="connsiteX2" fmla="*/ 46646 w 84183"/>
                <a:gd name="connsiteY2" fmla="*/ 54025 h 81636"/>
                <a:gd name="connsiteX3" fmla="*/ 42813 w 84183"/>
                <a:gd name="connsiteY3" fmla="*/ 52748 h 81636"/>
                <a:gd name="connsiteX4" fmla="*/ 38979 w 84183"/>
                <a:gd name="connsiteY4" fmla="*/ 54025 h 81636"/>
                <a:gd name="connsiteX5" fmla="*/ 32589 w 84183"/>
                <a:gd name="connsiteY5" fmla="*/ 58494 h 81636"/>
                <a:gd name="connsiteX6" fmla="*/ 35145 w 84183"/>
                <a:gd name="connsiteY6" fmla="*/ 50833 h 81636"/>
                <a:gd name="connsiteX7" fmla="*/ 32589 w 84183"/>
                <a:gd name="connsiteY7" fmla="*/ 43811 h 81636"/>
                <a:gd name="connsiteX8" fmla="*/ 26199 w 84183"/>
                <a:gd name="connsiteY8" fmla="*/ 39342 h 81636"/>
                <a:gd name="connsiteX9" fmla="*/ 34506 w 84183"/>
                <a:gd name="connsiteY9" fmla="*/ 39342 h 81636"/>
                <a:gd name="connsiteX10" fmla="*/ 40896 w 84183"/>
                <a:gd name="connsiteY10" fmla="*/ 34873 h 81636"/>
                <a:gd name="connsiteX11" fmla="*/ 43451 w 84183"/>
                <a:gd name="connsiteY11" fmla="*/ 27213 h 81636"/>
                <a:gd name="connsiteX12" fmla="*/ 46008 w 84183"/>
                <a:gd name="connsiteY12" fmla="*/ 34873 h 81636"/>
                <a:gd name="connsiteX13" fmla="*/ 52398 w 84183"/>
                <a:gd name="connsiteY13" fmla="*/ 39342 h 81636"/>
                <a:gd name="connsiteX14" fmla="*/ 60704 w 84183"/>
                <a:gd name="connsiteY14" fmla="*/ 39342 h 81636"/>
                <a:gd name="connsiteX15" fmla="*/ 54314 w 84183"/>
                <a:gd name="connsiteY15" fmla="*/ 43811 h 81636"/>
                <a:gd name="connsiteX16" fmla="*/ 51759 w 84183"/>
                <a:gd name="connsiteY16" fmla="*/ 50833 h 81636"/>
                <a:gd name="connsiteX17" fmla="*/ 79874 w 84183"/>
                <a:gd name="connsiteY17" fmla="*/ 25936 h 81636"/>
                <a:gd name="connsiteX18" fmla="*/ 56870 w 84183"/>
                <a:gd name="connsiteY18" fmla="*/ 25936 h 81636"/>
                <a:gd name="connsiteX19" fmla="*/ 49841 w 84183"/>
                <a:gd name="connsiteY19" fmla="*/ 4230 h 81636"/>
                <a:gd name="connsiteX20" fmla="*/ 41535 w 84183"/>
                <a:gd name="connsiteY20" fmla="*/ 400 h 81636"/>
                <a:gd name="connsiteX21" fmla="*/ 37701 w 84183"/>
                <a:gd name="connsiteY21" fmla="*/ 4230 h 81636"/>
                <a:gd name="connsiteX22" fmla="*/ 30672 w 84183"/>
                <a:gd name="connsiteY22" fmla="*/ 25936 h 81636"/>
                <a:gd name="connsiteX23" fmla="*/ 6390 w 84183"/>
                <a:gd name="connsiteY23" fmla="*/ 25936 h 81636"/>
                <a:gd name="connsiteX24" fmla="*/ 0 w 84183"/>
                <a:gd name="connsiteY24" fmla="*/ 32320 h 81636"/>
                <a:gd name="connsiteX25" fmla="*/ 2556 w 84183"/>
                <a:gd name="connsiteY25" fmla="*/ 37427 h 81636"/>
                <a:gd name="connsiteX26" fmla="*/ 21087 w 84183"/>
                <a:gd name="connsiteY26" fmla="*/ 50833 h 81636"/>
                <a:gd name="connsiteX27" fmla="*/ 14058 w 84183"/>
                <a:gd name="connsiteY27" fmla="*/ 72539 h 81636"/>
                <a:gd name="connsiteX28" fmla="*/ 17892 w 84183"/>
                <a:gd name="connsiteY28" fmla="*/ 80838 h 81636"/>
                <a:gd name="connsiteX29" fmla="*/ 23643 w 84183"/>
                <a:gd name="connsiteY29" fmla="*/ 80200 h 81636"/>
                <a:gd name="connsiteX30" fmla="*/ 42174 w 84183"/>
                <a:gd name="connsiteY30" fmla="*/ 66793 h 81636"/>
                <a:gd name="connsiteX31" fmla="*/ 60704 w 84183"/>
                <a:gd name="connsiteY31" fmla="*/ 80200 h 81636"/>
                <a:gd name="connsiteX32" fmla="*/ 68372 w 84183"/>
                <a:gd name="connsiteY32" fmla="*/ 80200 h 81636"/>
                <a:gd name="connsiteX33" fmla="*/ 70928 w 84183"/>
                <a:gd name="connsiteY33" fmla="*/ 73177 h 81636"/>
                <a:gd name="connsiteX34" fmla="*/ 63260 w 84183"/>
                <a:gd name="connsiteY34" fmla="*/ 50833 h 81636"/>
                <a:gd name="connsiteX35" fmla="*/ 81791 w 84183"/>
                <a:gd name="connsiteY35" fmla="*/ 37427 h 81636"/>
                <a:gd name="connsiteX36" fmla="*/ 83069 w 84183"/>
                <a:gd name="connsiteY36" fmla="*/ 28489 h 81636"/>
                <a:gd name="connsiteX37" fmla="*/ 77957 w 84183"/>
                <a:gd name="connsiteY37" fmla="*/ 25936 h 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4183" h="81636">
                  <a:moveTo>
                    <a:pt x="50480" y="50833"/>
                  </a:moveTo>
                  <a:lnTo>
                    <a:pt x="53036" y="58494"/>
                  </a:lnTo>
                  <a:lnTo>
                    <a:pt x="46646" y="54025"/>
                  </a:lnTo>
                  <a:cubicBezTo>
                    <a:pt x="45369" y="53387"/>
                    <a:pt x="44091" y="52748"/>
                    <a:pt x="42813" y="52748"/>
                  </a:cubicBezTo>
                  <a:cubicBezTo>
                    <a:pt x="41535" y="52748"/>
                    <a:pt x="40257" y="53387"/>
                    <a:pt x="38979" y="54025"/>
                  </a:cubicBezTo>
                  <a:lnTo>
                    <a:pt x="32589" y="58494"/>
                  </a:lnTo>
                  <a:lnTo>
                    <a:pt x="35145" y="50833"/>
                  </a:lnTo>
                  <a:cubicBezTo>
                    <a:pt x="35784" y="48280"/>
                    <a:pt x="35145" y="45088"/>
                    <a:pt x="32589" y="43811"/>
                  </a:cubicBezTo>
                  <a:lnTo>
                    <a:pt x="26199" y="39342"/>
                  </a:lnTo>
                  <a:lnTo>
                    <a:pt x="34506" y="39342"/>
                  </a:lnTo>
                  <a:cubicBezTo>
                    <a:pt x="37062" y="39342"/>
                    <a:pt x="39618" y="37427"/>
                    <a:pt x="40896" y="34873"/>
                  </a:cubicBezTo>
                  <a:lnTo>
                    <a:pt x="43451" y="27213"/>
                  </a:lnTo>
                  <a:lnTo>
                    <a:pt x="46008" y="34873"/>
                  </a:lnTo>
                  <a:cubicBezTo>
                    <a:pt x="46646" y="37427"/>
                    <a:pt x="49203" y="39342"/>
                    <a:pt x="52398" y="39342"/>
                  </a:cubicBezTo>
                  <a:lnTo>
                    <a:pt x="60704" y="39342"/>
                  </a:lnTo>
                  <a:lnTo>
                    <a:pt x="54314" y="43811"/>
                  </a:lnTo>
                  <a:cubicBezTo>
                    <a:pt x="51759" y="45726"/>
                    <a:pt x="51119" y="48280"/>
                    <a:pt x="51759" y="50833"/>
                  </a:cubicBezTo>
                  <a:moveTo>
                    <a:pt x="79874" y="25936"/>
                  </a:moveTo>
                  <a:lnTo>
                    <a:pt x="56870" y="25936"/>
                  </a:lnTo>
                  <a:lnTo>
                    <a:pt x="49841" y="4230"/>
                  </a:lnTo>
                  <a:cubicBezTo>
                    <a:pt x="48564" y="1038"/>
                    <a:pt x="45369" y="-877"/>
                    <a:pt x="41535" y="400"/>
                  </a:cubicBezTo>
                  <a:cubicBezTo>
                    <a:pt x="39618" y="1038"/>
                    <a:pt x="38340" y="2315"/>
                    <a:pt x="37701" y="4230"/>
                  </a:cubicBezTo>
                  <a:lnTo>
                    <a:pt x="30672" y="25936"/>
                  </a:lnTo>
                  <a:lnTo>
                    <a:pt x="6390" y="25936"/>
                  </a:lnTo>
                  <a:cubicBezTo>
                    <a:pt x="2556" y="25936"/>
                    <a:pt x="0" y="28489"/>
                    <a:pt x="0" y="32320"/>
                  </a:cubicBezTo>
                  <a:cubicBezTo>
                    <a:pt x="0" y="34235"/>
                    <a:pt x="1278" y="36150"/>
                    <a:pt x="2556" y="37427"/>
                  </a:cubicBezTo>
                  <a:lnTo>
                    <a:pt x="21087" y="50833"/>
                  </a:lnTo>
                  <a:lnTo>
                    <a:pt x="14058" y="72539"/>
                  </a:lnTo>
                  <a:cubicBezTo>
                    <a:pt x="12780" y="75731"/>
                    <a:pt x="14697" y="79561"/>
                    <a:pt x="17892" y="80838"/>
                  </a:cubicBezTo>
                  <a:cubicBezTo>
                    <a:pt x="19809" y="81476"/>
                    <a:pt x="21726" y="80838"/>
                    <a:pt x="23643" y="80200"/>
                  </a:cubicBezTo>
                  <a:lnTo>
                    <a:pt x="42174" y="66793"/>
                  </a:lnTo>
                  <a:lnTo>
                    <a:pt x="60704" y="80200"/>
                  </a:lnTo>
                  <a:cubicBezTo>
                    <a:pt x="62621" y="82115"/>
                    <a:pt x="65816" y="82115"/>
                    <a:pt x="68372" y="80200"/>
                  </a:cubicBezTo>
                  <a:cubicBezTo>
                    <a:pt x="70928" y="78284"/>
                    <a:pt x="71567" y="75731"/>
                    <a:pt x="70928" y="73177"/>
                  </a:cubicBezTo>
                  <a:lnTo>
                    <a:pt x="63260" y="50833"/>
                  </a:lnTo>
                  <a:lnTo>
                    <a:pt x="81791" y="37427"/>
                  </a:lnTo>
                  <a:cubicBezTo>
                    <a:pt x="84347" y="35512"/>
                    <a:pt x="84986" y="31681"/>
                    <a:pt x="83069" y="28489"/>
                  </a:cubicBezTo>
                  <a:cubicBezTo>
                    <a:pt x="81791" y="26574"/>
                    <a:pt x="79874" y="25936"/>
                    <a:pt x="77957" y="25936"/>
                  </a:cubicBezTo>
                </a:path>
              </a:pathLst>
            </a:custGeom>
            <a:solidFill>
              <a:srgbClr val="9FCA52"/>
            </a:solidFill>
            <a:ln w="6390" cap="flat">
              <a:noFill/>
              <a:prstDash val="solid"/>
              <a:miter/>
            </a:ln>
          </p:spPr>
          <p:txBody>
            <a:bodyPr rtlCol="0"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Light"/>
              </a:endParaRPr>
            </a:p>
          </p:txBody>
        </p:sp>
      </p:grpSp>
      <p:sp>
        <p:nvSpPr>
          <p:cNvPr id="51" name="TextBox 50">
            <a:extLst>
              <a:ext uri="{FF2B5EF4-FFF2-40B4-BE49-F238E27FC236}">
                <a16:creationId xmlns:a16="http://schemas.microsoft.com/office/drawing/2014/main" id="{613EF3B0-89D4-80DF-BC9B-B7785FE7F031}"/>
              </a:ext>
            </a:extLst>
          </p:cNvPr>
          <p:cNvSpPr txBox="1"/>
          <p:nvPr/>
        </p:nvSpPr>
        <p:spPr>
          <a:xfrm>
            <a:off x="846950" y="1352607"/>
            <a:ext cx="3088284" cy="4832092"/>
          </a:xfrm>
          <a:prstGeom prst="rect">
            <a:avLst/>
          </a:prstGeom>
          <a:noFill/>
        </p:spPr>
        <p:txBody>
          <a:bodyPr wrap="square">
            <a:spAutoFit/>
          </a:bodyPr>
          <a:lstStyle/>
          <a:p>
            <a:pPr marL="285750" marR="0" lvl="0" indent="-285750" algn="l"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Recognized as 2023 Great Place to Work® in the UAE.</a:t>
            </a:r>
          </a:p>
          <a:p>
            <a:pPr marL="285750" marR="0" lvl="0" indent="-285750" algn="l"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Recognized as 2023 Great Place to Work® in the KSA.</a:t>
            </a:r>
          </a:p>
          <a:p>
            <a:pPr marL="285750" marR="0" lvl="0" indent="-285750" algn="l"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Brand Finance’s </a:t>
            </a:r>
            <a:r>
              <a:rPr kumimoji="0" lang="en-US" sz="1400" b="0" i="0" u="none" strike="noStrike" kern="120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strongest and most valuable “commercial services” brand in the world 2022</a:t>
            </a:r>
          </a:p>
          <a:p>
            <a:pPr marL="285750" marR="0" lvl="0" indent="-285750" algn="l"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Recognized as 2022 Great Place to Work® and Best Workplaces™ in the UAE</a:t>
            </a:r>
          </a:p>
          <a:p>
            <a:pPr marL="285750" marR="0" lvl="0" indent="-285750" algn="l"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Ranked</a:t>
            </a:r>
            <a:r>
              <a:rPr kumimoji="0" lang="en-US" sz="1400" b="0" i="0" u="none" strike="noStrike" kern="120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 7th in Fortune World’s Best Workplaces™ 2022</a:t>
            </a:r>
          </a:p>
          <a:p>
            <a:pPr marL="285750" marR="0" lvl="0" indent="-285750" algn="l"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Recognized among “World’s Best Workplaces™ 2022” and “World’s Most Attractive Employers”</a:t>
            </a:r>
          </a:p>
          <a:p>
            <a:pPr marL="285750" marR="0" lvl="0" indent="-285750" algn="l"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endParaRPr kumimoji="0" lang="en-US" sz="1400" b="0" i="0" u="none" strike="noStrike" kern="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endParaRPr>
          </a:p>
          <a:p>
            <a:pPr marL="285750" marR="0" lvl="0" indent="-285750" algn="l"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endParaRPr kumimoji="0" lang="en-US" sz="1400" b="0" i="0" u="none" strike="noStrike" kern="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endParaRPr>
          </a:p>
        </p:txBody>
      </p:sp>
      <p:sp>
        <p:nvSpPr>
          <p:cNvPr id="52" name="TextBox 51">
            <a:extLst>
              <a:ext uri="{FF2B5EF4-FFF2-40B4-BE49-F238E27FC236}">
                <a16:creationId xmlns:a16="http://schemas.microsoft.com/office/drawing/2014/main" id="{4EA6EA32-6960-9BFF-4078-45296DF92B07}"/>
              </a:ext>
            </a:extLst>
          </p:cNvPr>
          <p:cNvSpPr txBox="1"/>
          <p:nvPr/>
        </p:nvSpPr>
        <p:spPr>
          <a:xfrm>
            <a:off x="4362644" y="1367201"/>
            <a:ext cx="3109852" cy="2985433"/>
          </a:xfrm>
          <a:prstGeom prst="rect">
            <a:avLst/>
          </a:prstGeom>
          <a:noFill/>
        </p:spPr>
        <p:txBody>
          <a:bodyPr wrap="square">
            <a:spAutoFit/>
          </a:bodyPr>
          <a:lstStyle/>
          <a:p>
            <a:pPr marL="285750" marR="0" lvl="0" indent="-285750" algn="l"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Gartner Magic Quadrant for Public Cloud IT Transformation Services placing highest on Ability to Execute and furthest on Completeness of Vision, 2022</a:t>
            </a:r>
          </a:p>
          <a:p>
            <a:pPr marL="285750" marR="0" lvl="0" indent="-285750" algn="l"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Gartner Magic Quadrant™ for SAP S/4HANA Application Services, Worldwide, 2022</a:t>
            </a:r>
          </a:p>
          <a:p>
            <a:pPr marL="285750" marR="0" lvl="0" indent="-285750" algn="l"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Leader in IDC MarketScape: Worldwide Managed Cloud Security Services. Multicloud </a:t>
            </a:r>
            <a:r>
              <a:rPr kumimoji="0" lang="en-US" sz="1200" b="0" i="1" u="none" strike="noStrike" kern="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Era Vendor Assessment, 2022</a:t>
            </a:r>
            <a:endParaRPr kumimoji="0" lang="en-US" sz="1400" b="0" i="1" u="none" strike="noStrike" kern="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endParaRPr>
          </a:p>
        </p:txBody>
      </p:sp>
      <p:sp>
        <p:nvSpPr>
          <p:cNvPr id="53" name="TextBox 52">
            <a:extLst>
              <a:ext uri="{FF2B5EF4-FFF2-40B4-BE49-F238E27FC236}">
                <a16:creationId xmlns:a16="http://schemas.microsoft.com/office/drawing/2014/main" id="{707F46E2-7392-0958-7011-FEED0A18EDF0}"/>
              </a:ext>
            </a:extLst>
          </p:cNvPr>
          <p:cNvSpPr txBox="1"/>
          <p:nvPr/>
        </p:nvSpPr>
        <p:spPr>
          <a:xfrm>
            <a:off x="7836549" y="1367201"/>
            <a:ext cx="3088284" cy="2646878"/>
          </a:xfrm>
          <a:prstGeom prst="rect">
            <a:avLst/>
          </a:prstGeom>
          <a:noFill/>
        </p:spPr>
        <p:txBody>
          <a:bodyPr wrap="square">
            <a:spAutoFit/>
          </a:bodyPr>
          <a:lstStyle/>
          <a:p>
            <a:pPr marL="285750" marR="0" lvl="0" indent="-285750" algn="l"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Gartner Magic Quadrant for SAP S/4HANA Application Services, Worldwide 2022</a:t>
            </a:r>
          </a:p>
          <a:p>
            <a:pPr marL="285750" marR="0" lvl="0" indent="-285750" algn="l"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Deloitte ranked No. 1 consulting service provider worldwide by revenue. </a:t>
            </a:r>
            <a:br>
              <a:rPr kumimoji="0" lang="en-US" sz="1200" b="0" i="0" u="none" strike="noStrike" kern="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br>
            <a:r>
              <a:rPr kumimoji="0" lang="en-US" sz="1200" b="0" i="1" u="none" strike="noStrike" kern="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IDC MarketScape: Canadian Security Services 2019 </a:t>
            </a:r>
          </a:p>
          <a:p>
            <a:pPr marL="285750" marR="0" lvl="0" indent="-285750" algn="l"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endParaRPr kumimoji="0" lang="en-US" sz="1400" b="0" i="0" u="none" strike="noStrike" kern="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endParaRPr>
          </a:p>
          <a:p>
            <a:pPr marL="285750" marR="0" lvl="0" indent="-285750" algn="l"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endParaRPr kumimoji="0" lang="en-US" sz="1400" b="0" i="0" u="none" strike="noStrike" kern="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endParaRPr>
          </a:p>
        </p:txBody>
      </p:sp>
    </p:spTree>
    <p:extLst>
      <p:ext uri="{BB962C8B-B14F-4D97-AF65-F5344CB8AC3E}">
        <p14:creationId xmlns:p14="http://schemas.microsoft.com/office/powerpoint/2010/main" val="2854616059"/>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878E5A-E353-BBC9-02D8-6822309C923F}"/>
              </a:ext>
            </a:extLst>
          </p:cNvPr>
          <p:cNvSpPr/>
          <p:nvPr/>
        </p:nvSpPr>
        <p:spPr>
          <a:xfrm>
            <a:off x="478517" y="2622626"/>
            <a:ext cx="7964025" cy="3216265"/>
          </a:xfrm>
          <a:prstGeom prst="rect">
            <a:avLst/>
          </a:prstGeom>
          <a:solidFill>
            <a:srgbClr val="046A38">
              <a:alpha val="63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Open Sans"/>
              <a:ea typeface="Open Sans"/>
              <a:cs typeface="Open Sans"/>
              <a:sym typeface="Open Sans"/>
            </a:endParaRPr>
          </a:p>
        </p:txBody>
      </p:sp>
      <p:sp>
        <p:nvSpPr>
          <p:cNvPr id="752" name="Title 1"/>
          <p:cNvSpPr txBox="1">
            <a:spLocks noGrp="1"/>
          </p:cNvSpPr>
          <p:nvPr>
            <p:ph type="title"/>
          </p:nvPr>
        </p:nvSpPr>
        <p:spPr>
          <a:prstGeom prst="rect">
            <a:avLst/>
          </a:prstGeom>
        </p:spPr>
        <p:txBody>
          <a:bodyPr/>
          <a:lstStyle/>
          <a:p>
            <a:r>
              <a:rPr lang="en-US" dirty="0">
                <a:latin typeface="+mn-lt"/>
              </a:rPr>
              <a:t>Approach and Methodology</a:t>
            </a:r>
          </a:p>
        </p:txBody>
      </p:sp>
      <p:sp>
        <p:nvSpPr>
          <p:cNvPr id="5" name="TextBox 4">
            <a:extLst>
              <a:ext uri="{FF2B5EF4-FFF2-40B4-BE49-F238E27FC236}">
                <a16:creationId xmlns:a16="http://schemas.microsoft.com/office/drawing/2014/main" id="{361504AD-9623-9115-82D2-B4972C529EFF}"/>
              </a:ext>
            </a:extLst>
          </p:cNvPr>
          <p:cNvSpPr txBox="1"/>
          <p:nvPr/>
        </p:nvSpPr>
        <p:spPr>
          <a:xfrm>
            <a:off x="478517" y="2622626"/>
            <a:ext cx="8227072" cy="30777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1219170" rtl="0" eaLnBrk="1" fontAlgn="auto" latinLnBrk="0" hangingPunct="1">
              <a:lnSpc>
                <a:spcPct val="100000"/>
              </a:lnSpc>
              <a:spcBef>
                <a:spcPts val="4800"/>
              </a:spcBef>
              <a:spcAft>
                <a:spcPts val="1200"/>
              </a:spcAft>
              <a:buClrTx/>
              <a:buSzPct val="100000"/>
              <a:buFont typeface="Arial" panose="020B0604020202020204" pitchFamily="34" charset="0"/>
              <a:buNone/>
              <a:tabLst/>
              <a:defRPr/>
            </a:pPr>
            <a:r>
              <a:rPr kumimoji="0" lang="en-US" sz="2400" b="0" i="0" u="none" strike="noStrike" kern="120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rPr>
              <a:t>We believe in a service delivery approach that is driven by the client vision and expectation. We strive to provide global, end-to-end, innovative, and intelligent solutions tailored to priority industries and segments. </a:t>
            </a:r>
          </a:p>
          <a:p>
            <a:pPr marL="0" marR="0" lvl="0" indent="0" algn="l" defTabSz="1219170" rtl="0" eaLnBrk="1" fontAlgn="auto" latinLnBrk="0" hangingPunct="1">
              <a:lnSpc>
                <a:spcPct val="100000"/>
              </a:lnSpc>
              <a:spcBef>
                <a:spcPts val="4800"/>
              </a:spcBef>
              <a:spcAft>
                <a:spcPts val="1200"/>
              </a:spcAft>
              <a:buClrTx/>
              <a:buSzPct val="100000"/>
              <a:buFont typeface="Arial" panose="020B0604020202020204" pitchFamily="34" charset="0"/>
              <a:buNone/>
              <a:tabLst/>
              <a:defRPr/>
            </a:pPr>
            <a:r>
              <a:rPr kumimoji="0" lang="en-US" sz="2400" b="0" i="0" u="none" strike="noStrike" kern="120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rPr>
              <a:t>Subsequent section summarizes the approach performed by Deloitte to meet your expectation and objective.</a:t>
            </a:r>
          </a:p>
        </p:txBody>
      </p:sp>
    </p:spTree>
    <p:extLst>
      <p:ext uri="{BB962C8B-B14F-4D97-AF65-F5344CB8AC3E}">
        <p14:creationId xmlns:p14="http://schemas.microsoft.com/office/powerpoint/2010/main" val="366550504"/>
      </p:ext>
    </p:extLst>
  </p:cSld>
  <p:clrMapOvr>
    <a:masterClrMapping/>
  </p:clrMapOvr>
  <p:transition spd="slow">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20">
            <a:extLst>
              <a:ext uri="{FF2B5EF4-FFF2-40B4-BE49-F238E27FC236}">
                <a16:creationId xmlns:a16="http://schemas.microsoft.com/office/drawing/2014/main" id="{21582DA6-E7A5-ECAA-971C-B029B9F65B7A}"/>
              </a:ext>
            </a:extLst>
          </p:cNvPr>
          <p:cNvSpPr txBox="1">
            <a:spLocks/>
          </p:cNvSpPr>
          <p:nvPr/>
        </p:nvSpPr>
        <p:spPr>
          <a:xfrm>
            <a:off x="411480"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lvl="0" indent="0">
              <a:spcBef>
                <a:spcPts val="0"/>
              </a:spcBef>
              <a:spcAft>
                <a:spcPts val="1333"/>
              </a:spcAft>
              <a:buNone/>
              <a:defRPr/>
            </a:pPr>
            <a:r>
              <a:rPr lang="en-US" sz="1400" b="1" dirty="0">
                <a:solidFill>
                  <a:srgbClr val="575757"/>
                </a:solidFill>
                <a:latin typeface="+mn-lt"/>
                <a:ea typeface="Open Sans Light" panose="020B0306030504020204" pitchFamily="34" charset="0"/>
                <a:cs typeface="Open Sans Light" panose="020B0306030504020204" pitchFamily="34" charset="0"/>
              </a:rPr>
              <a:t>Key Phases and Deliverables</a:t>
            </a:r>
          </a:p>
        </p:txBody>
      </p:sp>
      <p:sp>
        <p:nvSpPr>
          <p:cNvPr id="9" name="Title 1">
            <a:extLst>
              <a:ext uri="{FF2B5EF4-FFF2-40B4-BE49-F238E27FC236}">
                <a16:creationId xmlns:a16="http://schemas.microsoft.com/office/drawing/2014/main" id="{0A1B49BC-874A-8D11-4DD3-FC19D8C191DD}"/>
              </a:ext>
            </a:extLst>
          </p:cNvPr>
          <p:cNvSpPr txBox="1">
            <a:spLocks/>
          </p:cNvSpPr>
          <p:nvPr/>
        </p:nvSpPr>
        <p:spPr>
          <a:xfrm>
            <a:off x="411480" y="402587"/>
            <a:ext cx="11252200" cy="334102"/>
          </a:xfrm>
          <a:prstGeom prst="rect">
            <a:avLst/>
          </a:prstGeom>
        </p:spPr>
        <p:txBody>
          <a:bodyPr vert="horz" wrap="square" lIns="0" tIns="0" rIns="0" bIns="0" rtlCol="0" anchor="t" anchorCtr="0">
            <a:noAutofit/>
          </a:bodyPr>
          <a:lstStyle>
            <a:lvl1pPr>
              <a:defRPr sz="2400" b="0" i="0">
                <a:solidFill>
                  <a:srgbClr val="86BC25"/>
                </a:solidFill>
                <a:latin typeface="Calibri" panose="020F0502020204030204" pitchFamily="34" charset="0"/>
                <a:ea typeface="Verdana" panose="020B0604030504040204" pitchFamily="34" charset="0"/>
                <a:cs typeface="Calibri" panose="020F0502020204030204" pitchFamily="34" charset="0"/>
              </a:defRPr>
            </a:lvl1pPr>
          </a:lstStyle>
          <a:p>
            <a:pPr hangingPunct="1">
              <a:spcBef>
                <a:spcPct val="0"/>
              </a:spcBef>
              <a:defRPr/>
            </a:pPr>
            <a:r>
              <a:rPr lang="en-US" sz="2000" dirty="0">
                <a:solidFill>
                  <a:schemeClr val="tx2">
                    <a:lumMod val="50000"/>
                  </a:schemeClr>
                </a:solidFill>
                <a:latin typeface="+mn-lt"/>
                <a:ea typeface="Open Sans Semibold" panose="020B0706030804020204" pitchFamily="34" charset="0"/>
                <a:cs typeface="Open Sans Semibold" panose="020B0706030804020204" pitchFamily="34" charset="0"/>
              </a:rPr>
              <a:t>Approach and Methodology</a:t>
            </a:r>
          </a:p>
        </p:txBody>
      </p:sp>
      <p:sp>
        <p:nvSpPr>
          <p:cNvPr id="17" name="Left Bracket 16">
            <a:extLst>
              <a:ext uri="{FF2B5EF4-FFF2-40B4-BE49-F238E27FC236}">
                <a16:creationId xmlns:a16="http://schemas.microsoft.com/office/drawing/2014/main" id="{47C382A2-22FA-CCFC-A70D-D64AF7C6D3F1}"/>
              </a:ext>
            </a:extLst>
          </p:cNvPr>
          <p:cNvSpPr/>
          <p:nvPr/>
        </p:nvSpPr>
        <p:spPr>
          <a:xfrm>
            <a:off x="391306" y="1224641"/>
            <a:ext cx="281941" cy="5221985"/>
          </a:xfrm>
          <a:prstGeom prst="leftBracket">
            <a:avLst/>
          </a:prstGeom>
          <a:noFill/>
          <a:ln w="25400" cap="flat">
            <a:solidFill>
              <a:schemeClr val="accent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AE" sz="1800" b="0" i="0" u="none" strike="noStrike" cap="none" spc="0" normalizeH="0" baseline="0">
              <a:ln>
                <a:noFill/>
              </a:ln>
              <a:solidFill>
                <a:srgbClr val="000000"/>
              </a:solidFill>
              <a:effectLst/>
              <a:uFillTx/>
            </a:endParaRPr>
          </a:p>
        </p:txBody>
      </p:sp>
      <p:sp>
        <p:nvSpPr>
          <p:cNvPr id="18" name="Rectangle 17">
            <a:extLst>
              <a:ext uri="{FF2B5EF4-FFF2-40B4-BE49-F238E27FC236}">
                <a16:creationId xmlns:a16="http://schemas.microsoft.com/office/drawing/2014/main" id="{C3412FAD-9D75-9B23-B7F5-E106172FA354}"/>
              </a:ext>
            </a:extLst>
          </p:cNvPr>
          <p:cNvSpPr/>
          <p:nvPr/>
        </p:nvSpPr>
        <p:spPr>
          <a:xfrm rot="16200000">
            <a:off x="-168872" y="1707080"/>
            <a:ext cx="1080000" cy="394980"/>
          </a:xfrm>
          <a:prstGeom prst="rect">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dirty="0">
                <a:ln>
                  <a:noFill/>
                </a:ln>
                <a:solidFill>
                  <a:schemeClr val="accent1"/>
                </a:solidFill>
                <a:effectLst/>
                <a:uFillTx/>
                <a:latin typeface="+mn-lt"/>
                <a:ea typeface="Open Sans"/>
                <a:cs typeface="Open Sans"/>
                <a:sym typeface="Open Sans"/>
              </a:rPr>
              <a:t>Phases</a:t>
            </a:r>
            <a:endParaRPr kumimoji="0" lang="en-AE" sz="1400" b="0" i="0" u="none" strike="noStrike" cap="none" spc="0" normalizeH="0" baseline="0" dirty="0">
              <a:ln>
                <a:noFill/>
              </a:ln>
              <a:solidFill>
                <a:schemeClr val="accent1"/>
              </a:solidFill>
              <a:effectLst/>
              <a:uFillTx/>
              <a:latin typeface="+mn-lt"/>
              <a:ea typeface="Open Sans"/>
              <a:cs typeface="Open Sans"/>
              <a:sym typeface="Open Sans"/>
            </a:endParaRPr>
          </a:p>
        </p:txBody>
      </p:sp>
      <p:sp>
        <p:nvSpPr>
          <p:cNvPr id="19" name="Rectangle 18">
            <a:extLst>
              <a:ext uri="{FF2B5EF4-FFF2-40B4-BE49-F238E27FC236}">
                <a16:creationId xmlns:a16="http://schemas.microsoft.com/office/drawing/2014/main" id="{8C798E22-4BD0-2E34-A606-0587DDA48394}"/>
              </a:ext>
            </a:extLst>
          </p:cNvPr>
          <p:cNvSpPr/>
          <p:nvPr/>
        </p:nvSpPr>
        <p:spPr>
          <a:xfrm rot="16200000">
            <a:off x="-348872" y="3268548"/>
            <a:ext cx="1440000" cy="394980"/>
          </a:xfrm>
          <a:prstGeom prst="rect">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dirty="0">
                <a:ln>
                  <a:noFill/>
                </a:ln>
                <a:solidFill>
                  <a:schemeClr val="accent1"/>
                </a:solidFill>
                <a:effectLst/>
                <a:uFillTx/>
                <a:latin typeface="+mn-lt"/>
                <a:ea typeface="Open Sans"/>
                <a:cs typeface="Open Sans"/>
                <a:sym typeface="Open Sans"/>
              </a:rPr>
              <a:t>Objectives</a:t>
            </a:r>
            <a:endParaRPr kumimoji="0" lang="en-AE" sz="1400" b="0" i="0" u="none" strike="noStrike" cap="none" spc="0" normalizeH="0" baseline="0" dirty="0">
              <a:ln>
                <a:noFill/>
              </a:ln>
              <a:solidFill>
                <a:schemeClr val="accent1"/>
              </a:solidFill>
              <a:effectLst/>
              <a:uFillTx/>
              <a:latin typeface="+mn-lt"/>
              <a:ea typeface="Open Sans"/>
              <a:cs typeface="Open Sans"/>
              <a:sym typeface="Open Sans"/>
            </a:endParaRPr>
          </a:p>
        </p:txBody>
      </p:sp>
      <p:sp>
        <p:nvSpPr>
          <p:cNvPr id="20" name="Rectangle 19">
            <a:extLst>
              <a:ext uri="{FF2B5EF4-FFF2-40B4-BE49-F238E27FC236}">
                <a16:creationId xmlns:a16="http://schemas.microsoft.com/office/drawing/2014/main" id="{0F659923-B5A2-773B-12F3-35FA175E3E21}"/>
              </a:ext>
            </a:extLst>
          </p:cNvPr>
          <p:cNvSpPr/>
          <p:nvPr/>
        </p:nvSpPr>
        <p:spPr>
          <a:xfrm rot="16200000">
            <a:off x="-348872" y="5079199"/>
            <a:ext cx="1440000" cy="394980"/>
          </a:xfrm>
          <a:prstGeom prst="rect">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dirty="0">
                <a:ln>
                  <a:noFill/>
                </a:ln>
                <a:solidFill>
                  <a:schemeClr val="accent1"/>
                </a:solidFill>
                <a:effectLst/>
                <a:uFillTx/>
                <a:latin typeface="+mn-lt"/>
                <a:ea typeface="Open Sans"/>
                <a:cs typeface="Open Sans"/>
                <a:sym typeface="Open Sans"/>
              </a:rPr>
              <a:t>Deliverables</a:t>
            </a:r>
            <a:endParaRPr kumimoji="0" lang="en-AE" sz="1400" b="0" i="0" u="none" strike="noStrike" cap="none" spc="0" normalizeH="0" baseline="0" dirty="0">
              <a:ln>
                <a:noFill/>
              </a:ln>
              <a:solidFill>
                <a:schemeClr val="accent1"/>
              </a:solidFill>
              <a:effectLst/>
              <a:uFillTx/>
              <a:latin typeface="+mn-lt"/>
              <a:ea typeface="Open Sans"/>
              <a:cs typeface="Open Sans"/>
              <a:sym typeface="Open Sans"/>
            </a:endParaRPr>
          </a:p>
        </p:txBody>
      </p:sp>
      <p:graphicFrame>
        <p:nvGraphicFramePr>
          <p:cNvPr id="2" name="Table 9">
            <a:extLst>
              <a:ext uri="{FF2B5EF4-FFF2-40B4-BE49-F238E27FC236}">
                <a16:creationId xmlns:a16="http://schemas.microsoft.com/office/drawing/2014/main" id="{F8EFDC0B-41C2-C375-32F8-D1410328652D}"/>
              </a:ext>
            </a:extLst>
          </p:cNvPr>
          <p:cNvGraphicFramePr>
            <a:graphicFrameLocks noGrp="1"/>
          </p:cNvGraphicFramePr>
          <p:nvPr>
            <p:extLst>
              <p:ext uri="{D42A27DB-BD31-4B8C-83A1-F6EECF244321}">
                <p14:modId xmlns:p14="http://schemas.microsoft.com/office/powerpoint/2010/main" val="75404508"/>
              </p:ext>
            </p:extLst>
          </p:nvPr>
        </p:nvGraphicFramePr>
        <p:xfrm>
          <a:off x="671358" y="1052535"/>
          <a:ext cx="11347002" cy="5693662"/>
        </p:xfrm>
        <a:graphic>
          <a:graphicData uri="http://schemas.openxmlformats.org/drawingml/2006/table">
            <a:tbl>
              <a:tblPr firstRow="1" bandRow="1">
                <a:tableStyleId>{5940675A-B579-460E-94D1-54222C63F5DA}</a:tableStyleId>
              </a:tblPr>
              <a:tblGrid>
                <a:gridCol w="1076975">
                  <a:extLst>
                    <a:ext uri="{9D8B030D-6E8A-4147-A177-3AD203B41FA5}">
                      <a16:colId xmlns:a16="http://schemas.microsoft.com/office/drawing/2014/main" val="2034243637"/>
                    </a:ext>
                  </a:extLst>
                </a:gridCol>
                <a:gridCol w="1250899">
                  <a:extLst>
                    <a:ext uri="{9D8B030D-6E8A-4147-A177-3AD203B41FA5}">
                      <a16:colId xmlns:a16="http://schemas.microsoft.com/office/drawing/2014/main" val="2304108792"/>
                    </a:ext>
                  </a:extLst>
                </a:gridCol>
                <a:gridCol w="1258214">
                  <a:extLst>
                    <a:ext uri="{9D8B030D-6E8A-4147-A177-3AD203B41FA5}">
                      <a16:colId xmlns:a16="http://schemas.microsoft.com/office/drawing/2014/main" val="4087828607"/>
                    </a:ext>
                  </a:extLst>
                </a:gridCol>
                <a:gridCol w="1265530">
                  <a:extLst>
                    <a:ext uri="{9D8B030D-6E8A-4147-A177-3AD203B41FA5}">
                      <a16:colId xmlns:a16="http://schemas.microsoft.com/office/drawing/2014/main" val="4181967130"/>
                    </a:ext>
                  </a:extLst>
                </a:gridCol>
                <a:gridCol w="1243584">
                  <a:extLst>
                    <a:ext uri="{9D8B030D-6E8A-4147-A177-3AD203B41FA5}">
                      <a16:colId xmlns:a16="http://schemas.microsoft.com/office/drawing/2014/main" val="1485566987"/>
                    </a:ext>
                  </a:extLst>
                </a:gridCol>
                <a:gridCol w="1469466">
                  <a:extLst>
                    <a:ext uri="{9D8B030D-6E8A-4147-A177-3AD203B41FA5}">
                      <a16:colId xmlns:a16="http://schemas.microsoft.com/office/drawing/2014/main" val="3977299983"/>
                    </a:ext>
                  </a:extLst>
                </a:gridCol>
                <a:gridCol w="1260778">
                  <a:extLst>
                    <a:ext uri="{9D8B030D-6E8A-4147-A177-3AD203B41FA5}">
                      <a16:colId xmlns:a16="http://schemas.microsoft.com/office/drawing/2014/main" val="3636089001"/>
                    </a:ext>
                  </a:extLst>
                </a:gridCol>
                <a:gridCol w="1260778">
                  <a:extLst>
                    <a:ext uri="{9D8B030D-6E8A-4147-A177-3AD203B41FA5}">
                      <a16:colId xmlns:a16="http://schemas.microsoft.com/office/drawing/2014/main" val="1057802314"/>
                    </a:ext>
                  </a:extLst>
                </a:gridCol>
                <a:gridCol w="1260778">
                  <a:extLst>
                    <a:ext uri="{9D8B030D-6E8A-4147-A177-3AD203B41FA5}">
                      <a16:colId xmlns:a16="http://schemas.microsoft.com/office/drawing/2014/main" val="3376222171"/>
                    </a:ext>
                  </a:extLst>
                </a:gridCol>
              </a:tblGrid>
              <a:tr h="521386">
                <a:tc gridSpan="9">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u="none" strike="noStrike" kern="1200" cap="none" spc="0" baseline="0" dirty="0">
                          <a:solidFill>
                            <a:schemeClr val="bg1"/>
                          </a:solidFill>
                          <a:uFillTx/>
                          <a:latin typeface="+mn-lt"/>
                          <a:ea typeface="Open Sans" panose="020B0606030504020204" pitchFamily="34" charset="0"/>
                          <a:cs typeface="Open Sans" panose="020B0606030504020204" pitchFamily="34" charset="0"/>
                          <a:sym typeface="Open Sans Light"/>
                        </a:rPr>
                        <a:t>BCM Consultancy Services</a:t>
                      </a:r>
                    </a:p>
                  </a:txBody>
                  <a:tcPr anchor="ctr">
                    <a:solidFill>
                      <a:schemeClr val="accent1"/>
                    </a:solidFill>
                  </a:tcPr>
                </a:tc>
                <a:tc hMerge="1">
                  <a:txBody>
                    <a:bodyPr/>
                    <a:lstStyle/>
                    <a:p>
                      <a:pPr marL="0" marR="0" indent="0" algn="ctr" defTabSz="914400" rtl="0" latinLnBrk="0">
                        <a:lnSpc>
                          <a:spcPct val="100000"/>
                        </a:lnSpc>
                        <a:spcBef>
                          <a:spcPts val="0"/>
                        </a:spcBef>
                        <a:spcAft>
                          <a:spcPts val="0"/>
                        </a:spcAft>
                        <a:buClrTx/>
                        <a:buSzTx/>
                        <a:buFontTx/>
                        <a:buNone/>
                        <a:tabLst/>
                      </a:pPr>
                      <a:r>
                        <a:rPr lang="en-US" sz="1200" b="0" i="0" u="none" strike="noStrike" kern="1200" cap="none" spc="0" baseline="0" dirty="0">
                          <a:solidFill>
                            <a:schemeClr val="bg1"/>
                          </a:solidFill>
                          <a:uFillTx/>
                          <a:latin typeface="+mn-lt"/>
                          <a:ea typeface="Open Sans" panose="020B0606030504020204" pitchFamily="34" charset="0"/>
                          <a:cs typeface="Open Sans" panose="020B0606030504020204" pitchFamily="34" charset="0"/>
                          <a:sym typeface="Open Sans Light"/>
                        </a:rPr>
                        <a:t>2 Years Engagement (2024 – 2025)</a:t>
                      </a:r>
                      <a:endParaRPr lang="en-AE" sz="1200" b="0" i="0" u="none" strike="noStrike" kern="1200" cap="none" spc="0" baseline="0" dirty="0">
                        <a:solidFill>
                          <a:schemeClr val="bg1"/>
                        </a:solidFill>
                        <a:uFillTx/>
                        <a:latin typeface="+mn-lt"/>
                        <a:ea typeface="Open Sans" panose="020B0606030504020204" pitchFamily="34" charset="0"/>
                        <a:cs typeface="Open Sans" panose="020B0606030504020204" pitchFamily="34" charset="0"/>
                        <a:sym typeface="Open Sans Light"/>
                      </a:endParaRPr>
                    </a:p>
                  </a:txBody>
                  <a:tcPr anchor="ctr">
                    <a:solidFill>
                      <a:schemeClr val="accent1"/>
                    </a:solidFill>
                  </a:tcPr>
                </a:tc>
                <a:tc hMerge="1">
                  <a:txBody>
                    <a:bodyPr/>
                    <a:lstStyle/>
                    <a:p>
                      <a:pPr marL="0" marR="0" indent="0" algn="ctr" defTabSz="914400" rtl="0" latinLnBrk="0">
                        <a:lnSpc>
                          <a:spcPct val="100000"/>
                        </a:lnSpc>
                        <a:spcBef>
                          <a:spcPts val="0"/>
                        </a:spcBef>
                        <a:spcAft>
                          <a:spcPts val="0"/>
                        </a:spcAft>
                        <a:buClrTx/>
                        <a:buSzTx/>
                        <a:buFontTx/>
                        <a:buNone/>
                        <a:tabLst/>
                      </a:pPr>
                      <a:endParaRPr lang="en-AE" sz="1200" b="0" i="0" u="none" strike="noStrike" kern="1200" cap="none" spc="0" baseline="0" dirty="0">
                        <a:solidFill>
                          <a:schemeClr val="bg1"/>
                        </a:solidFill>
                        <a:uFillTx/>
                        <a:latin typeface="+mn-lt"/>
                        <a:ea typeface="Open Sans" panose="020B0606030504020204" pitchFamily="34" charset="0"/>
                        <a:cs typeface="Open Sans" panose="020B0606030504020204" pitchFamily="34" charset="0"/>
                        <a:sym typeface="Open Sans Light"/>
                      </a:endParaRPr>
                    </a:p>
                  </a:txBody>
                  <a:tcPr anchor="ctr">
                    <a:solidFill>
                      <a:schemeClr val="accent1"/>
                    </a:solidFill>
                  </a:tcPr>
                </a:tc>
                <a:tc hMerge="1">
                  <a:txBody>
                    <a:bodyPr/>
                    <a:lstStyle/>
                    <a:p>
                      <a:endParaRPr lang="en-AE"/>
                    </a:p>
                  </a:txBody>
                  <a:tcPr/>
                </a:tc>
                <a:tc hMerge="1">
                  <a:txBody>
                    <a:bodyPr/>
                    <a:lstStyle/>
                    <a:p>
                      <a:pPr marL="0" marR="0" indent="0" algn="ctr" defTabSz="914400" rtl="0" latinLnBrk="0">
                        <a:lnSpc>
                          <a:spcPct val="100000"/>
                        </a:lnSpc>
                        <a:spcBef>
                          <a:spcPts val="0"/>
                        </a:spcBef>
                        <a:spcAft>
                          <a:spcPts val="0"/>
                        </a:spcAft>
                        <a:buClrTx/>
                        <a:buSzTx/>
                        <a:buFontTx/>
                        <a:buNone/>
                        <a:tabLst/>
                      </a:pPr>
                      <a:endParaRPr lang="en-AE" sz="1200" b="0" i="0" u="none" strike="noStrike" kern="1200" cap="none" spc="0" baseline="0" dirty="0">
                        <a:solidFill>
                          <a:schemeClr val="bg1"/>
                        </a:solidFill>
                        <a:uFillTx/>
                        <a:latin typeface="+mn-lt"/>
                        <a:ea typeface="Open Sans" panose="020B0606030504020204" pitchFamily="34" charset="0"/>
                        <a:cs typeface="Open Sans" panose="020B0606030504020204" pitchFamily="34" charset="0"/>
                        <a:sym typeface="Open Sans Light"/>
                      </a:endParaRPr>
                    </a:p>
                  </a:txBody>
                  <a:tcPr anchor="ctr">
                    <a:solidFill>
                      <a:schemeClr val="accent1"/>
                    </a:solidFill>
                  </a:tcPr>
                </a:tc>
                <a:tc hMerge="1">
                  <a:txBody>
                    <a:bodyPr/>
                    <a:lstStyle/>
                    <a:p>
                      <a:pPr marL="0" marR="0" indent="0" algn="ctr" defTabSz="914400" rtl="0" latinLnBrk="0">
                        <a:lnSpc>
                          <a:spcPct val="100000"/>
                        </a:lnSpc>
                        <a:spcBef>
                          <a:spcPts val="0"/>
                        </a:spcBef>
                        <a:spcAft>
                          <a:spcPts val="0"/>
                        </a:spcAft>
                        <a:buClrTx/>
                        <a:buSzTx/>
                        <a:buFontTx/>
                        <a:buNone/>
                        <a:tabLst/>
                      </a:pPr>
                      <a:endParaRPr lang="en-AE" sz="1200" b="0" i="0" u="none" strike="noStrike" kern="1200" cap="none" spc="0" baseline="0" dirty="0">
                        <a:solidFill>
                          <a:schemeClr val="bg1"/>
                        </a:solidFill>
                        <a:uFillTx/>
                        <a:latin typeface="+mn-lt"/>
                        <a:ea typeface="Open Sans" panose="020B0606030504020204" pitchFamily="34" charset="0"/>
                        <a:cs typeface="Open Sans" panose="020B0606030504020204" pitchFamily="34" charset="0"/>
                        <a:sym typeface="Open Sans Light"/>
                      </a:endParaRPr>
                    </a:p>
                  </a:txBody>
                  <a:tcPr anchor="ctr">
                    <a:solidFill>
                      <a:schemeClr val="accent1"/>
                    </a:solidFill>
                  </a:tcPr>
                </a:tc>
                <a:tc hMerge="1">
                  <a:txBody>
                    <a:bodyPr/>
                    <a:lstStyle/>
                    <a:p>
                      <a:endParaRPr lang="en-AE"/>
                    </a:p>
                  </a:txBody>
                  <a:tcPr/>
                </a:tc>
                <a:tc hMerge="1">
                  <a:txBody>
                    <a:bodyPr/>
                    <a:lstStyle/>
                    <a:p>
                      <a:endParaRPr lang="en-AE"/>
                    </a:p>
                  </a:txBody>
                  <a:tcPr/>
                </a:tc>
                <a:tc hMerge="1">
                  <a:txBody>
                    <a:bodyPr/>
                    <a:lstStyle/>
                    <a:p>
                      <a:endParaRPr lang="en-AE"/>
                    </a:p>
                  </a:txBody>
                  <a:tcPr/>
                </a:tc>
                <a:extLst>
                  <a:ext uri="{0D108BD9-81ED-4DB2-BD59-A6C34878D82A}">
                    <a16:rowId xmlns:a16="http://schemas.microsoft.com/office/drawing/2014/main" val="2204775040"/>
                  </a:ext>
                </a:extLst>
              </a:tr>
              <a:tr h="95587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000" dirty="0">
                          <a:solidFill>
                            <a:schemeClr val="bg1"/>
                          </a:solidFill>
                          <a:latin typeface="+mn-lt"/>
                          <a:cs typeface="Calibri" panose="020F0502020204030204" pitchFamily="34" charset="0"/>
                        </a:rPr>
                        <a:t>Phase 1:</a:t>
                      </a:r>
                    </a:p>
                    <a:p>
                      <a:pPr algn="ctr"/>
                      <a:r>
                        <a:rPr lang="en-US" sz="1000" b="0" dirty="0">
                          <a:solidFill>
                            <a:schemeClr val="bg1"/>
                          </a:solidFill>
                          <a:latin typeface="+mn-lt"/>
                          <a:cs typeface="Calibri" panose="020F0502020204030204" pitchFamily="34" charset="0"/>
                        </a:rPr>
                        <a:t>Project Initiation &amp; Planning</a:t>
                      </a:r>
                    </a:p>
                  </a:txBody>
                  <a:tcPr>
                    <a:solidFill>
                      <a:srgbClr val="046A38"/>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000" b="1" dirty="0">
                          <a:solidFill>
                            <a:schemeClr val="bg1"/>
                          </a:solidFill>
                          <a:latin typeface="+mn-lt"/>
                          <a:cs typeface="Calibri" panose="020F0502020204030204" pitchFamily="34" charset="0"/>
                        </a:rPr>
                        <a:t>Phase 2:</a:t>
                      </a:r>
                    </a:p>
                    <a:p>
                      <a:pPr algn="ctr"/>
                      <a:r>
                        <a:rPr lang="en-US" sz="1000" b="0" kern="1200" baseline="0" dirty="0">
                          <a:solidFill>
                            <a:schemeClr val="bg1"/>
                          </a:solidFill>
                          <a:latin typeface="+mn-lt"/>
                          <a:ea typeface="+mn-ea"/>
                          <a:cs typeface="Calibri" panose="020F0502020204030204" pitchFamily="34" charset="0"/>
                        </a:rPr>
                        <a:t> Business Continuity Gap Analysis</a:t>
                      </a:r>
                    </a:p>
                  </a:txBody>
                  <a:tcPr>
                    <a:solidFill>
                      <a:srgbClr val="046A38"/>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000" b="1" dirty="0">
                          <a:solidFill>
                            <a:schemeClr val="bg1"/>
                          </a:solidFill>
                          <a:latin typeface="+mn-lt"/>
                          <a:cs typeface="Calibri" panose="020F0502020204030204" pitchFamily="34" charset="0"/>
                        </a:rPr>
                        <a:t>Phase 3:</a:t>
                      </a:r>
                    </a:p>
                    <a:p>
                      <a:pPr algn="ctr"/>
                      <a:r>
                        <a:rPr lang="en-US" sz="1000" b="0" kern="1200" baseline="0" dirty="0">
                          <a:solidFill>
                            <a:schemeClr val="bg1"/>
                          </a:solidFill>
                          <a:latin typeface="+mn-lt"/>
                          <a:ea typeface="+mn-ea"/>
                          <a:cs typeface="Calibri" panose="020F0502020204030204" pitchFamily="34" charset="0"/>
                        </a:rPr>
                        <a:t>Business Continuity Governance Framework</a:t>
                      </a:r>
                    </a:p>
                  </a:txBody>
                  <a:tcPr>
                    <a:solidFill>
                      <a:srgbClr val="046A38"/>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000" b="1" kern="1200" baseline="0" dirty="0">
                          <a:solidFill>
                            <a:schemeClr val="bg1"/>
                          </a:solidFill>
                          <a:latin typeface="+mn-lt"/>
                          <a:ea typeface="+mn-ea"/>
                          <a:cs typeface="Calibri" panose="020F0502020204030204" pitchFamily="34" charset="0"/>
                        </a:rPr>
                        <a:t>Phase 4:</a:t>
                      </a:r>
                      <a:r>
                        <a:rPr lang="en-US" sz="1000" b="0" kern="1200" baseline="0" dirty="0">
                          <a:solidFill>
                            <a:schemeClr val="bg1"/>
                          </a:solidFill>
                          <a:latin typeface="+mn-lt"/>
                          <a:ea typeface="+mn-ea"/>
                          <a:cs typeface="Calibri" panose="020F0502020204030204" pitchFamily="34" charset="0"/>
                        </a:rPr>
                        <a:t> Business Impact Analysis</a:t>
                      </a:r>
                    </a:p>
                  </a:txBody>
                  <a:tcPr>
                    <a:solidFill>
                      <a:srgbClr val="046A3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bg1"/>
                          </a:solidFill>
                          <a:latin typeface="+mn-lt"/>
                          <a:ea typeface="+mn-ea"/>
                          <a:cs typeface="Calibri" panose="020F0502020204030204" pitchFamily="34" charset="0"/>
                        </a:rPr>
                        <a:t>Phase 5:</a:t>
                      </a:r>
                      <a:r>
                        <a:rPr lang="en-US" sz="1000" b="0" kern="1200" baseline="0" dirty="0">
                          <a:solidFill>
                            <a:schemeClr val="bg1"/>
                          </a:solidFill>
                          <a:latin typeface="+mn-lt"/>
                          <a:ea typeface="+mn-ea"/>
                          <a:cs typeface="Calibri" panose="020F0502020204030204" pitchFamily="34" charset="0"/>
                        </a:rPr>
                        <a:t> Business Continuity Risk Assessment</a:t>
                      </a:r>
                    </a:p>
                  </a:txBody>
                  <a:tcPr>
                    <a:solidFill>
                      <a:srgbClr val="046A38"/>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000" b="1" kern="1200" baseline="0" dirty="0">
                          <a:solidFill>
                            <a:schemeClr val="bg1"/>
                          </a:solidFill>
                          <a:latin typeface="+mn-lt"/>
                          <a:ea typeface="+mn-ea"/>
                          <a:cs typeface="Calibri" panose="020F0502020204030204" pitchFamily="34" charset="0"/>
                        </a:rPr>
                        <a:t>Phase 6:  </a:t>
                      </a:r>
                      <a:r>
                        <a:rPr lang="en-US" sz="1000" b="0" kern="1200" baseline="0" dirty="0">
                          <a:solidFill>
                            <a:schemeClr val="bg1"/>
                          </a:solidFill>
                          <a:latin typeface="+mn-lt"/>
                          <a:ea typeface="+mn-ea"/>
                          <a:cs typeface="Calibri" panose="020F0502020204030204" pitchFamily="34" charset="0"/>
                        </a:rPr>
                        <a:t>Business Continuity Recovery Strategy and Plans</a:t>
                      </a:r>
                    </a:p>
                  </a:txBody>
                  <a:tcPr>
                    <a:solidFill>
                      <a:srgbClr val="046A38"/>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000" b="1" kern="1200" baseline="0" dirty="0">
                          <a:solidFill>
                            <a:schemeClr val="bg1"/>
                          </a:solidFill>
                          <a:latin typeface="+mn-lt"/>
                          <a:ea typeface="+mn-ea"/>
                          <a:cs typeface="Calibri" panose="020F0502020204030204" pitchFamily="34" charset="0"/>
                        </a:rPr>
                        <a:t>Phase 7:</a:t>
                      </a:r>
                      <a:r>
                        <a:rPr lang="en-US" sz="1000" b="0" kern="1200" baseline="0" dirty="0">
                          <a:solidFill>
                            <a:schemeClr val="bg1"/>
                          </a:solidFill>
                          <a:latin typeface="+mn-lt"/>
                          <a:ea typeface="+mn-ea"/>
                          <a:cs typeface="Calibri" panose="020F0502020204030204" pitchFamily="34" charset="0"/>
                        </a:rPr>
                        <a:t> Business Continuity Training &amp; Awareness</a:t>
                      </a:r>
                    </a:p>
                  </a:txBody>
                  <a:tcPr>
                    <a:solidFill>
                      <a:srgbClr val="046A38"/>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000" b="1" kern="1200" baseline="0" dirty="0">
                          <a:solidFill>
                            <a:schemeClr val="bg1"/>
                          </a:solidFill>
                          <a:latin typeface="+mn-lt"/>
                          <a:ea typeface="+mn-ea"/>
                          <a:cs typeface="Calibri" panose="020F0502020204030204" pitchFamily="34" charset="0"/>
                        </a:rPr>
                        <a:t>Phase 8: </a:t>
                      </a:r>
                      <a:r>
                        <a:rPr lang="en-US" sz="1000" b="0" kern="1200" baseline="0" dirty="0">
                          <a:solidFill>
                            <a:schemeClr val="bg1"/>
                          </a:solidFill>
                          <a:latin typeface="+mn-lt"/>
                          <a:ea typeface="+mn-ea"/>
                          <a:cs typeface="Calibri" panose="020F0502020204030204" pitchFamily="34" charset="0"/>
                        </a:rPr>
                        <a:t>Business Continuity Testing &amp; Performance Monitoring</a:t>
                      </a:r>
                    </a:p>
                  </a:txBody>
                  <a:tcPr>
                    <a:solidFill>
                      <a:srgbClr val="046A38"/>
                    </a:solidFill>
                  </a:tcPr>
                </a:tc>
                <a:tc>
                  <a:txBody>
                    <a:bodyPr/>
                    <a:lstStyle/>
                    <a:p>
                      <a:pPr algn="ctr"/>
                      <a:r>
                        <a:rPr lang="en-US" sz="1000" b="1" kern="1200" baseline="0" dirty="0">
                          <a:solidFill>
                            <a:schemeClr val="bg1"/>
                          </a:solidFill>
                          <a:latin typeface="+mn-lt"/>
                          <a:ea typeface="+mn-ea"/>
                          <a:cs typeface="Calibri" panose="020F0502020204030204" pitchFamily="34" charset="0"/>
                        </a:rPr>
                        <a:t>Phase 9: </a:t>
                      </a:r>
                      <a:r>
                        <a:rPr lang="en-US" sz="1000" b="0" kern="1200" baseline="0" dirty="0">
                          <a:solidFill>
                            <a:schemeClr val="bg1"/>
                          </a:solidFill>
                          <a:latin typeface="+mn-lt"/>
                          <a:ea typeface="+mn-ea"/>
                          <a:cs typeface="Calibri" panose="020F0502020204030204" pitchFamily="34" charset="0"/>
                        </a:rPr>
                        <a:t>Business Continuity Internal Audit &amp; Management Review</a:t>
                      </a:r>
                    </a:p>
                  </a:txBody>
                  <a:tcPr>
                    <a:solidFill>
                      <a:srgbClr val="046A38"/>
                    </a:solidFill>
                  </a:tcPr>
                </a:tc>
                <a:extLst>
                  <a:ext uri="{0D108BD9-81ED-4DB2-BD59-A6C34878D82A}">
                    <a16:rowId xmlns:a16="http://schemas.microsoft.com/office/drawing/2014/main" val="4095107668"/>
                  </a:ext>
                </a:extLst>
              </a:tr>
              <a:tr h="148393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buClrTx/>
                        <a:buFont typeface="Wingdings" panose="05000000000000000000" pitchFamily="2" charset="2"/>
                        <a:buChar char="Ø"/>
                      </a:pPr>
                      <a:r>
                        <a:rPr lang="en-US" sz="900" b="0" i="0" u="none" strike="noStrike"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Ensure the objectives of the project are achieved in a timely and systematic manner.</a:t>
                      </a: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l" defTabSz="1219170" rtl="0" eaLnBrk="1" fontAlgn="auto" latinLnBrk="0" hangingPunct="1">
                        <a:lnSpc>
                          <a:spcPct val="100000"/>
                        </a:lnSpc>
                        <a:spcBef>
                          <a:spcPts val="200"/>
                        </a:spcBef>
                        <a:spcAft>
                          <a:spcPts val="600"/>
                        </a:spcAft>
                        <a:buClrTx/>
                        <a:buSzPct val="90000"/>
                        <a:buFont typeface="Wingdings" panose="05000000000000000000" pitchFamily="2" charset="2"/>
                        <a:buChar char="Ø"/>
                        <a:tabLst/>
                        <a:defRPr/>
                      </a:pPr>
                      <a:r>
                        <a:rPr lang="en-US" sz="900" b="0" i="0" u="none" strike="noStrike"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Assess Salam’s current business continuity capabilities and identify the gaps as per ISO22301:2019 and best practices.</a:t>
                      </a: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buClrTx/>
                        <a:buFont typeface="Wingdings" panose="05000000000000000000" pitchFamily="2" charset="2"/>
                        <a:buChar char="Ø"/>
                      </a:pPr>
                      <a:r>
                        <a:rPr lang="en-US" sz="900" b="0" i="0" u="none" strike="noStrike"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Develop a business continuity governance framework, leveraging existing capabilities and in alignment to the best practices and standards requirements.</a:t>
                      </a:r>
                      <a:endParaRPr lang="en-GB" sz="900" b="0" i="0" u="none" strike="noStrike" cap="none" spc="0" baseline="0" dirty="0">
                        <a:solidFill>
                          <a:schemeClr val="tx2"/>
                        </a:solidFill>
                        <a:uFillTx/>
                        <a:latin typeface="+mn-lt"/>
                        <a:ea typeface="Open Sans" panose="020B0606030504020204" pitchFamily="34" charset="0"/>
                        <a:cs typeface="Open Sans" panose="020B0606030504020204" pitchFamily="34" charset="0"/>
                        <a:sym typeface="Open Sans Light"/>
                      </a:endParaRP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l" defTabSz="1219170" rtl="0" eaLnBrk="1" fontAlgn="auto" latinLnBrk="0" hangingPunct="1">
                        <a:lnSpc>
                          <a:spcPct val="100000"/>
                        </a:lnSpc>
                        <a:spcBef>
                          <a:spcPts val="200"/>
                        </a:spcBef>
                        <a:spcAft>
                          <a:spcPts val="600"/>
                        </a:spcAft>
                        <a:buClrTx/>
                        <a:buSzPct val="90000"/>
                        <a:buFont typeface="Wingdings" panose="05000000000000000000" pitchFamily="2" charset="2"/>
                        <a:buChar char="Ø"/>
                        <a:tabLst/>
                        <a:defRPr/>
                      </a:pPr>
                      <a:r>
                        <a:rPr lang="en-US" sz="900" b="0" i="0" u="none" strike="noStrike"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Identify the impacts of business disruptions to the processes of Salam’s departments by conducting a Business Impact Analysis. </a:t>
                      </a:r>
                    </a:p>
                  </a:txBody>
                  <a:tcPr/>
                </a:tc>
                <a:tc>
                  <a:txBody>
                    <a:bodyPr/>
                    <a:lstStyle/>
                    <a:p>
                      <a:pPr marL="171450" marR="0" lvl="0" indent="-171450" algn="l" defTabSz="1219170" rtl="0" eaLnBrk="1" fontAlgn="auto" latinLnBrk="0" hangingPunct="1">
                        <a:lnSpc>
                          <a:spcPct val="100000"/>
                        </a:lnSpc>
                        <a:spcBef>
                          <a:spcPts val="200"/>
                        </a:spcBef>
                        <a:spcAft>
                          <a:spcPts val="600"/>
                        </a:spcAft>
                        <a:buClrTx/>
                        <a:buSzPct val="90000"/>
                        <a:buFont typeface="Wingdings" panose="05000000000000000000" pitchFamily="2" charset="2"/>
                        <a:buChar char="Ø"/>
                        <a:tabLst/>
                        <a:defRPr/>
                      </a:pPr>
                      <a:r>
                        <a:rPr lang="en-US" sz="900" b="0" i="0" u="none" strike="noStrike"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Identify the threats and the impacts on Salam’s operations by conducting a Threat Risk Assessment.</a:t>
                      </a: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l" defTabSz="1219170" rtl="0" eaLnBrk="1" fontAlgn="auto" latinLnBrk="0" hangingPunct="1">
                        <a:lnSpc>
                          <a:spcPct val="100000"/>
                        </a:lnSpc>
                        <a:spcBef>
                          <a:spcPts val="200"/>
                        </a:spcBef>
                        <a:spcAft>
                          <a:spcPts val="600"/>
                        </a:spcAft>
                        <a:buClrTx/>
                        <a:buSzPct val="90000"/>
                        <a:buFont typeface="Wingdings" panose="05000000000000000000" pitchFamily="2" charset="2"/>
                        <a:buChar char="Ø"/>
                        <a:tabLst/>
                        <a:defRPr/>
                      </a:pPr>
                      <a:r>
                        <a:rPr lang="en-US"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Identify and evaluate the most cost-effective and appropriate strategies to implement in case of a disruption.</a:t>
                      </a:r>
                    </a:p>
                    <a:p>
                      <a:pPr marL="171450" marR="0" lvl="0" indent="-171450" algn="l" defTabSz="1219170" rtl="0" eaLnBrk="1" fontAlgn="auto" latinLnBrk="0" hangingPunct="1">
                        <a:lnSpc>
                          <a:spcPct val="100000"/>
                        </a:lnSpc>
                        <a:spcBef>
                          <a:spcPts val="200"/>
                        </a:spcBef>
                        <a:spcAft>
                          <a:spcPts val="600"/>
                        </a:spcAft>
                        <a:buClrTx/>
                        <a:buSzPct val="90000"/>
                        <a:buFont typeface="Wingdings" panose="05000000000000000000" pitchFamily="2" charset="2"/>
                        <a:buChar char="Ø"/>
                        <a:tabLst/>
                        <a:defRPr/>
                      </a:pPr>
                      <a:r>
                        <a:rPr lang="en-GB"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Develop recovery plans to ensure continuity of services.</a:t>
                      </a:r>
                    </a:p>
                    <a:p>
                      <a:pPr marL="171450" marR="0" lvl="0" indent="-171450" algn="l" defTabSz="1219170" rtl="0" eaLnBrk="1" fontAlgn="auto" latinLnBrk="0" hangingPunct="1">
                        <a:lnSpc>
                          <a:spcPct val="100000"/>
                        </a:lnSpc>
                        <a:spcBef>
                          <a:spcPts val="200"/>
                        </a:spcBef>
                        <a:spcAft>
                          <a:spcPts val="600"/>
                        </a:spcAft>
                        <a:buClrTx/>
                        <a:buSzPct val="90000"/>
                        <a:buFont typeface="Wingdings" panose="05000000000000000000" pitchFamily="2" charset="2"/>
                        <a:buChar char="Ø"/>
                        <a:tabLst/>
                        <a:defRPr/>
                      </a:pPr>
                      <a:r>
                        <a:rPr lang="en-GB"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Develop the IT disaster recovery plan.</a:t>
                      </a: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l" defTabSz="1219170" rtl="0" eaLnBrk="1" fontAlgn="auto" latinLnBrk="0" hangingPunct="1">
                        <a:lnSpc>
                          <a:spcPct val="100000"/>
                        </a:lnSpc>
                        <a:spcBef>
                          <a:spcPts val="200"/>
                        </a:spcBef>
                        <a:spcAft>
                          <a:spcPts val="600"/>
                        </a:spcAft>
                        <a:buClrTx/>
                        <a:buSzPct val="90000"/>
                        <a:buFont typeface="Wingdings" panose="05000000000000000000" pitchFamily="2" charset="2"/>
                        <a:buChar char="Ø"/>
                        <a:tabLst/>
                        <a:defRPr/>
                      </a:pPr>
                      <a:r>
                        <a:rPr lang="en-US"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Conduct training and awareness sessions to educate Salam’s stakeholders on their BCM and CM roles and responsibilities.</a:t>
                      </a: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l" defTabSz="1219170" rtl="0" eaLnBrk="1" fontAlgn="auto" latinLnBrk="0" hangingPunct="1">
                        <a:lnSpc>
                          <a:spcPct val="100000"/>
                        </a:lnSpc>
                        <a:spcBef>
                          <a:spcPts val="200"/>
                        </a:spcBef>
                        <a:spcAft>
                          <a:spcPts val="600"/>
                        </a:spcAft>
                        <a:buClrTx/>
                        <a:buSzPct val="90000"/>
                        <a:buFont typeface="Wingdings" panose="05000000000000000000" pitchFamily="2" charset="2"/>
                        <a:buChar char="Ø"/>
                        <a:tabLst/>
                        <a:defRPr/>
                      </a:pPr>
                      <a:r>
                        <a:rPr lang="en-US"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Conduct exercise for BC Champions to familiarize themselves with their roles and responsibilities in the BCP.</a:t>
                      </a:r>
                    </a:p>
                  </a:txBody>
                  <a:tcPr/>
                </a:tc>
                <a:tc>
                  <a:txBody>
                    <a:bodyPr/>
                    <a:lstStyle/>
                    <a:p>
                      <a:pPr marL="171450" marR="0" lvl="0" indent="-171450" algn="l" defTabSz="1219170" rtl="0" eaLnBrk="1" fontAlgn="auto" latinLnBrk="0" hangingPunct="1">
                        <a:lnSpc>
                          <a:spcPct val="100000"/>
                        </a:lnSpc>
                        <a:spcBef>
                          <a:spcPts val="200"/>
                        </a:spcBef>
                        <a:spcAft>
                          <a:spcPts val="600"/>
                        </a:spcAft>
                        <a:buClrTx/>
                        <a:buSzPct val="90000"/>
                        <a:buFont typeface="Wingdings" panose="05000000000000000000" pitchFamily="2" charset="2"/>
                        <a:buChar char="Ø"/>
                        <a:tabLst/>
                        <a:defRPr/>
                      </a:pPr>
                      <a:r>
                        <a:rPr lang="en-US"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Support Salam during internal audit.</a:t>
                      </a:r>
                    </a:p>
                    <a:p>
                      <a:pPr marL="171450" marR="0" lvl="0" indent="-171450" algn="l" defTabSz="1219170" rtl="0" eaLnBrk="1" fontAlgn="auto" latinLnBrk="0" hangingPunct="1">
                        <a:lnSpc>
                          <a:spcPct val="100000"/>
                        </a:lnSpc>
                        <a:spcBef>
                          <a:spcPts val="200"/>
                        </a:spcBef>
                        <a:spcAft>
                          <a:spcPts val="600"/>
                        </a:spcAft>
                        <a:buClrTx/>
                        <a:buSzPct val="90000"/>
                        <a:buFont typeface="Wingdings" panose="05000000000000000000" pitchFamily="2" charset="2"/>
                        <a:buChar char="Ø"/>
                        <a:tabLst/>
                        <a:defRPr/>
                      </a:pPr>
                      <a:r>
                        <a:rPr lang="en-US"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Support Salam in identifying non-conformities and corrective actions.</a:t>
                      </a:r>
                    </a:p>
                  </a:txBody>
                  <a:tcPr/>
                </a:tc>
                <a:extLst>
                  <a:ext uri="{0D108BD9-81ED-4DB2-BD59-A6C34878D82A}">
                    <a16:rowId xmlns:a16="http://schemas.microsoft.com/office/drawing/2014/main" val="2839161514"/>
                  </a:ext>
                </a:extLst>
              </a:tr>
              <a:tr h="207749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Project Charter</a:t>
                      </a:r>
                    </a:p>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Project Plan</a:t>
                      </a:r>
                    </a:p>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Presentation and approval from BCM committee</a:t>
                      </a: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Findings, gap analysis and recommendations report </a:t>
                      </a:r>
                    </a:p>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Roadmap for implementation of agreed initiatives and actions</a:t>
                      </a: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Business Continuity Framework</a:t>
                      </a:r>
                    </a:p>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Policy, procedures, and operations guidelines</a:t>
                      </a: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227013"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BIA Templates</a:t>
                      </a:r>
                    </a:p>
                    <a:p>
                      <a:pPr marL="227013"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BIA report for each function</a:t>
                      </a:r>
                    </a:p>
                    <a:p>
                      <a:pPr marL="227013"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Consolidated BIA report</a:t>
                      </a:r>
                    </a:p>
                    <a:p>
                      <a:pPr marL="227013"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Management Presentation</a:t>
                      </a:r>
                    </a:p>
                  </a:txBody>
                  <a:tcPr/>
                </a:tc>
                <a:tc>
                  <a:txBody>
                    <a:bodyPr/>
                    <a:lstStyle/>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Business continuity risk register.</a:t>
                      </a:r>
                    </a:p>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Mitigation plans (in coordination with ERM)</a:t>
                      </a: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BCM recovery strategy and solutions report</a:t>
                      </a:r>
                    </a:p>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Plan for effective implementation and monitoring</a:t>
                      </a:r>
                    </a:p>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Business Continuity Recovery Plans (BCPs) </a:t>
                      </a:r>
                    </a:p>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Incident Management Plan, Policy, and Procedures</a:t>
                      </a:r>
                    </a:p>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IT Disaster Recovery Plan</a:t>
                      </a:r>
                    </a:p>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Crisis Management and Communication Plan, sample transcripts, related policy and procedures</a:t>
                      </a: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BCM Awareness and Training and Awareness materials</a:t>
                      </a:r>
                    </a:p>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In-person training sessions</a:t>
                      </a:r>
                    </a:p>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Material for E-Learning module (content only)</a:t>
                      </a: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Test plans</a:t>
                      </a:r>
                    </a:p>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Two (02) BCP Tabletop exercises</a:t>
                      </a:r>
                    </a:p>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One (01) IMP, CMP and CCP Tabletop exercise</a:t>
                      </a:r>
                    </a:p>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One (01) Crisis Simulation (optional)</a:t>
                      </a:r>
                    </a:p>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Testing findings and recommendations reports</a:t>
                      </a:r>
                    </a:p>
                  </a:txBody>
                  <a:tcPr/>
                </a:tc>
                <a:tc>
                  <a:txBody>
                    <a:bodyPr/>
                    <a:lstStyle/>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Support / conduct Internal Audit of the overall BCMS Program (outsourced or co-sourced, to be agreed).</a:t>
                      </a:r>
                    </a:p>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Internal audit report</a:t>
                      </a:r>
                    </a:p>
                    <a:p>
                      <a:pPr marL="171450" marR="0" lvl="0" indent="-171450" algn="l" defTabSz="1219170" rtl="0" eaLnBrk="1" fontAlgn="auto" latinLnBrk="0" hangingPunct="1">
                        <a:lnSpc>
                          <a:spcPct val="100000"/>
                        </a:lnSpc>
                        <a:spcBef>
                          <a:spcPts val="200"/>
                        </a:spcBef>
                        <a:spcAft>
                          <a:spcPts val="0"/>
                        </a:spcAft>
                        <a:buClrTx/>
                        <a:buSzPct val="90000"/>
                        <a:buFont typeface="Wingdings" panose="05000000000000000000" pitchFamily="2" charset="2"/>
                        <a:buChar char="ü"/>
                        <a:tabLst/>
                        <a:defRPr/>
                      </a:pPr>
                      <a:r>
                        <a:rPr lang="en-US" sz="900" b="0" i="0" u="none" strike="noStrike" kern="1200" cap="none" spc="0" baseline="0" dirty="0">
                          <a:solidFill>
                            <a:schemeClr val="tx2"/>
                          </a:solidFill>
                          <a:uFillTx/>
                          <a:latin typeface="+mn-lt"/>
                          <a:ea typeface="Open Sans" panose="020B0606030504020204" pitchFamily="34" charset="0"/>
                          <a:cs typeface="Open Sans" panose="020B0606030504020204" pitchFamily="34" charset="0"/>
                          <a:sym typeface="Open Sans Light"/>
                        </a:rPr>
                        <a:t>Presentation to client management</a:t>
                      </a:r>
                    </a:p>
                  </a:txBody>
                  <a:tcPr/>
                </a:tc>
                <a:extLst>
                  <a:ext uri="{0D108BD9-81ED-4DB2-BD59-A6C34878D82A}">
                    <a16:rowId xmlns:a16="http://schemas.microsoft.com/office/drawing/2014/main" val="3525089290"/>
                  </a:ext>
                </a:extLst>
              </a:tr>
            </a:tbl>
          </a:graphicData>
        </a:graphic>
      </p:graphicFrame>
    </p:spTree>
    <p:extLst>
      <p:ext uri="{BB962C8B-B14F-4D97-AF65-F5344CB8AC3E}">
        <p14:creationId xmlns:p14="http://schemas.microsoft.com/office/powerpoint/2010/main" val="4195177294"/>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20">
            <a:extLst>
              <a:ext uri="{FF2B5EF4-FFF2-40B4-BE49-F238E27FC236}">
                <a16:creationId xmlns:a16="http://schemas.microsoft.com/office/drawing/2014/main" id="{21582DA6-E7A5-ECAA-971C-B029B9F65B7A}"/>
              </a:ext>
            </a:extLst>
          </p:cNvPr>
          <p:cNvSpPr txBox="1">
            <a:spLocks/>
          </p:cNvSpPr>
          <p:nvPr/>
        </p:nvSpPr>
        <p:spPr>
          <a:xfrm>
            <a:off x="411480"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lvl="0" indent="0">
              <a:spcBef>
                <a:spcPts val="0"/>
              </a:spcBef>
              <a:spcAft>
                <a:spcPts val="1333"/>
              </a:spcAft>
              <a:buNone/>
              <a:defRPr/>
            </a:pPr>
            <a:r>
              <a:rPr lang="en-US" sz="1400" b="1" dirty="0">
                <a:solidFill>
                  <a:srgbClr val="575757"/>
                </a:solidFill>
                <a:latin typeface="+mn-lt"/>
                <a:ea typeface="Open Sans Light" panose="020B0306030504020204" pitchFamily="34" charset="0"/>
                <a:cs typeface="Open Sans Light" panose="020B0306030504020204" pitchFamily="34" charset="0"/>
              </a:rPr>
              <a:t>Phase 1: Project Initiation &amp; Planning</a:t>
            </a:r>
          </a:p>
        </p:txBody>
      </p:sp>
      <p:sp>
        <p:nvSpPr>
          <p:cNvPr id="2" name="Content Placeholder 10">
            <a:extLst>
              <a:ext uri="{FF2B5EF4-FFF2-40B4-BE49-F238E27FC236}">
                <a16:creationId xmlns:a16="http://schemas.microsoft.com/office/drawing/2014/main" id="{B92A2EE2-BFCC-59A6-9E51-FEF7C615177D}"/>
              </a:ext>
            </a:extLst>
          </p:cNvPr>
          <p:cNvSpPr txBox="1">
            <a:spLocks/>
          </p:cNvSpPr>
          <p:nvPr/>
        </p:nvSpPr>
        <p:spPr>
          <a:xfrm>
            <a:off x="397229" y="1254045"/>
            <a:ext cx="11325845" cy="705066"/>
          </a:xfrm>
          <a:prstGeom prst="rect">
            <a:avLst/>
          </a:prstGeom>
          <a:noFill/>
        </p:spPr>
        <p:txBody>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54088" rtl="0" eaLnBrk="0" fontAlgn="base" latinLnBrk="0" hangingPunct="0">
              <a:lnSpc>
                <a:spcPct val="100000"/>
              </a:lnSpc>
              <a:spcBef>
                <a:spcPct val="0"/>
              </a:spcBef>
              <a:spcAft>
                <a:spcPct val="0"/>
              </a:spcAft>
              <a:buClrTx/>
              <a:buSzTx/>
              <a:buFontTx/>
              <a:buNone/>
              <a:tabLst/>
              <a:defRPr/>
            </a:pPr>
            <a:r>
              <a:rPr kumimoji="0" lang="en-US" b="1" i="1" u="none" strike="noStrike" kern="0" cap="none" spc="0" normalizeH="0" baseline="0" noProof="0" dirty="0">
                <a:ln>
                  <a:noFill/>
                </a:ln>
                <a:solidFill>
                  <a:schemeClr val="accent1">
                    <a:lumMod val="75000"/>
                  </a:schemeClr>
                </a:solidFill>
                <a:effectLst/>
                <a:uLnTx/>
                <a:uFillTx/>
                <a:ea typeface="Open Sans Light" panose="020B0306030504020204" pitchFamily="34" charset="0"/>
                <a:cs typeface="Open Sans Light" panose="020B0306030504020204" pitchFamily="34" charset="0"/>
              </a:rPr>
              <a:t>“Successful results and smooth operations highly depend on quality planning, structuring, and implementation of supporting infrastructures. A forward-thinking consultant is a critical element in the success of this project.”</a:t>
            </a:r>
          </a:p>
        </p:txBody>
      </p:sp>
      <p:sp>
        <p:nvSpPr>
          <p:cNvPr id="3" name="TextBox 2">
            <a:extLst>
              <a:ext uri="{FF2B5EF4-FFF2-40B4-BE49-F238E27FC236}">
                <a16:creationId xmlns:a16="http://schemas.microsoft.com/office/drawing/2014/main" id="{AB5D6BF8-7300-E63E-239D-894031572500}"/>
              </a:ext>
            </a:extLst>
          </p:cNvPr>
          <p:cNvSpPr txBox="1"/>
          <p:nvPr/>
        </p:nvSpPr>
        <p:spPr>
          <a:xfrm>
            <a:off x="397228" y="1895249"/>
            <a:ext cx="5429414" cy="3367397"/>
          </a:xfrm>
          <a:prstGeom prst="rect">
            <a:avLst/>
          </a:prstGeom>
          <a:noFill/>
        </p:spPr>
        <p:txBody>
          <a:bodyPr wrap="square" rtlCol="0">
            <a:spAutoFit/>
          </a:bodyPr>
          <a:lstStyle/>
          <a:p>
            <a:pPr>
              <a:lnSpc>
                <a:spcPct val="68000"/>
              </a:lnSpc>
              <a:spcBef>
                <a:spcPct val="0"/>
              </a:spcBef>
            </a:pPr>
            <a:r>
              <a:rPr lang="en-US" sz="1300" b="1" dirty="0">
                <a:solidFill>
                  <a:schemeClr val="tx2">
                    <a:lumMod val="50000"/>
                  </a:schemeClr>
                </a:solidFill>
                <a:latin typeface="+mn-lt"/>
                <a:ea typeface="Open Sans" panose="020B0606030504020204" pitchFamily="34" charset="0"/>
                <a:cs typeface="Open Sans" panose="020B0606030504020204" pitchFamily="34" charset="0"/>
              </a:rPr>
              <a:t>Approach</a:t>
            </a:r>
          </a:p>
          <a:p>
            <a:pPr>
              <a:lnSpc>
                <a:spcPct val="68000"/>
              </a:lnSpc>
              <a:spcBef>
                <a:spcPct val="0"/>
              </a:spcBef>
            </a:pPr>
            <a:endParaRPr lang="en-US" sz="1100" b="1" dirty="0">
              <a:latin typeface="+mn-lt"/>
              <a:ea typeface="Open Sans" panose="020B0606030504020204" pitchFamily="34" charset="0"/>
              <a:cs typeface="Open Sans" panose="020B0606030504020204" pitchFamily="34" charset="0"/>
            </a:endParaRPr>
          </a:p>
          <a:p>
            <a:pPr marL="0" marR="0" lvl="0" indent="0" algn="just" defTabSz="914400" rtl="0" eaLnBrk="1" fontAlgn="base" latinLnBrk="0" hangingPunct="1">
              <a:lnSpc>
                <a:spcPct val="100000"/>
              </a:lnSpc>
              <a:spcBef>
                <a:spcPts val="591"/>
              </a:spcBef>
              <a:spcAft>
                <a:spcPts val="3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panose="020F0502020204030204" pitchFamily="34" charset="0"/>
              </a:rPr>
              <a:t>Our Project Methodology encompasses the following activities divided into five steps:</a:t>
            </a:r>
          </a:p>
          <a:p>
            <a:pPr marL="0" marR="0" lvl="0" indent="0" algn="just" defTabSz="914400" rtl="0" eaLnBrk="1" fontAlgn="base" latinLnBrk="0" hangingPunct="1">
              <a:lnSpc>
                <a:spcPct val="100000"/>
              </a:lnSpc>
              <a:spcBef>
                <a:spcPts val="591"/>
              </a:spcBef>
              <a:spcAft>
                <a:spcPts val="300"/>
              </a:spcAft>
              <a:buClrTx/>
              <a:buSzTx/>
              <a:buFontTx/>
              <a:buNone/>
              <a:tabLst/>
              <a:defRPr/>
            </a:pPr>
            <a:r>
              <a:rPr lang="en-US" sz="1100" b="1" dirty="0">
                <a:solidFill>
                  <a:srgbClr val="9FCA52"/>
                </a:solidFill>
                <a:latin typeface="+mn-lt"/>
                <a:ea typeface="Open Sans"/>
                <a:cs typeface="Open Sans"/>
              </a:rPr>
              <a:t>Step I – Project Initiation:</a:t>
            </a:r>
            <a:r>
              <a:rPr kumimoji="0" lang="en-US" sz="11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panose="020F0502020204030204" pitchFamily="34" charset="0"/>
              </a:rPr>
              <a:t> Develop and sign-off an engagement letter to establish an agreement on the scope of work, approach and methodologies to be used. Furthermore, conduct a kick-off meeting with key stakeholders of the project and establish a project steering committee.</a:t>
            </a:r>
          </a:p>
          <a:p>
            <a:pPr marL="0" marR="0" lvl="0" indent="0" algn="just" defTabSz="914400" rtl="0" eaLnBrk="1" fontAlgn="base" latinLnBrk="0" hangingPunct="1">
              <a:lnSpc>
                <a:spcPct val="100000"/>
              </a:lnSpc>
              <a:spcBef>
                <a:spcPts val="591"/>
              </a:spcBef>
              <a:spcAft>
                <a:spcPts val="300"/>
              </a:spcAft>
              <a:buClrTx/>
              <a:buSzTx/>
              <a:buFontTx/>
              <a:buNone/>
              <a:tabLst/>
              <a:defRPr/>
            </a:pPr>
            <a:r>
              <a:rPr lang="en-US" sz="1100" b="1" dirty="0">
                <a:solidFill>
                  <a:srgbClr val="9FCA52"/>
                </a:solidFill>
                <a:latin typeface="+mn-lt"/>
                <a:ea typeface="Open Sans"/>
                <a:cs typeface="Open Sans"/>
              </a:rPr>
              <a:t>Step II – Project Planning:</a:t>
            </a:r>
            <a:r>
              <a:rPr kumimoji="0" lang="en-US" sz="11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panose="020F0502020204030204" pitchFamily="34" charset="0"/>
              </a:rPr>
              <a:t> Develop a detailed project plan with timelines, resource allocation, deliverables, milestones and dependencies</a:t>
            </a:r>
          </a:p>
          <a:p>
            <a:pPr marL="0" marR="0" lvl="0" indent="0" algn="just" defTabSz="914400" rtl="0" eaLnBrk="1" fontAlgn="base" latinLnBrk="0" hangingPunct="1">
              <a:lnSpc>
                <a:spcPct val="100000"/>
              </a:lnSpc>
              <a:spcBef>
                <a:spcPts val="591"/>
              </a:spcBef>
              <a:spcAft>
                <a:spcPts val="300"/>
              </a:spcAft>
              <a:buClrTx/>
              <a:buSzTx/>
              <a:buFontTx/>
              <a:buNone/>
              <a:tabLst/>
              <a:defRPr/>
            </a:pPr>
            <a:r>
              <a:rPr lang="en-US" sz="1100" b="1" dirty="0">
                <a:solidFill>
                  <a:srgbClr val="9FCA52"/>
                </a:solidFill>
                <a:latin typeface="+mn-lt"/>
                <a:ea typeface="Open Sans"/>
                <a:cs typeface="Open Sans"/>
              </a:rPr>
              <a:t>Step III – Execution:</a:t>
            </a:r>
            <a:r>
              <a:rPr kumimoji="0" lang="en-US" sz="11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panose="020F0502020204030204" pitchFamily="34" charset="0"/>
              </a:rPr>
              <a:t> Project activities will be performed according to project plan</a:t>
            </a:r>
          </a:p>
          <a:p>
            <a:pPr marL="0" marR="0" lvl="0" indent="0" algn="just" defTabSz="914400" rtl="0" eaLnBrk="1" fontAlgn="base" latinLnBrk="0" hangingPunct="1">
              <a:lnSpc>
                <a:spcPct val="100000"/>
              </a:lnSpc>
              <a:spcBef>
                <a:spcPts val="591"/>
              </a:spcBef>
              <a:spcAft>
                <a:spcPts val="300"/>
              </a:spcAft>
              <a:buClrTx/>
              <a:buSzTx/>
              <a:buFontTx/>
              <a:buNone/>
              <a:tabLst/>
              <a:defRPr/>
            </a:pPr>
            <a:r>
              <a:rPr lang="en-US" sz="1100" b="1" dirty="0">
                <a:solidFill>
                  <a:srgbClr val="9FCA52"/>
                </a:solidFill>
                <a:latin typeface="+mn-lt"/>
                <a:ea typeface="Open Sans"/>
                <a:cs typeface="Open Sans"/>
              </a:rPr>
              <a:t>Step IV – Monitoring and Quality Assurance:</a:t>
            </a:r>
            <a:r>
              <a:rPr kumimoji="0" lang="en-US" sz="11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panose="020F0502020204030204" pitchFamily="34" charset="0"/>
              </a:rPr>
              <a:t> Reporting will be agreed as part of the planning phase whereby a status meeting will occur regularly with the project steering committee to outline the performance of the agreed program and achievement of key deliverables.</a:t>
            </a:r>
          </a:p>
          <a:p>
            <a:pPr marL="0" marR="0" lvl="0" indent="0" algn="just" defTabSz="914400" rtl="0" eaLnBrk="1" fontAlgn="base" latinLnBrk="0" hangingPunct="1">
              <a:lnSpc>
                <a:spcPct val="100000"/>
              </a:lnSpc>
              <a:spcBef>
                <a:spcPts val="591"/>
              </a:spcBef>
              <a:spcAft>
                <a:spcPts val="300"/>
              </a:spcAft>
              <a:buClrTx/>
              <a:buSzTx/>
              <a:buFontTx/>
              <a:buNone/>
              <a:tabLst/>
              <a:defRPr/>
            </a:pPr>
            <a:r>
              <a:rPr lang="en-US" sz="1100" b="1" dirty="0">
                <a:solidFill>
                  <a:srgbClr val="9FCA52"/>
                </a:solidFill>
                <a:latin typeface="+mn-lt"/>
                <a:ea typeface="Open Sans"/>
                <a:cs typeface="Open Sans"/>
              </a:rPr>
              <a:t>Step V – Project Closing:</a:t>
            </a:r>
            <a:r>
              <a:rPr kumimoji="0" lang="en-US" sz="1100" b="0" i="0" u="none" strike="noStrike" kern="1200" cap="none" spc="0" normalizeH="0" baseline="0" noProof="0" dirty="0">
                <a:ln>
                  <a:noFill/>
                </a:ln>
                <a:solidFill>
                  <a:prstClr val="black"/>
                </a:solidFill>
                <a:effectLst/>
                <a:uLnTx/>
                <a:uFillTx/>
                <a:latin typeface="+mn-lt"/>
                <a:ea typeface="Verdana" panose="020B0604030504040204" pitchFamily="34" charset="0"/>
                <a:cs typeface="Calibri" panose="020F0502020204030204" pitchFamily="34" charset="0"/>
              </a:rPr>
              <a:t> A closing meeting will be conducted with the project steering committee followed by a final sign-off and formal hand-over of all deliverables</a:t>
            </a:r>
          </a:p>
        </p:txBody>
      </p:sp>
      <p:sp>
        <p:nvSpPr>
          <p:cNvPr id="4" name="Title 1">
            <a:extLst>
              <a:ext uri="{FF2B5EF4-FFF2-40B4-BE49-F238E27FC236}">
                <a16:creationId xmlns:a16="http://schemas.microsoft.com/office/drawing/2014/main" id="{8F080B74-7478-93C3-4736-E8DF4718042F}"/>
              </a:ext>
            </a:extLst>
          </p:cNvPr>
          <p:cNvSpPr txBox="1">
            <a:spLocks/>
          </p:cNvSpPr>
          <p:nvPr/>
        </p:nvSpPr>
        <p:spPr>
          <a:xfrm>
            <a:off x="411480" y="402587"/>
            <a:ext cx="11252200" cy="334102"/>
          </a:xfrm>
          <a:prstGeom prst="rect">
            <a:avLst/>
          </a:prstGeom>
        </p:spPr>
        <p:txBody>
          <a:bodyPr vert="horz" wrap="square" lIns="0" tIns="0" rIns="0" bIns="0" rtlCol="0" anchor="t" anchorCtr="0">
            <a:noAutofit/>
          </a:bodyPr>
          <a:lstStyle>
            <a:lvl1pPr>
              <a:defRPr sz="2400" b="0" i="0">
                <a:solidFill>
                  <a:srgbClr val="86BC25"/>
                </a:solidFill>
                <a:latin typeface="Calibri" panose="020F0502020204030204" pitchFamily="34" charset="0"/>
                <a:ea typeface="Verdana" panose="020B0604030504040204" pitchFamily="34" charset="0"/>
                <a:cs typeface="Calibri" panose="020F0502020204030204" pitchFamily="34" charset="0"/>
              </a:defRPr>
            </a:lvl1pPr>
          </a:lstStyle>
          <a:p>
            <a:pPr hangingPunct="1">
              <a:spcBef>
                <a:spcPct val="0"/>
              </a:spcBef>
              <a:defRPr/>
            </a:pPr>
            <a:r>
              <a:rPr lang="en-US" sz="2000" dirty="0">
                <a:solidFill>
                  <a:schemeClr val="tx2">
                    <a:lumMod val="50000"/>
                  </a:schemeClr>
                </a:solidFill>
                <a:latin typeface="+mn-lt"/>
                <a:ea typeface="Open Sans Semibold" panose="020B0706030804020204" pitchFamily="34" charset="0"/>
                <a:cs typeface="Open Sans Semibold" panose="020B0706030804020204" pitchFamily="34" charset="0"/>
              </a:rPr>
              <a:t>Approach and Methodology</a:t>
            </a:r>
          </a:p>
        </p:txBody>
      </p:sp>
      <p:grpSp>
        <p:nvGrpSpPr>
          <p:cNvPr id="7" name="Group 6">
            <a:extLst>
              <a:ext uri="{FF2B5EF4-FFF2-40B4-BE49-F238E27FC236}">
                <a16:creationId xmlns:a16="http://schemas.microsoft.com/office/drawing/2014/main" id="{80700139-51CB-7E78-B58F-24B2930A5DB1}"/>
              </a:ext>
            </a:extLst>
          </p:cNvPr>
          <p:cNvGrpSpPr/>
          <p:nvPr/>
        </p:nvGrpSpPr>
        <p:grpSpPr>
          <a:xfrm>
            <a:off x="6913182" y="1922782"/>
            <a:ext cx="4101640" cy="3819200"/>
            <a:chOff x="6949439" y="1998885"/>
            <a:chExt cx="4389345" cy="3345788"/>
          </a:xfrm>
        </p:grpSpPr>
        <p:sp>
          <p:nvSpPr>
            <p:cNvPr id="10" name="Pentagon 145">
              <a:extLst>
                <a:ext uri="{FF2B5EF4-FFF2-40B4-BE49-F238E27FC236}">
                  <a16:creationId xmlns:a16="http://schemas.microsoft.com/office/drawing/2014/main" id="{42332CA2-3BE1-EEA3-49D0-87196A19DD0F}"/>
                </a:ext>
              </a:extLst>
            </p:cNvPr>
            <p:cNvSpPr/>
            <p:nvPr/>
          </p:nvSpPr>
          <p:spPr>
            <a:xfrm>
              <a:off x="6949439" y="2012165"/>
              <a:ext cx="3030305" cy="246888"/>
            </a:xfrm>
            <a:prstGeom prst="homePlate">
              <a:avLst/>
            </a:prstGeom>
            <a:solidFill>
              <a:srgbClr val="0055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Engagement Letter / Contract</a:t>
              </a:r>
            </a:p>
          </p:txBody>
        </p:sp>
        <p:grpSp>
          <p:nvGrpSpPr>
            <p:cNvPr id="11" name="Group 10">
              <a:extLst>
                <a:ext uri="{FF2B5EF4-FFF2-40B4-BE49-F238E27FC236}">
                  <a16:creationId xmlns:a16="http://schemas.microsoft.com/office/drawing/2014/main" id="{82020137-9BB2-5A50-B01C-9C52DD6DD2EF}"/>
                </a:ext>
              </a:extLst>
            </p:cNvPr>
            <p:cNvGrpSpPr/>
            <p:nvPr/>
          </p:nvGrpSpPr>
          <p:grpSpPr>
            <a:xfrm>
              <a:off x="6949439" y="3434767"/>
              <a:ext cx="3030305" cy="503252"/>
              <a:chOff x="381000" y="4492569"/>
              <a:chExt cx="3657600" cy="503252"/>
            </a:xfrm>
          </p:grpSpPr>
          <p:sp>
            <p:nvSpPr>
              <p:cNvPr id="29" name="Pentagon 164">
                <a:extLst>
                  <a:ext uri="{FF2B5EF4-FFF2-40B4-BE49-F238E27FC236}">
                    <a16:creationId xmlns:a16="http://schemas.microsoft.com/office/drawing/2014/main" id="{6BDE028D-B30F-1241-E20C-86692B9F35CF}"/>
                  </a:ext>
                </a:extLst>
              </p:cNvPr>
              <p:cNvSpPr/>
              <p:nvPr/>
            </p:nvSpPr>
            <p:spPr>
              <a:xfrm>
                <a:off x="381000" y="4492569"/>
                <a:ext cx="3657600" cy="246888"/>
              </a:xfrm>
              <a:prstGeom prst="homePlate">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Engagement Activities</a:t>
                </a:r>
              </a:p>
            </p:txBody>
          </p:sp>
          <p:sp>
            <p:nvSpPr>
              <p:cNvPr id="30" name="Pentagon 165">
                <a:extLst>
                  <a:ext uri="{FF2B5EF4-FFF2-40B4-BE49-F238E27FC236}">
                    <a16:creationId xmlns:a16="http://schemas.microsoft.com/office/drawing/2014/main" id="{67E1BF75-3F5F-7CC3-5084-1607783B7895}"/>
                  </a:ext>
                </a:extLst>
              </p:cNvPr>
              <p:cNvSpPr/>
              <p:nvPr/>
            </p:nvSpPr>
            <p:spPr>
              <a:xfrm>
                <a:off x="381000" y="4748933"/>
                <a:ext cx="3657600" cy="246888"/>
              </a:xfrm>
              <a:prstGeom prst="homePlat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Meetings &amp; Workshops</a:t>
                </a:r>
              </a:p>
            </p:txBody>
          </p:sp>
        </p:grpSp>
        <p:grpSp>
          <p:nvGrpSpPr>
            <p:cNvPr id="12" name="Group 11">
              <a:extLst>
                <a:ext uri="{FF2B5EF4-FFF2-40B4-BE49-F238E27FC236}">
                  <a16:creationId xmlns:a16="http://schemas.microsoft.com/office/drawing/2014/main" id="{28A6668D-DC91-435E-D57B-905B5B4E0E59}"/>
                </a:ext>
              </a:extLst>
            </p:cNvPr>
            <p:cNvGrpSpPr/>
            <p:nvPr/>
          </p:nvGrpSpPr>
          <p:grpSpPr>
            <a:xfrm>
              <a:off x="6949439" y="4008455"/>
              <a:ext cx="3030305" cy="506167"/>
              <a:chOff x="381000" y="5116935"/>
              <a:chExt cx="3657600" cy="506167"/>
            </a:xfrm>
          </p:grpSpPr>
          <p:sp>
            <p:nvSpPr>
              <p:cNvPr id="27" name="Pentagon 162">
                <a:extLst>
                  <a:ext uri="{FF2B5EF4-FFF2-40B4-BE49-F238E27FC236}">
                    <a16:creationId xmlns:a16="http://schemas.microsoft.com/office/drawing/2014/main" id="{C7FA3969-FFAD-ABE0-2A11-9D814B34D402}"/>
                  </a:ext>
                </a:extLst>
              </p:cNvPr>
              <p:cNvSpPr/>
              <p:nvPr/>
            </p:nvSpPr>
            <p:spPr>
              <a:xfrm>
                <a:off x="381000" y="5116935"/>
                <a:ext cx="3657600" cy="246888"/>
              </a:xfrm>
              <a:prstGeom prst="homePlat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Status Reports</a:t>
                </a:r>
              </a:p>
            </p:txBody>
          </p:sp>
          <p:sp>
            <p:nvSpPr>
              <p:cNvPr id="28" name="Pentagon 163">
                <a:extLst>
                  <a:ext uri="{FF2B5EF4-FFF2-40B4-BE49-F238E27FC236}">
                    <a16:creationId xmlns:a16="http://schemas.microsoft.com/office/drawing/2014/main" id="{0898B805-8ED7-80A0-91C2-4B74DBFC1462}"/>
                  </a:ext>
                </a:extLst>
              </p:cNvPr>
              <p:cNvSpPr/>
              <p:nvPr/>
            </p:nvSpPr>
            <p:spPr>
              <a:xfrm>
                <a:off x="381000" y="5376214"/>
                <a:ext cx="3657600" cy="246888"/>
              </a:xfrm>
              <a:prstGeom prst="homePlate">
                <a:avLst/>
              </a:prstGeom>
              <a:solidFill>
                <a:srgbClr val="57575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Internal Quality Assurance</a:t>
                </a:r>
              </a:p>
            </p:txBody>
          </p:sp>
        </p:grpSp>
        <p:grpSp>
          <p:nvGrpSpPr>
            <p:cNvPr id="13" name="Group 12">
              <a:extLst>
                <a:ext uri="{FF2B5EF4-FFF2-40B4-BE49-F238E27FC236}">
                  <a16:creationId xmlns:a16="http://schemas.microsoft.com/office/drawing/2014/main" id="{9C6993CE-9678-974D-F2E1-76BDBB4680DA}"/>
                </a:ext>
              </a:extLst>
            </p:cNvPr>
            <p:cNvGrpSpPr/>
            <p:nvPr/>
          </p:nvGrpSpPr>
          <p:grpSpPr>
            <a:xfrm>
              <a:off x="6949439" y="4585058"/>
              <a:ext cx="3030305" cy="759615"/>
              <a:chOff x="381000" y="5632578"/>
              <a:chExt cx="3657600" cy="759615"/>
            </a:xfrm>
          </p:grpSpPr>
          <p:sp>
            <p:nvSpPr>
              <p:cNvPr id="24" name="Pentagon 159">
                <a:extLst>
                  <a:ext uri="{FF2B5EF4-FFF2-40B4-BE49-F238E27FC236}">
                    <a16:creationId xmlns:a16="http://schemas.microsoft.com/office/drawing/2014/main" id="{E00ED1A1-218C-C729-24DB-776643C64E8F}"/>
                  </a:ext>
                </a:extLst>
              </p:cNvPr>
              <p:cNvSpPr/>
              <p:nvPr/>
            </p:nvSpPr>
            <p:spPr>
              <a:xfrm>
                <a:off x="381000" y="5632578"/>
                <a:ext cx="3657600" cy="246888"/>
              </a:xfrm>
              <a:prstGeom prst="homePlat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Exit Meeting</a:t>
                </a:r>
              </a:p>
            </p:txBody>
          </p:sp>
          <p:sp>
            <p:nvSpPr>
              <p:cNvPr id="25" name="Pentagon 160">
                <a:extLst>
                  <a:ext uri="{FF2B5EF4-FFF2-40B4-BE49-F238E27FC236}">
                    <a16:creationId xmlns:a16="http://schemas.microsoft.com/office/drawing/2014/main" id="{4CEBD178-AB98-18F6-7D02-369FEF042468}"/>
                  </a:ext>
                </a:extLst>
              </p:cNvPr>
              <p:cNvSpPr/>
              <p:nvPr/>
            </p:nvSpPr>
            <p:spPr>
              <a:xfrm>
                <a:off x="381000" y="5888941"/>
                <a:ext cx="3657600" cy="246888"/>
              </a:xfrm>
              <a:prstGeom prst="homePlat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Management Sign-Off</a:t>
                </a:r>
              </a:p>
            </p:txBody>
          </p:sp>
          <p:sp>
            <p:nvSpPr>
              <p:cNvPr id="26" name="Pentagon 161">
                <a:extLst>
                  <a:ext uri="{FF2B5EF4-FFF2-40B4-BE49-F238E27FC236}">
                    <a16:creationId xmlns:a16="http://schemas.microsoft.com/office/drawing/2014/main" id="{978C9699-F45F-3700-28B7-7F24A1D3ED9C}"/>
                  </a:ext>
                </a:extLst>
              </p:cNvPr>
              <p:cNvSpPr/>
              <p:nvPr/>
            </p:nvSpPr>
            <p:spPr>
              <a:xfrm>
                <a:off x="381000" y="6145305"/>
                <a:ext cx="3657600" cy="246888"/>
              </a:xfrm>
              <a:prstGeom prst="homePlate">
                <a:avLst/>
              </a:prstGeom>
              <a:solidFill>
                <a:srgbClr val="57575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Deliverables</a:t>
                </a:r>
              </a:p>
            </p:txBody>
          </p:sp>
        </p:grpSp>
        <p:grpSp>
          <p:nvGrpSpPr>
            <p:cNvPr id="14" name="Group 13">
              <a:extLst>
                <a:ext uri="{FF2B5EF4-FFF2-40B4-BE49-F238E27FC236}">
                  <a16:creationId xmlns:a16="http://schemas.microsoft.com/office/drawing/2014/main" id="{EA2689CD-B156-69CF-9019-08704552D9D9}"/>
                </a:ext>
              </a:extLst>
            </p:cNvPr>
            <p:cNvGrpSpPr/>
            <p:nvPr/>
          </p:nvGrpSpPr>
          <p:grpSpPr>
            <a:xfrm>
              <a:off x="6949439" y="2329489"/>
              <a:ext cx="3030305" cy="1034842"/>
              <a:chOff x="381000" y="3381029"/>
              <a:chExt cx="3657600" cy="1034842"/>
            </a:xfrm>
          </p:grpSpPr>
          <p:sp>
            <p:nvSpPr>
              <p:cNvPr id="20" name="Pentagon 155">
                <a:extLst>
                  <a:ext uri="{FF2B5EF4-FFF2-40B4-BE49-F238E27FC236}">
                    <a16:creationId xmlns:a16="http://schemas.microsoft.com/office/drawing/2014/main" id="{297574B2-8C9E-5E47-3AA6-531A55E08613}"/>
                  </a:ext>
                </a:extLst>
              </p:cNvPr>
              <p:cNvSpPr/>
              <p:nvPr/>
            </p:nvSpPr>
            <p:spPr>
              <a:xfrm>
                <a:off x="381000" y="3381029"/>
                <a:ext cx="3657600" cy="246888"/>
              </a:xfrm>
              <a:prstGeom prst="homePlat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Client Assistance Letter</a:t>
                </a:r>
              </a:p>
            </p:txBody>
          </p:sp>
          <p:sp>
            <p:nvSpPr>
              <p:cNvPr id="21" name="Pentagon 156">
                <a:extLst>
                  <a:ext uri="{FF2B5EF4-FFF2-40B4-BE49-F238E27FC236}">
                    <a16:creationId xmlns:a16="http://schemas.microsoft.com/office/drawing/2014/main" id="{F4742F8B-976A-28A8-2A6B-268880E4ED8E}"/>
                  </a:ext>
                </a:extLst>
              </p:cNvPr>
              <p:cNvSpPr/>
              <p:nvPr/>
            </p:nvSpPr>
            <p:spPr>
              <a:xfrm>
                <a:off x="381000" y="3643680"/>
                <a:ext cx="3657600" cy="246888"/>
              </a:xfrm>
              <a:prstGeom prst="homePlat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Project Plan</a:t>
                </a:r>
              </a:p>
            </p:txBody>
          </p:sp>
          <p:sp>
            <p:nvSpPr>
              <p:cNvPr id="22" name="Pentagon 157">
                <a:extLst>
                  <a:ext uri="{FF2B5EF4-FFF2-40B4-BE49-F238E27FC236}">
                    <a16:creationId xmlns:a16="http://schemas.microsoft.com/office/drawing/2014/main" id="{81F0EDC2-5BB1-0845-13A3-920CC9CC2292}"/>
                  </a:ext>
                </a:extLst>
              </p:cNvPr>
              <p:cNvSpPr/>
              <p:nvPr/>
            </p:nvSpPr>
            <p:spPr>
              <a:xfrm>
                <a:off x="381000" y="3906331"/>
                <a:ext cx="3657600" cy="246888"/>
              </a:xfrm>
              <a:prstGeom prst="homePlat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Kick-Off Meeting</a:t>
                </a:r>
              </a:p>
            </p:txBody>
          </p:sp>
          <p:sp>
            <p:nvSpPr>
              <p:cNvPr id="23" name="Pentagon 158">
                <a:extLst>
                  <a:ext uri="{FF2B5EF4-FFF2-40B4-BE49-F238E27FC236}">
                    <a16:creationId xmlns:a16="http://schemas.microsoft.com/office/drawing/2014/main" id="{4C7F8F27-FD41-0103-C96A-C468105E986E}"/>
                  </a:ext>
                </a:extLst>
              </p:cNvPr>
              <p:cNvSpPr/>
              <p:nvPr/>
            </p:nvSpPr>
            <p:spPr>
              <a:xfrm>
                <a:off x="381000" y="4168983"/>
                <a:ext cx="3657600" cy="246888"/>
              </a:xfrm>
              <a:prstGeom prst="homePlat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Request for Information</a:t>
                </a:r>
              </a:p>
            </p:txBody>
          </p:sp>
        </p:grpSp>
        <p:sp>
          <p:nvSpPr>
            <p:cNvPr id="15" name="Rectangle 14">
              <a:extLst>
                <a:ext uri="{FF2B5EF4-FFF2-40B4-BE49-F238E27FC236}">
                  <a16:creationId xmlns:a16="http://schemas.microsoft.com/office/drawing/2014/main" id="{92539689-AA33-1A91-3F9C-01C7D442E5FD}"/>
                </a:ext>
              </a:extLst>
            </p:cNvPr>
            <p:cNvSpPr/>
            <p:nvPr/>
          </p:nvSpPr>
          <p:spPr>
            <a:xfrm>
              <a:off x="10111010" y="1998885"/>
              <a:ext cx="1227774" cy="2715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tx1"/>
                  </a:solidFill>
                  <a:latin typeface="Calibri" panose="020F0502020204030204" pitchFamily="34" charset="0"/>
                  <a:ea typeface="Verdana" panose="020B0604030504040204" pitchFamily="34" charset="0"/>
                  <a:cs typeface="Calibri" panose="020F0502020204030204" pitchFamily="34" charset="0"/>
                </a:rPr>
                <a:t>Phase I - Initiation</a:t>
              </a:r>
            </a:p>
          </p:txBody>
        </p:sp>
        <p:sp>
          <p:nvSpPr>
            <p:cNvPr id="16" name="Rectangle 15">
              <a:extLst>
                <a:ext uri="{FF2B5EF4-FFF2-40B4-BE49-F238E27FC236}">
                  <a16:creationId xmlns:a16="http://schemas.microsoft.com/office/drawing/2014/main" id="{775487DE-D3DF-085D-3D6C-CF46A9C08055}"/>
                </a:ext>
              </a:extLst>
            </p:cNvPr>
            <p:cNvSpPr/>
            <p:nvPr/>
          </p:nvSpPr>
          <p:spPr>
            <a:xfrm>
              <a:off x="10111010" y="2338963"/>
              <a:ext cx="1227774" cy="101375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tx1"/>
                  </a:solidFill>
                  <a:latin typeface="Calibri" panose="020F0502020204030204" pitchFamily="34" charset="0"/>
                  <a:ea typeface="Verdana" panose="020B0604030504040204" pitchFamily="34" charset="0"/>
                  <a:cs typeface="Calibri" panose="020F0502020204030204" pitchFamily="34" charset="0"/>
                </a:rPr>
                <a:t>Phase II - Planning</a:t>
              </a:r>
            </a:p>
          </p:txBody>
        </p:sp>
        <p:sp>
          <p:nvSpPr>
            <p:cNvPr id="17" name="Rectangle 16">
              <a:extLst>
                <a:ext uri="{FF2B5EF4-FFF2-40B4-BE49-F238E27FC236}">
                  <a16:creationId xmlns:a16="http://schemas.microsoft.com/office/drawing/2014/main" id="{C9AD913C-1AEC-F27D-CE9D-2858A789425E}"/>
                </a:ext>
              </a:extLst>
            </p:cNvPr>
            <p:cNvSpPr/>
            <p:nvPr/>
          </p:nvSpPr>
          <p:spPr>
            <a:xfrm>
              <a:off x="10111010" y="3434767"/>
              <a:ext cx="1227774" cy="48220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tx1"/>
                  </a:solidFill>
                  <a:latin typeface="Calibri" panose="020F0502020204030204" pitchFamily="34" charset="0"/>
                  <a:ea typeface="Verdana" panose="020B0604030504040204" pitchFamily="34" charset="0"/>
                  <a:cs typeface="Calibri" panose="020F0502020204030204" pitchFamily="34" charset="0"/>
                </a:rPr>
                <a:t>Phase III - Execution</a:t>
              </a:r>
            </a:p>
          </p:txBody>
        </p:sp>
        <p:sp>
          <p:nvSpPr>
            <p:cNvPr id="18" name="Rectangle 17">
              <a:extLst>
                <a:ext uri="{FF2B5EF4-FFF2-40B4-BE49-F238E27FC236}">
                  <a16:creationId xmlns:a16="http://schemas.microsoft.com/office/drawing/2014/main" id="{A9D979B6-E04A-8AF7-85A4-8942289527B1}"/>
                </a:ext>
              </a:extLst>
            </p:cNvPr>
            <p:cNvSpPr/>
            <p:nvPr/>
          </p:nvSpPr>
          <p:spPr>
            <a:xfrm>
              <a:off x="10111010" y="3992676"/>
              <a:ext cx="1227774" cy="4918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tx1"/>
                  </a:solidFill>
                  <a:latin typeface="Calibri" panose="020F0502020204030204" pitchFamily="34" charset="0"/>
                  <a:ea typeface="Verdana" panose="020B0604030504040204" pitchFamily="34" charset="0"/>
                  <a:cs typeface="Calibri" panose="020F0502020204030204" pitchFamily="34" charset="0"/>
                </a:rPr>
                <a:t>Phase IV - Monitoring</a:t>
              </a:r>
            </a:p>
          </p:txBody>
        </p:sp>
        <p:sp>
          <p:nvSpPr>
            <p:cNvPr id="19" name="Rectangle 18">
              <a:extLst>
                <a:ext uri="{FF2B5EF4-FFF2-40B4-BE49-F238E27FC236}">
                  <a16:creationId xmlns:a16="http://schemas.microsoft.com/office/drawing/2014/main" id="{2EC8E10E-E3E9-8F74-AE74-6D84E1449E52}"/>
                </a:ext>
              </a:extLst>
            </p:cNvPr>
            <p:cNvSpPr/>
            <p:nvPr/>
          </p:nvSpPr>
          <p:spPr>
            <a:xfrm>
              <a:off x="10111010" y="4566608"/>
              <a:ext cx="1227774" cy="77806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tx1"/>
                  </a:solidFill>
                  <a:latin typeface="Calibri" panose="020F0502020204030204" pitchFamily="34" charset="0"/>
                  <a:ea typeface="Verdana" panose="020B0604030504040204" pitchFamily="34" charset="0"/>
                  <a:cs typeface="Calibri" panose="020F0502020204030204" pitchFamily="34" charset="0"/>
                </a:rPr>
                <a:t>Phase V - Closing</a:t>
              </a:r>
            </a:p>
          </p:txBody>
        </p:sp>
      </p:grpSp>
      <p:grpSp>
        <p:nvGrpSpPr>
          <p:cNvPr id="31" name="Group 30">
            <a:extLst>
              <a:ext uri="{FF2B5EF4-FFF2-40B4-BE49-F238E27FC236}">
                <a16:creationId xmlns:a16="http://schemas.microsoft.com/office/drawing/2014/main" id="{D82E0E0E-322E-ED57-B471-5F1A116D073B}"/>
              </a:ext>
            </a:extLst>
          </p:cNvPr>
          <p:cNvGrpSpPr/>
          <p:nvPr/>
        </p:nvGrpSpPr>
        <p:grpSpPr>
          <a:xfrm>
            <a:off x="6912274" y="5917207"/>
            <a:ext cx="1183006" cy="213435"/>
            <a:chOff x="5546771" y="6151913"/>
            <a:chExt cx="1265987" cy="215444"/>
          </a:xfrm>
        </p:grpSpPr>
        <p:sp>
          <p:nvSpPr>
            <p:cNvPr id="32" name="Rectangle 31">
              <a:extLst>
                <a:ext uri="{FF2B5EF4-FFF2-40B4-BE49-F238E27FC236}">
                  <a16:creationId xmlns:a16="http://schemas.microsoft.com/office/drawing/2014/main" id="{8CBDB346-3BA2-1B52-B0D2-AA93402EB240}"/>
                </a:ext>
              </a:extLst>
            </p:cNvPr>
            <p:cNvSpPr/>
            <p:nvPr/>
          </p:nvSpPr>
          <p:spPr>
            <a:xfrm>
              <a:off x="5546771" y="6164017"/>
              <a:ext cx="182880" cy="18288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endParaRPr lang="en-US" sz="1582" b="1" dirty="0">
                <a:solidFill>
                  <a:schemeClr val="tx1">
                    <a:lumMod val="50000"/>
                    <a:lumOff val="50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33" name="TextBox 32">
              <a:extLst>
                <a:ext uri="{FF2B5EF4-FFF2-40B4-BE49-F238E27FC236}">
                  <a16:creationId xmlns:a16="http://schemas.microsoft.com/office/drawing/2014/main" id="{449CA36E-D8F7-350C-B7FE-59AEAD619943}"/>
                </a:ext>
              </a:extLst>
            </p:cNvPr>
            <p:cNvSpPr txBox="1"/>
            <p:nvPr/>
          </p:nvSpPr>
          <p:spPr>
            <a:xfrm>
              <a:off x="5668691" y="6151913"/>
              <a:ext cx="1144067" cy="215444"/>
            </a:xfrm>
            <a:prstGeom prst="rect">
              <a:avLst/>
            </a:prstGeom>
            <a:noFill/>
          </p:spPr>
          <p:txBody>
            <a:bodyPr wrap="none" rtlCol="0">
              <a:spAutoFit/>
            </a:bodyPr>
            <a:lstStyle/>
            <a:p>
              <a:r>
                <a:rPr lang="en-US" sz="791" b="1" dirty="0">
                  <a:latin typeface="Calibri" panose="020F0502020204030204" pitchFamily="34" charset="0"/>
                  <a:ea typeface="Verdana" panose="020B0604030504040204" pitchFamily="34" charset="0"/>
                  <a:cs typeface="Calibri" panose="020F0502020204030204" pitchFamily="34" charset="0"/>
                </a:rPr>
                <a:t>Project Management</a:t>
              </a:r>
            </a:p>
          </p:txBody>
        </p:sp>
      </p:grpSp>
      <p:grpSp>
        <p:nvGrpSpPr>
          <p:cNvPr id="34" name="Group 33">
            <a:extLst>
              <a:ext uri="{FF2B5EF4-FFF2-40B4-BE49-F238E27FC236}">
                <a16:creationId xmlns:a16="http://schemas.microsoft.com/office/drawing/2014/main" id="{3283090C-81A9-1140-95C4-B47F80970ADE}"/>
              </a:ext>
            </a:extLst>
          </p:cNvPr>
          <p:cNvGrpSpPr/>
          <p:nvPr/>
        </p:nvGrpSpPr>
        <p:grpSpPr>
          <a:xfrm>
            <a:off x="8123846" y="5917207"/>
            <a:ext cx="1246561" cy="213435"/>
            <a:chOff x="5546771" y="6151913"/>
            <a:chExt cx="1334001" cy="215444"/>
          </a:xfrm>
        </p:grpSpPr>
        <p:sp>
          <p:nvSpPr>
            <p:cNvPr id="35" name="Rectangle 34">
              <a:extLst>
                <a:ext uri="{FF2B5EF4-FFF2-40B4-BE49-F238E27FC236}">
                  <a16:creationId xmlns:a16="http://schemas.microsoft.com/office/drawing/2014/main" id="{6C4A15F0-249D-A9DF-46D5-3E2F9B900DD8}"/>
                </a:ext>
              </a:extLst>
            </p:cNvPr>
            <p:cNvSpPr/>
            <p:nvPr/>
          </p:nvSpPr>
          <p:spPr>
            <a:xfrm>
              <a:off x="5546771" y="6164017"/>
              <a:ext cx="182880" cy="182880"/>
            </a:xfrm>
            <a:prstGeom prst="rect">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endParaRPr lang="en-US" sz="1582" b="1" dirty="0">
                <a:solidFill>
                  <a:schemeClr val="tx1">
                    <a:lumMod val="50000"/>
                    <a:lumOff val="50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36" name="TextBox 35">
              <a:extLst>
                <a:ext uri="{FF2B5EF4-FFF2-40B4-BE49-F238E27FC236}">
                  <a16:creationId xmlns:a16="http://schemas.microsoft.com/office/drawing/2014/main" id="{B1363AC9-EF6D-442E-8879-3E3EE144A794}"/>
                </a:ext>
              </a:extLst>
            </p:cNvPr>
            <p:cNvSpPr txBox="1"/>
            <p:nvPr/>
          </p:nvSpPr>
          <p:spPr>
            <a:xfrm>
              <a:off x="5658531" y="6151913"/>
              <a:ext cx="1222241" cy="215444"/>
            </a:xfrm>
            <a:prstGeom prst="rect">
              <a:avLst/>
            </a:prstGeom>
            <a:noFill/>
          </p:spPr>
          <p:txBody>
            <a:bodyPr wrap="none" rtlCol="0">
              <a:spAutoFit/>
            </a:bodyPr>
            <a:lstStyle/>
            <a:p>
              <a:r>
                <a:rPr lang="en-US" sz="791" b="1" dirty="0">
                  <a:latin typeface="Calibri" panose="020F0502020204030204" pitchFamily="34" charset="0"/>
                  <a:ea typeface="Verdana" panose="020B0604030504040204" pitchFamily="34" charset="0"/>
                  <a:cs typeface="Calibri" panose="020F0502020204030204" pitchFamily="34" charset="0"/>
                </a:rPr>
                <a:t>Meetings / Workshops</a:t>
              </a:r>
            </a:p>
          </p:txBody>
        </p:sp>
      </p:grpSp>
      <p:grpSp>
        <p:nvGrpSpPr>
          <p:cNvPr id="37" name="Group 36">
            <a:extLst>
              <a:ext uri="{FF2B5EF4-FFF2-40B4-BE49-F238E27FC236}">
                <a16:creationId xmlns:a16="http://schemas.microsoft.com/office/drawing/2014/main" id="{C012CE7C-0197-2EF6-6240-6530138F8FE4}"/>
              </a:ext>
            </a:extLst>
          </p:cNvPr>
          <p:cNvGrpSpPr/>
          <p:nvPr/>
        </p:nvGrpSpPr>
        <p:grpSpPr>
          <a:xfrm>
            <a:off x="9376650" y="5918291"/>
            <a:ext cx="714530" cy="213435"/>
            <a:chOff x="5546771" y="6151913"/>
            <a:chExt cx="764650" cy="215444"/>
          </a:xfrm>
        </p:grpSpPr>
        <p:sp>
          <p:nvSpPr>
            <p:cNvPr id="38" name="Rectangle 37">
              <a:extLst>
                <a:ext uri="{FF2B5EF4-FFF2-40B4-BE49-F238E27FC236}">
                  <a16:creationId xmlns:a16="http://schemas.microsoft.com/office/drawing/2014/main" id="{88E1CCDE-ECFC-AB7A-348C-A461016C2551}"/>
                </a:ext>
              </a:extLst>
            </p:cNvPr>
            <p:cNvSpPr/>
            <p:nvPr/>
          </p:nvSpPr>
          <p:spPr>
            <a:xfrm>
              <a:off x="5546771" y="6164017"/>
              <a:ext cx="182880" cy="182880"/>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endParaRPr lang="en-US" sz="1582" b="1" dirty="0">
                <a:solidFill>
                  <a:schemeClr val="tx1">
                    <a:lumMod val="50000"/>
                    <a:lumOff val="50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39" name="TextBox 38">
              <a:extLst>
                <a:ext uri="{FF2B5EF4-FFF2-40B4-BE49-F238E27FC236}">
                  <a16:creationId xmlns:a16="http://schemas.microsoft.com/office/drawing/2014/main" id="{60E93A4B-99AE-4561-85A1-D676E1BA62A6}"/>
                </a:ext>
              </a:extLst>
            </p:cNvPr>
            <p:cNvSpPr txBox="1"/>
            <p:nvPr/>
          </p:nvSpPr>
          <p:spPr>
            <a:xfrm>
              <a:off x="5668691" y="6151913"/>
              <a:ext cx="642730" cy="215444"/>
            </a:xfrm>
            <a:prstGeom prst="rect">
              <a:avLst/>
            </a:prstGeom>
            <a:noFill/>
          </p:spPr>
          <p:txBody>
            <a:bodyPr wrap="none" rtlCol="0">
              <a:spAutoFit/>
            </a:bodyPr>
            <a:lstStyle/>
            <a:p>
              <a:r>
                <a:rPr lang="en-US" sz="791" b="1" dirty="0">
                  <a:latin typeface="Calibri" panose="020F0502020204030204" pitchFamily="34" charset="0"/>
                  <a:ea typeface="Verdana" panose="020B0604030504040204" pitchFamily="34" charset="0"/>
                  <a:cs typeface="Calibri" panose="020F0502020204030204" pitchFamily="34" charset="0"/>
                </a:rPr>
                <a:t>Fieldwork</a:t>
              </a:r>
            </a:p>
          </p:txBody>
        </p:sp>
      </p:grpSp>
      <p:grpSp>
        <p:nvGrpSpPr>
          <p:cNvPr id="40" name="Group 39">
            <a:extLst>
              <a:ext uri="{FF2B5EF4-FFF2-40B4-BE49-F238E27FC236}">
                <a16:creationId xmlns:a16="http://schemas.microsoft.com/office/drawing/2014/main" id="{15CA9DC0-40AD-CF8F-D816-CC645E24FCD5}"/>
              </a:ext>
            </a:extLst>
          </p:cNvPr>
          <p:cNvGrpSpPr/>
          <p:nvPr/>
        </p:nvGrpSpPr>
        <p:grpSpPr>
          <a:xfrm>
            <a:off x="10071684" y="5918291"/>
            <a:ext cx="1060726" cy="213435"/>
            <a:chOff x="5546771" y="6151913"/>
            <a:chExt cx="1135129" cy="215444"/>
          </a:xfrm>
        </p:grpSpPr>
        <p:sp>
          <p:nvSpPr>
            <p:cNvPr id="41" name="Rectangle 40">
              <a:extLst>
                <a:ext uri="{FF2B5EF4-FFF2-40B4-BE49-F238E27FC236}">
                  <a16:creationId xmlns:a16="http://schemas.microsoft.com/office/drawing/2014/main" id="{64635851-37D6-6D4F-A297-5AAEB8B25198}"/>
                </a:ext>
              </a:extLst>
            </p:cNvPr>
            <p:cNvSpPr/>
            <p:nvPr/>
          </p:nvSpPr>
          <p:spPr>
            <a:xfrm>
              <a:off x="5546771" y="6164017"/>
              <a:ext cx="182880" cy="182880"/>
            </a:xfrm>
            <a:prstGeom prst="rect">
              <a:avLst/>
            </a:prstGeom>
            <a:solidFill>
              <a:srgbClr val="57575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endParaRPr lang="en-US" sz="1582" b="1" dirty="0">
                <a:solidFill>
                  <a:schemeClr val="tx1">
                    <a:lumMod val="50000"/>
                    <a:lumOff val="50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42" name="TextBox 41">
              <a:extLst>
                <a:ext uri="{FF2B5EF4-FFF2-40B4-BE49-F238E27FC236}">
                  <a16:creationId xmlns:a16="http://schemas.microsoft.com/office/drawing/2014/main" id="{E967F48E-03BA-FE55-7267-BA687B21D39D}"/>
                </a:ext>
              </a:extLst>
            </p:cNvPr>
            <p:cNvSpPr txBox="1"/>
            <p:nvPr/>
          </p:nvSpPr>
          <p:spPr>
            <a:xfrm>
              <a:off x="5668691" y="6151913"/>
              <a:ext cx="1013209" cy="215444"/>
            </a:xfrm>
            <a:prstGeom prst="rect">
              <a:avLst/>
            </a:prstGeom>
            <a:noFill/>
          </p:spPr>
          <p:txBody>
            <a:bodyPr wrap="none" rtlCol="0">
              <a:spAutoFit/>
            </a:bodyPr>
            <a:lstStyle/>
            <a:p>
              <a:r>
                <a:rPr lang="en-US" sz="791" b="1" dirty="0">
                  <a:latin typeface="Calibri" panose="020F0502020204030204" pitchFamily="34" charset="0"/>
                  <a:ea typeface="Verdana" panose="020B0604030504040204" pitchFamily="34" charset="0"/>
                  <a:cs typeface="Calibri" panose="020F0502020204030204" pitchFamily="34" charset="0"/>
                </a:rPr>
                <a:t>Quality Assurance</a:t>
              </a:r>
            </a:p>
          </p:txBody>
        </p:sp>
      </p:grpSp>
    </p:spTree>
    <p:extLst>
      <p:ext uri="{BB962C8B-B14F-4D97-AF65-F5344CB8AC3E}">
        <p14:creationId xmlns:p14="http://schemas.microsoft.com/office/powerpoint/2010/main" val="3652616824"/>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20">
            <a:extLst>
              <a:ext uri="{FF2B5EF4-FFF2-40B4-BE49-F238E27FC236}">
                <a16:creationId xmlns:a16="http://schemas.microsoft.com/office/drawing/2014/main" id="{21582DA6-E7A5-ECAA-971C-B029B9F65B7A}"/>
              </a:ext>
            </a:extLst>
          </p:cNvPr>
          <p:cNvSpPr txBox="1">
            <a:spLocks/>
          </p:cNvSpPr>
          <p:nvPr/>
        </p:nvSpPr>
        <p:spPr>
          <a:xfrm>
            <a:off x="411480"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lvl="0" indent="0">
              <a:spcBef>
                <a:spcPts val="0"/>
              </a:spcBef>
              <a:spcAft>
                <a:spcPts val="1333"/>
              </a:spcAft>
              <a:buNone/>
              <a:defRPr/>
            </a:pPr>
            <a:r>
              <a:rPr lang="en-US" sz="1400" b="1" dirty="0">
                <a:solidFill>
                  <a:srgbClr val="575757"/>
                </a:solidFill>
                <a:latin typeface="+mn-lt"/>
                <a:ea typeface="Open Sans Light" panose="020B0306030504020204" pitchFamily="34" charset="0"/>
                <a:cs typeface="Open Sans Light" panose="020B0306030504020204" pitchFamily="34" charset="0"/>
              </a:rPr>
              <a:t>Phase 1: Project Initiation &amp; Planning</a:t>
            </a:r>
          </a:p>
        </p:txBody>
      </p:sp>
      <p:sp>
        <p:nvSpPr>
          <p:cNvPr id="31" name="Rectangle 4">
            <a:extLst>
              <a:ext uri="{FF2B5EF4-FFF2-40B4-BE49-F238E27FC236}">
                <a16:creationId xmlns:a16="http://schemas.microsoft.com/office/drawing/2014/main" id="{5825BA2D-1B97-661E-272C-65BB0A4118A5}"/>
              </a:ext>
            </a:extLst>
          </p:cNvPr>
          <p:cNvSpPr txBox="1">
            <a:spLocks noChangeArrowheads="1"/>
          </p:cNvSpPr>
          <p:nvPr/>
        </p:nvSpPr>
        <p:spPr bwMode="auto">
          <a:xfrm>
            <a:off x="504762" y="2721669"/>
            <a:ext cx="3566160" cy="1352812"/>
          </a:xfrm>
          <a:prstGeom prst="rect">
            <a:avLst/>
          </a:prstGeom>
          <a:solidFill>
            <a:srgbClr val="034C38"/>
          </a:solidFill>
          <a:ln w="25400" cap="flat" cmpd="sng" algn="ctr">
            <a:noFill/>
            <a:prstDash val="solid"/>
            <a:headEnd/>
            <a:tailEnd/>
          </a:ln>
          <a:effectLst/>
        </p:spPr>
        <p:txBody>
          <a:bodyPr lIns="90597" tIns="45301" rIns="90597" bIns="45301"/>
          <a:lstStyle/>
          <a:p>
            <a:pPr marL="0" marR="0" lvl="0" indent="0" defTabSz="948322" eaLnBrk="1" fontAlgn="base" latinLnBrk="0" hangingPunct="1">
              <a:lnSpc>
                <a:spcPct val="80000"/>
              </a:lnSpc>
              <a:spcBef>
                <a:spcPct val="0"/>
              </a:spcBef>
              <a:spcAft>
                <a:spcPts val="800"/>
              </a:spcAft>
              <a:buClrTx/>
              <a:buSzTx/>
              <a:buFontTx/>
              <a:buNone/>
              <a:tabLst/>
              <a:defRPr/>
            </a:pPr>
            <a:r>
              <a:rPr kumimoji="0" lang="en-GB" sz="800" b="1" i="0" u="none" strike="noStrike" kern="0" cap="none" spc="0" normalizeH="0" baseline="0" noProof="0">
                <a:ln>
                  <a:noFill/>
                </a:ln>
                <a:solidFill>
                  <a:srgbClr val="00A1DE"/>
                </a:solidFill>
                <a:effectLst/>
                <a:uLnTx/>
                <a:uFillTx/>
                <a:latin typeface="+mn-lt"/>
                <a:ea typeface="Open Sans Light" panose="020B0306030504020204" pitchFamily="34" charset="0"/>
                <a:cs typeface="Open Sans Light" panose="020B0306030504020204" pitchFamily="34" charset="0"/>
              </a:rPr>
              <a:t>     </a:t>
            </a:r>
          </a:p>
        </p:txBody>
      </p:sp>
      <p:sp>
        <p:nvSpPr>
          <p:cNvPr id="32" name="Content Placeholder 10">
            <a:extLst>
              <a:ext uri="{FF2B5EF4-FFF2-40B4-BE49-F238E27FC236}">
                <a16:creationId xmlns:a16="http://schemas.microsoft.com/office/drawing/2014/main" id="{425461AE-77E8-7D25-F3FC-D449AEA505B0}"/>
              </a:ext>
            </a:extLst>
          </p:cNvPr>
          <p:cNvSpPr txBox="1">
            <a:spLocks/>
          </p:cNvSpPr>
          <p:nvPr/>
        </p:nvSpPr>
        <p:spPr>
          <a:xfrm>
            <a:off x="397229" y="1254045"/>
            <a:ext cx="11325845" cy="705066"/>
          </a:xfrm>
          <a:prstGeom prst="rect">
            <a:avLst/>
          </a:prstGeom>
          <a:noFill/>
        </p:spPr>
        <p:txBody>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just" defTabSz="1216733" rtl="0" eaLnBrk="1" fontAlgn="auto" latinLnBrk="0" hangingPunct="1">
              <a:lnSpc>
                <a:spcPct val="107000"/>
              </a:lnSpc>
              <a:spcBef>
                <a:spcPts val="200"/>
              </a:spcBef>
              <a:spcAft>
                <a:spcPts val="60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Times New Roman" panose="02020603050405020304" pitchFamily="18" charset="0"/>
                <a:cs typeface="Open Sans Light" panose="020B0306030504020204" pitchFamily="34" charset="0"/>
              </a:rPr>
              <a:t>We recognize that the quality service and advice we deliver enables our clients to make good decisions and protects their businesses and reputations. Quality is our passion - engrained in our culture and reinforced by our processes and systems. The cornerstone of quality in Deloitte is the caliber of our people and the consultative environment in which they work. Our client engagement will be led by </a:t>
            </a:r>
            <a:r>
              <a:rPr kumimoji="0" lang="en-US" sz="1100" b="1" i="0" u="none" strike="noStrike" kern="1200" cap="none" spc="0" normalizeH="0" baseline="0" noProof="0" dirty="0">
                <a:ln>
                  <a:noFill/>
                </a:ln>
                <a:solidFill>
                  <a:prstClr val="black"/>
                </a:solidFill>
                <a:effectLst/>
                <a:uLnTx/>
                <a:uFillTx/>
                <a:ea typeface="Times New Roman" panose="02020603050405020304" pitchFamily="18" charset="0"/>
                <a:cs typeface="Open Sans Light" panose="020B0306030504020204" pitchFamily="34" charset="0"/>
              </a:rPr>
              <a:t>Tariq Ajmal</a:t>
            </a:r>
            <a:r>
              <a:rPr kumimoji="0" lang="en-US" sz="1100" b="0" i="0" u="none" strike="noStrike" kern="1200" cap="none" spc="0" normalizeH="0" baseline="0" noProof="0" dirty="0">
                <a:ln>
                  <a:noFill/>
                </a:ln>
                <a:solidFill>
                  <a:prstClr val="black"/>
                </a:solidFill>
                <a:effectLst/>
                <a:uLnTx/>
                <a:uFillTx/>
                <a:ea typeface="Times New Roman" panose="02020603050405020304" pitchFamily="18" charset="0"/>
                <a:cs typeface="Open Sans Light" panose="020B0306030504020204" pitchFamily="34" charset="0"/>
              </a:rPr>
              <a:t>, Partner and </a:t>
            </a:r>
            <a:r>
              <a:rPr kumimoji="0" lang="en-US" sz="1100" b="1" i="0" u="none" strike="noStrike" kern="1200" cap="none" spc="0" normalizeH="0" baseline="0" noProof="0" dirty="0">
                <a:ln>
                  <a:noFill/>
                </a:ln>
                <a:solidFill>
                  <a:prstClr val="black"/>
                </a:solidFill>
                <a:effectLst/>
                <a:uLnTx/>
                <a:uFillTx/>
                <a:ea typeface="Times New Roman" panose="02020603050405020304" pitchFamily="18" charset="0"/>
                <a:cs typeface="Open Sans Light" panose="020B0306030504020204" pitchFamily="34" charset="0"/>
              </a:rPr>
              <a:t>Nader Farid </a:t>
            </a:r>
            <a:r>
              <a:rPr kumimoji="0" lang="en-US" sz="1100" b="0" i="0" u="none" strike="noStrike" kern="1200" cap="none" spc="0" normalizeH="0" baseline="0" noProof="0" dirty="0">
                <a:ln>
                  <a:noFill/>
                </a:ln>
                <a:solidFill>
                  <a:prstClr val="black"/>
                </a:solidFill>
                <a:effectLst/>
                <a:uLnTx/>
                <a:uFillTx/>
                <a:ea typeface="Times New Roman" panose="02020603050405020304" pitchFamily="18" charset="0"/>
                <a:cs typeface="Open Sans Light" panose="020B0306030504020204" pitchFamily="34" charset="0"/>
              </a:rPr>
              <a:t>as the Quality Assurance Partner who will take full responsibility for the quality of our service delivery.</a:t>
            </a:r>
          </a:p>
          <a:p>
            <a:pPr marL="0" marR="0" lvl="0" indent="0" algn="just" defTabSz="1216733" rtl="0" eaLnBrk="1" fontAlgn="auto" latinLnBrk="0" hangingPunct="1">
              <a:lnSpc>
                <a:spcPct val="107000"/>
              </a:lnSpc>
              <a:spcBef>
                <a:spcPts val="200"/>
              </a:spcBef>
              <a:spcAft>
                <a:spcPts val="60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Times New Roman" panose="02020603050405020304" pitchFamily="18" charset="0"/>
                <a:cs typeface="Open Sans Light" panose="020B0306030504020204" pitchFamily="34" charset="0"/>
              </a:rPr>
              <a:t>Although an iterative process, there are three distinct phases to our Quality Program: Planning, Assurance and Control.</a:t>
            </a:r>
          </a:p>
          <a:p>
            <a:pPr marL="0" marR="0" lvl="0" indent="0" algn="just" defTabSz="914400" rtl="0" eaLnBrk="1" fontAlgn="auto" latinLnBrk="0" hangingPunct="1">
              <a:lnSpc>
                <a:spcPct val="100000"/>
              </a:lnSpc>
              <a:spcBef>
                <a:spcPts val="0"/>
              </a:spcBef>
              <a:spcAft>
                <a:spcPts val="1000"/>
              </a:spcAft>
              <a:buClrTx/>
              <a:buSzPct val="100000"/>
              <a:buFontTx/>
              <a:buNone/>
              <a:tabLst/>
              <a:defRPr/>
            </a:pPr>
            <a:endParaRPr kumimoji="0" lang="en-US" sz="1100" b="0" i="0" u="none" strike="noStrike" kern="1200" cap="none" spc="0" normalizeH="0" baseline="0" noProof="0" dirty="0">
              <a:ln>
                <a:noFill/>
              </a:ln>
              <a:solidFill>
                <a:prstClr val="black"/>
              </a:solidFill>
              <a:effectLst/>
              <a:uLnTx/>
              <a:uFillTx/>
              <a:ea typeface="Open Sans Light" panose="020B0306030504020204" pitchFamily="34" charset="0"/>
              <a:cs typeface="Open Sans Light" panose="020B0306030504020204" pitchFamily="34" charset="0"/>
            </a:endParaRPr>
          </a:p>
        </p:txBody>
      </p:sp>
      <p:sp>
        <p:nvSpPr>
          <p:cNvPr id="33" name="AutoShape 2">
            <a:extLst>
              <a:ext uri="{FF2B5EF4-FFF2-40B4-BE49-F238E27FC236}">
                <a16:creationId xmlns:a16="http://schemas.microsoft.com/office/drawing/2014/main" id="{5F59E401-6038-223E-FBB2-41D37DC3DAA9}"/>
              </a:ext>
            </a:extLst>
          </p:cNvPr>
          <p:cNvSpPr>
            <a:spLocks noChangeArrowheads="1"/>
          </p:cNvSpPr>
          <p:nvPr/>
        </p:nvSpPr>
        <p:spPr bwMode="auto">
          <a:xfrm>
            <a:off x="504762" y="2416692"/>
            <a:ext cx="3566160" cy="248976"/>
          </a:xfrm>
          <a:prstGeom prst="chevron">
            <a:avLst>
              <a:gd name="adj" fmla="val 136792"/>
            </a:avLst>
          </a:prstGeom>
          <a:solidFill>
            <a:srgbClr val="034C38"/>
          </a:solidFill>
          <a:ln w="25400" cap="flat" cmpd="sng" algn="ctr">
            <a:noFill/>
            <a:prstDash val="solid"/>
            <a:headEnd/>
            <a:tailEnd/>
          </a:ln>
          <a:effectLst/>
        </p:spPr>
        <p:txBody>
          <a:bodyPr wrap="none" lIns="90597" tIns="90597" rIns="90597" bIns="90597" anchor="ctr"/>
          <a:lstStyle/>
          <a:p>
            <a:pPr marL="0" marR="0" lvl="0" indent="0" algn="ctr" defTabSz="905859"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mn-lt"/>
                <a:ea typeface="Open Sans Light" panose="020B0306030504020204" pitchFamily="34" charset="0"/>
                <a:cs typeface="Open Sans Light" panose="020B0306030504020204" pitchFamily="34" charset="0"/>
              </a:rPr>
              <a:t>    Quality Planning</a:t>
            </a:r>
          </a:p>
        </p:txBody>
      </p:sp>
      <p:sp>
        <p:nvSpPr>
          <p:cNvPr id="34" name="AutoShape 3">
            <a:extLst>
              <a:ext uri="{FF2B5EF4-FFF2-40B4-BE49-F238E27FC236}">
                <a16:creationId xmlns:a16="http://schemas.microsoft.com/office/drawing/2014/main" id="{1A216E56-ACB8-2BF7-CBC8-D895FC56721D}"/>
              </a:ext>
            </a:extLst>
          </p:cNvPr>
          <p:cNvSpPr>
            <a:spLocks noChangeArrowheads="1"/>
          </p:cNvSpPr>
          <p:nvPr/>
        </p:nvSpPr>
        <p:spPr bwMode="auto">
          <a:xfrm>
            <a:off x="504856" y="4124011"/>
            <a:ext cx="11090941" cy="203060"/>
          </a:xfrm>
          <a:prstGeom prst="homePlate">
            <a:avLst>
              <a:gd name="adj" fmla="val 112342"/>
            </a:avLst>
          </a:prstGeom>
          <a:solidFill>
            <a:schemeClr val="tx1">
              <a:lumMod val="65000"/>
              <a:lumOff val="35000"/>
            </a:schemeClr>
          </a:solidFill>
          <a:ln w="25400" cap="flat" cmpd="sng" algn="ctr">
            <a:noFill/>
            <a:prstDash val="solid"/>
            <a:headEnd/>
            <a:tailEnd/>
          </a:ln>
          <a:effectLst/>
        </p:spPr>
        <p:txBody>
          <a:bodyPr lIns="90597" tIns="90597" rIns="90597" bIns="90597" anchor="ctr"/>
          <a:lstStyle/>
          <a:p>
            <a:pPr marL="12604" marR="0" lvl="0" indent="-12604" algn="ctr" defTabSz="905859" eaLnBrk="0" fontAlgn="auto" latinLnBrk="0" hangingPunct="0">
              <a:lnSpc>
                <a:spcPct val="110000"/>
              </a:lnSpc>
              <a:spcBef>
                <a:spcPts val="0"/>
              </a:spcBef>
              <a:spcAft>
                <a:spcPts val="0"/>
              </a:spcAft>
              <a:buClrTx/>
              <a:buSzTx/>
              <a:buFontTx/>
              <a:buNone/>
              <a:tabLst/>
              <a:defRPr/>
            </a:pPr>
            <a:r>
              <a:rPr kumimoji="0" lang="en-GB" sz="1600" b="1" i="0" u="none" strike="noStrike" kern="0" cap="none" spc="0" normalizeH="0" baseline="0" noProof="0">
                <a:ln>
                  <a:noFill/>
                </a:ln>
                <a:solidFill>
                  <a:srgbClr val="FFFFFF"/>
                </a:solidFill>
                <a:effectLst/>
                <a:uLnTx/>
                <a:uFillTx/>
                <a:latin typeface="+mn-lt"/>
                <a:ea typeface="Open Sans Light" panose="020B0306030504020204" pitchFamily="34" charset="0"/>
                <a:cs typeface="Open Sans Light" panose="020B0306030504020204" pitchFamily="34" charset="0"/>
              </a:rPr>
              <a:t>Deloitte Quality Control Lead</a:t>
            </a:r>
          </a:p>
        </p:txBody>
      </p:sp>
      <p:sp>
        <p:nvSpPr>
          <p:cNvPr id="35" name="AutoShape 5">
            <a:extLst>
              <a:ext uri="{FF2B5EF4-FFF2-40B4-BE49-F238E27FC236}">
                <a16:creationId xmlns:a16="http://schemas.microsoft.com/office/drawing/2014/main" id="{1FA3CA76-8A4E-78CE-031A-AF64F450B5DB}"/>
              </a:ext>
            </a:extLst>
          </p:cNvPr>
          <p:cNvSpPr>
            <a:spLocks noChangeArrowheads="1"/>
          </p:cNvSpPr>
          <p:nvPr/>
        </p:nvSpPr>
        <p:spPr bwMode="auto">
          <a:xfrm>
            <a:off x="4267200" y="2416326"/>
            <a:ext cx="3566160" cy="248977"/>
          </a:xfrm>
          <a:prstGeom prst="chevron">
            <a:avLst>
              <a:gd name="adj" fmla="val 131943"/>
            </a:avLst>
          </a:prstGeom>
          <a:solidFill>
            <a:srgbClr val="208F36"/>
          </a:solidFill>
          <a:ln w="25400" cap="flat" cmpd="sng" algn="ctr">
            <a:noFill/>
            <a:prstDash val="solid"/>
            <a:headEnd/>
            <a:tailEnd/>
          </a:ln>
          <a:effectLst/>
        </p:spPr>
        <p:txBody>
          <a:bodyPr wrap="none" lIns="90597" tIns="90597" rIns="90597" bIns="90597" anchor="ctr"/>
          <a:lstStyle/>
          <a:p>
            <a:pPr marL="0" marR="0" lvl="0" indent="0" algn="ctr" defTabSz="905859"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mn-lt"/>
                <a:ea typeface="Open Sans Light" panose="020B0306030504020204" pitchFamily="34" charset="0"/>
                <a:cs typeface="Open Sans Light" panose="020B0306030504020204" pitchFamily="34" charset="0"/>
              </a:rPr>
              <a:t>  Quality Assurance</a:t>
            </a:r>
          </a:p>
        </p:txBody>
      </p:sp>
      <p:sp>
        <p:nvSpPr>
          <p:cNvPr id="36" name="AutoShape 6">
            <a:extLst>
              <a:ext uri="{FF2B5EF4-FFF2-40B4-BE49-F238E27FC236}">
                <a16:creationId xmlns:a16="http://schemas.microsoft.com/office/drawing/2014/main" id="{A3EEE8D3-37A8-4A83-8C0E-13799018C6D9}"/>
              </a:ext>
            </a:extLst>
          </p:cNvPr>
          <p:cNvSpPr>
            <a:spLocks noChangeArrowheads="1"/>
          </p:cNvSpPr>
          <p:nvPr/>
        </p:nvSpPr>
        <p:spPr bwMode="auto">
          <a:xfrm>
            <a:off x="8029637" y="2405208"/>
            <a:ext cx="3566160" cy="248977"/>
          </a:xfrm>
          <a:prstGeom prst="chevron">
            <a:avLst>
              <a:gd name="adj" fmla="val 127034"/>
            </a:avLst>
          </a:prstGeom>
          <a:solidFill>
            <a:srgbClr val="3ECA36"/>
          </a:solidFill>
          <a:ln w="25400" cap="flat" cmpd="sng" algn="ctr">
            <a:noFill/>
            <a:prstDash val="solid"/>
            <a:headEnd/>
            <a:tailEnd/>
          </a:ln>
          <a:effectLst/>
        </p:spPr>
        <p:txBody>
          <a:bodyPr wrap="none" lIns="90597" tIns="90597" rIns="90597" bIns="90597" anchor="ctr"/>
          <a:lstStyle/>
          <a:p>
            <a:pPr marL="0" marR="0" lvl="0" indent="0" algn="ctr" defTabSz="905859"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mn-lt"/>
                <a:ea typeface="Open Sans Light" panose="020B0306030504020204" pitchFamily="34" charset="0"/>
                <a:cs typeface="Open Sans Light" panose="020B0306030504020204" pitchFamily="34" charset="0"/>
              </a:rPr>
              <a:t>    Quality Control</a:t>
            </a:r>
          </a:p>
        </p:txBody>
      </p:sp>
      <p:sp>
        <p:nvSpPr>
          <p:cNvPr id="37" name="Rectangle 7">
            <a:extLst>
              <a:ext uri="{FF2B5EF4-FFF2-40B4-BE49-F238E27FC236}">
                <a16:creationId xmlns:a16="http://schemas.microsoft.com/office/drawing/2014/main" id="{50D15220-0001-DA01-3055-B50CDC0FB9E9}"/>
              </a:ext>
            </a:extLst>
          </p:cNvPr>
          <p:cNvSpPr>
            <a:spLocks noChangeArrowheads="1"/>
          </p:cNvSpPr>
          <p:nvPr/>
        </p:nvSpPr>
        <p:spPr bwMode="auto">
          <a:xfrm>
            <a:off x="4267200" y="2720198"/>
            <a:ext cx="3566160" cy="1354283"/>
          </a:xfrm>
          <a:prstGeom prst="rect">
            <a:avLst/>
          </a:prstGeom>
          <a:solidFill>
            <a:srgbClr val="208F36"/>
          </a:solidFill>
          <a:ln w="25400" cap="flat" cmpd="sng" algn="ctr">
            <a:noFill/>
            <a:prstDash val="solid"/>
            <a:headEnd/>
            <a:tailEnd/>
          </a:ln>
          <a:effectLst/>
        </p:spPr>
        <p:txBody>
          <a:bodyPr lIns="90597" tIns="45301" rIns="90597" bIns="45301"/>
          <a:lstStyle/>
          <a:p>
            <a:pPr marL="0" marR="0" lvl="0" indent="0" defTabSz="948322" eaLnBrk="1" fontAlgn="base" latinLnBrk="0" hangingPunct="1">
              <a:lnSpc>
                <a:spcPct val="80000"/>
              </a:lnSpc>
              <a:spcBef>
                <a:spcPct val="0"/>
              </a:spcBef>
              <a:spcAft>
                <a:spcPts val="800"/>
              </a:spcAft>
              <a:buClrTx/>
              <a:buSzTx/>
              <a:buFontTx/>
              <a:buNone/>
              <a:tabLst/>
              <a:defRPr/>
            </a:pPr>
            <a:r>
              <a:rPr kumimoji="0" lang="en-GB" sz="800" b="0" i="0" u="none" strike="noStrike" kern="0" cap="none" spc="0" normalizeH="0" baseline="0" noProof="0">
                <a:ln>
                  <a:noFill/>
                </a:ln>
                <a:solidFill>
                  <a:srgbClr val="00A1DE"/>
                </a:solidFill>
                <a:effectLst/>
                <a:uLnTx/>
                <a:uFillTx/>
                <a:latin typeface="+mn-lt"/>
                <a:ea typeface="Open Sans Light" panose="020B0306030504020204" pitchFamily="34" charset="0"/>
                <a:cs typeface="Open Sans Light" panose="020B0306030504020204" pitchFamily="34" charset="0"/>
              </a:rPr>
              <a:t>     </a:t>
            </a:r>
          </a:p>
        </p:txBody>
      </p:sp>
      <p:sp>
        <p:nvSpPr>
          <p:cNvPr id="38" name="Rectangle 8">
            <a:extLst>
              <a:ext uri="{FF2B5EF4-FFF2-40B4-BE49-F238E27FC236}">
                <a16:creationId xmlns:a16="http://schemas.microsoft.com/office/drawing/2014/main" id="{2E413D39-49AC-F253-F163-5B71743F2F0B}"/>
              </a:ext>
            </a:extLst>
          </p:cNvPr>
          <p:cNvSpPr>
            <a:spLocks noChangeArrowheads="1"/>
          </p:cNvSpPr>
          <p:nvPr/>
        </p:nvSpPr>
        <p:spPr bwMode="auto">
          <a:xfrm>
            <a:off x="8029637" y="2729342"/>
            <a:ext cx="3566160" cy="1354283"/>
          </a:xfrm>
          <a:prstGeom prst="rect">
            <a:avLst/>
          </a:prstGeom>
          <a:solidFill>
            <a:srgbClr val="3ECA36"/>
          </a:solidFill>
          <a:ln w="25400" cap="flat" cmpd="sng" algn="ctr">
            <a:noFill/>
            <a:prstDash val="solid"/>
            <a:headEnd/>
            <a:tailEnd/>
          </a:ln>
          <a:effectLst/>
        </p:spPr>
        <p:txBody>
          <a:bodyPr lIns="90597" tIns="45301" rIns="90597" bIns="45301"/>
          <a:lstStyle/>
          <a:p>
            <a:pPr marL="188715" marR="0" lvl="0" indent="-188715" defTabSz="948322" eaLnBrk="1" fontAlgn="base" latinLnBrk="0" hangingPunct="1">
              <a:lnSpc>
                <a:spcPct val="80000"/>
              </a:lnSpc>
              <a:spcBef>
                <a:spcPct val="0"/>
              </a:spcBef>
              <a:spcAft>
                <a:spcPts val="800"/>
              </a:spcAft>
              <a:buClrTx/>
              <a:buSzTx/>
              <a:buFontTx/>
              <a:buNone/>
              <a:tabLst>
                <a:tab pos="5661591" algn="l"/>
              </a:tabLst>
              <a:defRPr/>
            </a:pPr>
            <a:r>
              <a:rPr kumimoji="0" lang="en-GB" sz="800" b="0" i="0" u="none" strike="noStrike" kern="0" cap="none" spc="0" normalizeH="0" baseline="0" noProof="0">
                <a:ln>
                  <a:noFill/>
                </a:ln>
                <a:solidFill>
                  <a:srgbClr val="00A1DE"/>
                </a:solidFill>
                <a:effectLst/>
                <a:uLnTx/>
                <a:uFillTx/>
                <a:latin typeface="+mn-lt"/>
                <a:ea typeface="Open Sans Light" panose="020B0306030504020204" pitchFamily="34" charset="0"/>
                <a:cs typeface="Open Sans Light" panose="020B0306030504020204" pitchFamily="34" charset="0"/>
              </a:rPr>
              <a:t>     </a:t>
            </a:r>
          </a:p>
        </p:txBody>
      </p:sp>
      <p:sp>
        <p:nvSpPr>
          <p:cNvPr id="39" name="AutoShape 9">
            <a:extLst>
              <a:ext uri="{FF2B5EF4-FFF2-40B4-BE49-F238E27FC236}">
                <a16:creationId xmlns:a16="http://schemas.microsoft.com/office/drawing/2014/main" id="{CFB7B9D0-4EBE-4E6B-8152-CAA49B2EE314}"/>
              </a:ext>
            </a:extLst>
          </p:cNvPr>
          <p:cNvSpPr>
            <a:spLocks noChangeArrowheads="1"/>
          </p:cNvSpPr>
          <p:nvPr/>
        </p:nvSpPr>
        <p:spPr bwMode="auto">
          <a:xfrm>
            <a:off x="9662160" y="2824157"/>
            <a:ext cx="1828800" cy="365760"/>
          </a:xfrm>
          <a:prstGeom prst="homePlate">
            <a:avLst>
              <a:gd name="adj" fmla="val 90636"/>
            </a:avLst>
          </a:prstGeom>
          <a:solidFill>
            <a:srgbClr val="FFFFFF"/>
          </a:solidFill>
          <a:ln w="6350" algn="ctr">
            <a:noFill/>
            <a:miter lim="800000"/>
            <a:headEnd type="none" w="sm" len="sm"/>
            <a:tailEnd type="none" w="sm" len="sm"/>
          </a:ln>
          <a:effectLst/>
          <a:scene3d>
            <a:camera prst="orthographicFront"/>
            <a:lightRig rig="threePt" dir="t"/>
          </a:scene3d>
          <a:sp3d>
            <a:bevelT/>
            <a:bevelB/>
          </a:sp3d>
        </p:spPr>
        <p:txBody>
          <a:bodyPr lIns="90597" tIns="90597" rIns="90597" bIns="90597" anchor="ctr"/>
          <a:lstStyle/>
          <a:p>
            <a:pPr algn="ctr" defTabSz="905859" eaLnBrk="0" hangingPunct="0">
              <a:defRPr/>
            </a:pPr>
            <a:r>
              <a:rPr lang="en-GB" sz="1100" kern="0">
                <a:solidFill>
                  <a:srgbClr val="000000"/>
                </a:solidFill>
                <a:latin typeface="+mn-lt"/>
                <a:cs typeface="Arial" charset="0"/>
              </a:rPr>
              <a:t>Accurate Deliverables</a:t>
            </a:r>
          </a:p>
          <a:p>
            <a:pPr algn="ctr" defTabSz="905859" eaLnBrk="0" hangingPunct="0">
              <a:defRPr/>
            </a:pPr>
            <a:r>
              <a:rPr lang="en-GB" sz="1100" kern="0">
                <a:solidFill>
                  <a:srgbClr val="000000"/>
                </a:solidFill>
                <a:latin typeface="+mn-lt"/>
                <a:cs typeface="Arial" charset="0"/>
              </a:rPr>
              <a:t> Meeting Expectations</a:t>
            </a:r>
          </a:p>
        </p:txBody>
      </p:sp>
      <p:sp>
        <p:nvSpPr>
          <p:cNvPr id="40" name="AutoShape 10">
            <a:extLst>
              <a:ext uri="{FF2B5EF4-FFF2-40B4-BE49-F238E27FC236}">
                <a16:creationId xmlns:a16="http://schemas.microsoft.com/office/drawing/2014/main" id="{4C1C5595-A5FE-85BD-6734-E088F9A3C1BA}"/>
              </a:ext>
            </a:extLst>
          </p:cNvPr>
          <p:cNvSpPr>
            <a:spLocks noChangeArrowheads="1"/>
          </p:cNvSpPr>
          <p:nvPr/>
        </p:nvSpPr>
        <p:spPr bwMode="auto">
          <a:xfrm>
            <a:off x="8375745" y="3316657"/>
            <a:ext cx="1828800" cy="365760"/>
          </a:xfrm>
          <a:prstGeom prst="homePlate">
            <a:avLst>
              <a:gd name="adj" fmla="val 76727"/>
            </a:avLst>
          </a:prstGeom>
          <a:solidFill>
            <a:srgbClr val="FFFFFF"/>
          </a:solidFill>
          <a:ln w="6350" algn="ctr">
            <a:noFill/>
            <a:miter lim="800000"/>
            <a:headEnd type="none" w="sm" len="sm"/>
            <a:tailEnd type="none" w="sm" len="sm"/>
          </a:ln>
          <a:effectLst/>
          <a:scene3d>
            <a:camera prst="orthographicFront"/>
            <a:lightRig rig="threePt" dir="t"/>
          </a:scene3d>
          <a:sp3d>
            <a:bevelT/>
            <a:bevelB/>
          </a:sp3d>
        </p:spPr>
        <p:txBody>
          <a:bodyPr lIns="90597" tIns="90597" rIns="90597" bIns="90597" anchor="ctr"/>
          <a:lstStyle/>
          <a:p>
            <a:pPr algn="ctr" defTabSz="905859" eaLnBrk="0" hangingPunct="0">
              <a:defRPr/>
            </a:pPr>
            <a:r>
              <a:rPr lang="en-GB" sz="1100" kern="0">
                <a:solidFill>
                  <a:srgbClr val="000000"/>
                </a:solidFill>
                <a:latin typeface="+mn-lt"/>
                <a:cs typeface="Arial" charset="0"/>
              </a:rPr>
              <a:t>Document/Report Quality Issues</a:t>
            </a:r>
          </a:p>
        </p:txBody>
      </p:sp>
      <p:sp>
        <p:nvSpPr>
          <p:cNvPr id="41" name="AutoShape 11">
            <a:extLst>
              <a:ext uri="{FF2B5EF4-FFF2-40B4-BE49-F238E27FC236}">
                <a16:creationId xmlns:a16="http://schemas.microsoft.com/office/drawing/2014/main" id="{B1A99134-B882-45F7-8647-512639B78DE4}"/>
              </a:ext>
            </a:extLst>
          </p:cNvPr>
          <p:cNvSpPr>
            <a:spLocks noChangeArrowheads="1"/>
          </p:cNvSpPr>
          <p:nvPr/>
        </p:nvSpPr>
        <p:spPr bwMode="auto">
          <a:xfrm>
            <a:off x="668542" y="3653324"/>
            <a:ext cx="1828800" cy="365760"/>
          </a:xfrm>
          <a:prstGeom prst="homePlate">
            <a:avLst>
              <a:gd name="adj" fmla="val 86916"/>
            </a:avLst>
          </a:prstGeom>
          <a:solidFill>
            <a:srgbClr val="FFFFFF"/>
          </a:solidFill>
          <a:ln w="6350" algn="ctr">
            <a:noFill/>
            <a:miter lim="800000"/>
            <a:headEnd type="none" w="sm" len="sm"/>
            <a:tailEnd type="none" w="sm" len="sm"/>
          </a:ln>
          <a:effectLst/>
          <a:scene3d>
            <a:camera prst="orthographicFront"/>
            <a:lightRig rig="threePt" dir="t"/>
          </a:scene3d>
          <a:sp3d>
            <a:bevelT/>
            <a:bevelB/>
          </a:sp3d>
        </p:spPr>
        <p:txBody>
          <a:bodyPr lIns="90597" tIns="90597" rIns="90597" bIns="90597" anchor="ctr"/>
          <a:lstStyle/>
          <a:p>
            <a:pPr algn="ctr" defTabSz="905859" eaLnBrk="0" hangingPunct="0">
              <a:defRPr/>
            </a:pPr>
            <a:r>
              <a:rPr lang="en-GB" sz="1100" kern="0">
                <a:solidFill>
                  <a:srgbClr val="000000"/>
                </a:solidFill>
                <a:latin typeface="+mn-lt"/>
                <a:cs typeface="Arial" charset="0"/>
              </a:rPr>
              <a:t>Define Client Expectations</a:t>
            </a:r>
          </a:p>
        </p:txBody>
      </p:sp>
      <p:sp>
        <p:nvSpPr>
          <p:cNvPr id="42" name="AutoShape 12">
            <a:extLst>
              <a:ext uri="{FF2B5EF4-FFF2-40B4-BE49-F238E27FC236}">
                <a16:creationId xmlns:a16="http://schemas.microsoft.com/office/drawing/2014/main" id="{2B40D0E7-2A64-CE6D-A1B4-6F0A4C130999}"/>
              </a:ext>
            </a:extLst>
          </p:cNvPr>
          <p:cNvSpPr>
            <a:spLocks noChangeArrowheads="1"/>
          </p:cNvSpPr>
          <p:nvPr/>
        </p:nvSpPr>
        <p:spPr bwMode="auto">
          <a:xfrm>
            <a:off x="1651512" y="3236479"/>
            <a:ext cx="1828800" cy="365760"/>
          </a:xfrm>
          <a:prstGeom prst="homePlate">
            <a:avLst>
              <a:gd name="adj" fmla="val 93403"/>
            </a:avLst>
          </a:prstGeom>
          <a:solidFill>
            <a:srgbClr val="FFFFFF"/>
          </a:solidFill>
          <a:ln w="6350" algn="ctr">
            <a:noFill/>
            <a:miter lim="800000"/>
            <a:headEnd type="none" w="sm" len="sm"/>
            <a:tailEnd type="none" w="sm" len="sm"/>
          </a:ln>
          <a:effectLst/>
          <a:scene3d>
            <a:camera prst="orthographicFront"/>
            <a:lightRig rig="threePt" dir="t"/>
          </a:scene3d>
          <a:sp3d>
            <a:bevelT/>
            <a:bevelB/>
          </a:sp3d>
        </p:spPr>
        <p:txBody>
          <a:bodyPr lIns="90597" tIns="90597" rIns="90597" bIns="90597" anchor="ctr"/>
          <a:lstStyle/>
          <a:p>
            <a:pPr algn="ctr" defTabSz="905859" eaLnBrk="0" hangingPunct="0">
              <a:defRPr/>
            </a:pPr>
            <a:r>
              <a:rPr lang="en-GB" sz="1100" kern="0">
                <a:solidFill>
                  <a:srgbClr val="000000"/>
                </a:solidFill>
                <a:latin typeface="+mn-lt"/>
                <a:cs typeface="Arial" charset="0"/>
              </a:rPr>
              <a:t>Communicate Quality Standards</a:t>
            </a:r>
          </a:p>
        </p:txBody>
      </p:sp>
      <p:sp>
        <p:nvSpPr>
          <p:cNvPr id="43" name="Rectangle 42">
            <a:extLst>
              <a:ext uri="{FF2B5EF4-FFF2-40B4-BE49-F238E27FC236}">
                <a16:creationId xmlns:a16="http://schemas.microsoft.com/office/drawing/2014/main" id="{60D148AD-1661-0128-790F-7598C0E4E0DF}"/>
              </a:ext>
            </a:extLst>
          </p:cNvPr>
          <p:cNvSpPr>
            <a:spLocks noChangeArrowheads="1"/>
          </p:cNvSpPr>
          <p:nvPr/>
        </p:nvSpPr>
        <p:spPr bwMode="auto">
          <a:xfrm>
            <a:off x="504763" y="4366394"/>
            <a:ext cx="3566160" cy="777240"/>
          </a:xfrm>
          <a:prstGeom prst="rect">
            <a:avLst/>
          </a:prstGeom>
          <a:solidFill>
            <a:srgbClr val="034C38"/>
          </a:solidFill>
          <a:ln w="25400" cap="flat" cmpd="sng" algn="ctr">
            <a:noFill/>
            <a:prstDash val="solid"/>
            <a:headEnd type="none" w="sm" len="sm"/>
            <a:tailEnd type="none" w="sm" len="sm"/>
          </a:ln>
          <a:effectLst/>
        </p:spPr>
        <p:txBody>
          <a:bodyPr lIns="90597" tIns="45720" rIns="90597" bIns="90597" anchor="t"/>
          <a:lstStyle/>
          <a:p>
            <a:pPr lvl="0" algn="just" defTabSz="905859">
              <a:spcBef>
                <a:spcPct val="50000"/>
              </a:spcBef>
              <a:defRPr/>
            </a:pPr>
            <a:r>
              <a:rPr kumimoji="0" lang="en-GB" sz="1100" b="0" i="0" u="none" strike="noStrike" kern="0" cap="none" spc="0" normalizeH="0" baseline="0" noProof="0" dirty="0">
                <a:ln>
                  <a:noFill/>
                </a:ln>
                <a:solidFill>
                  <a:schemeClr val="bg1"/>
                </a:solidFill>
                <a:effectLst/>
                <a:uLnTx/>
                <a:uFillTx/>
                <a:latin typeface="+mn-lt"/>
                <a:ea typeface="Open Sans Light" panose="020B0306030504020204" pitchFamily="34" charset="0"/>
                <a:cs typeface="Open Sans Light" panose="020B0306030504020204" pitchFamily="34" charset="0"/>
              </a:rPr>
              <a:t>This process identifies the quality standards that are expected  by and relevant  to </a:t>
            </a:r>
            <a:r>
              <a:rPr lang="en-US" sz="1100" b="1" dirty="0">
                <a:solidFill>
                  <a:srgbClr val="9FCA52"/>
                </a:solidFill>
                <a:latin typeface="+mn-lt"/>
                <a:ea typeface="Open Sans"/>
                <a:cs typeface="Open Sans"/>
              </a:rPr>
              <a:t>Salam</a:t>
            </a:r>
            <a:r>
              <a:rPr lang="en-US" sz="1100" b="1" kern="0" dirty="0">
                <a:solidFill>
                  <a:schemeClr val="bg1"/>
                </a:solidFill>
                <a:latin typeface="+mn-lt"/>
              </a:rPr>
              <a:t> </a:t>
            </a:r>
            <a:r>
              <a:rPr kumimoji="0" lang="en-GB" sz="1100" b="0" i="0" u="none" strike="noStrike" kern="0" cap="none" spc="0" normalizeH="0" baseline="0" noProof="0" dirty="0">
                <a:ln>
                  <a:noFill/>
                </a:ln>
                <a:solidFill>
                  <a:schemeClr val="bg1"/>
                </a:solidFill>
                <a:effectLst/>
                <a:uLnTx/>
                <a:uFillTx/>
                <a:latin typeface="+mn-lt"/>
                <a:ea typeface="Open Sans Light" panose="020B0306030504020204" pitchFamily="34" charset="0"/>
                <a:cs typeface="Open Sans Light" panose="020B0306030504020204" pitchFamily="34" charset="0"/>
              </a:rPr>
              <a:t>and determines how to fulfil them.</a:t>
            </a:r>
            <a:endParaRPr kumimoji="0" lang="en-GB" sz="1100" b="1" i="0" u="none" strike="noStrike" kern="0" cap="none" spc="0" normalizeH="0" baseline="0" noProof="0" dirty="0">
              <a:ln>
                <a:noFill/>
              </a:ln>
              <a:solidFill>
                <a:schemeClr val="bg1"/>
              </a:solidFill>
              <a:effectLst/>
              <a:uLnTx/>
              <a:uFillTx/>
              <a:latin typeface="+mn-lt"/>
              <a:ea typeface="Open Sans Light" panose="020B0306030504020204" pitchFamily="34" charset="0"/>
              <a:cs typeface="Open Sans Light" panose="020B0306030504020204" pitchFamily="34" charset="0"/>
            </a:endParaRPr>
          </a:p>
        </p:txBody>
      </p:sp>
      <p:sp>
        <p:nvSpPr>
          <p:cNvPr id="44" name="Rectangle 43">
            <a:extLst>
              <a:ext uri="{FF2B5EF4-FFF2-40B4-BE49-F238E27FC236}">
                <a16:creationId xmlns:a16="http://schemas.microsoft.com/office/drawing/2014/main" id="{BA7A9EC4-3749-D594-30A6-C46ED7A7AD31}"/>
              </a:ext>
            </a:extLst>
          </p:cNvPr>
          <p:cNvSpPr>
            <a:spLocks noChangeArrowheads="1"/>
          </p:cNvSpPr>
          <p:nvPr/>
        </p:nvSpPr>
        <p:spPr bwMode="auto">
          <a:xfrm>
            <a:off x="4267200" y="4376581"/>
            <a:ext cx="3566160" cy="777062"/>
          </a:xfrm>
          <a:prstGeom prst="rect">
            <a:avLst/>
          </a:prstGeom>
          <a:solidFill>
            <a:srgbClr val="208F36"/>
          </a:solidFill>
          <a:ln w="25400" cap="flat" cmpd="sng" algn="ctr">
            <a:noFill/>
            <a:prstDash val="solid"/>
            <a:headEnd type="none" w="sm" len="sm"/>
            <a:tailEnd type="none" w="sm" len="sm"/>
          </a:ln>
          <a:effectLst/>
        </p:spPr>
        <p:txBody>
          <a:bodyPr lIns="90597" tIns="45720" rIns="90597" bIns="90597" anchor="t"/>
          <a:lstStyle/>
          <a:p>
            <a:pPr marL="0" marR="0" lvl="0" indent="0" algn="just" defTabSz="905859" eaLnBrk="1" fontAlgn="auto" latinLnBrk="0" hangingPunct="1">
              <a:lnSpc>
                <a:spcPct val="100000"/>
              </a:lnSpc>
              <a:spcBef>
                <a:spcPct val="50000"/>
              </a:spcBef>
              <a:spcAft>
                <a:spcPts val="0"/>
              </a:spcAft>
              <a:buClrTx/>
              <a:buSzTx/>
              <a:buFontTx/>
              <a:buNone/>
              <a:tabLst/>
              <a:defRPr/>
            </a:pPr>
            <a:r>
              <a:rPr kumimoji="0" lang="en-GB" sz="1100" b="0" i="0" u="none" strike="noStrike" kern="0" cap="none" spc="0" normalizeH="0" baseline="0" noProof="0" dirty="0">
                <a:ln>
                  <a:noFill/>
                </a:ln>
                <a:solidFill>
                  <a:srgbClr val="FFFFFF"/>
                </a:solidFill>
                <a:effectLst/>
                <a:uLnTx/>
                <a:uFillTx/>
                <a:latin typeface="+mn-lt"/>
                <a:ea typeface="Open Sans Light" panose="020B0306030504020204" pitchFamily="34" charset="0"/>
                <a:cs typeface="Open Sans Light" panose="020B0306030504020204" pitchFamily="34" charset="0"/>
              </a:rPr>
              <a:t>This process focuses on each deliverable meeting relevant quality standards; and is accomplished through peer reviews, client reviews, and product reviews.</a:t>
            </a:r>
          </a:p>
        </p:txBody>
      </p:sp>
      <p:sp>
        <p:nvSpPr>
          <p:cNvPr id="45" name="Rectangle 44">
            <a:extLst>
              <a:ext uri="{FF2B5EF4-FFF2-40B4-BE49-F238E27FC236}">
                <a16:creationId xmlns:a16="http://schemas.microsoft.com/office/drawing/2014/main" id="{60AA774A-DBCD-FA2C-C4AC-F2043FAA9299}"/>
              </a:ext>
            </a:extLst>
          </p:cNvPr>
          <p:cNvSpPr>
            <a:spLocks noChangeArrowheads="1"/>
          </p:cNvSpPr>
          <p:nvPr/>
        </p:nvSpPr>
        <p:spPr bwMode="auto">
          <a:xfrm>
            <a:off x="8029637" y="4357250"/>
            <a:ext cx="3566160" cy="786205"/>
          </a:xfrm>
          <a:prstGeom prst="rect">
            <a:avLst/>
          </a:prstGeom>
          <a:solidFill>
            <a:srgbClr val="3ECA36"/>
          </a:solidFill>
          <a:ln w="25400" cap="flat" cmpd="sng" algn="ctr">
            <a:noFill/>
            <a:prstDash val="solid"/>
            <a:headEnd type="none" w="sm" len="sm"/>
            <a:tailEnd type="none" w="sm" len="sm"/>
          </a:ln>
          <a:effectLst/>
        </p:spPr>
        <p:txBody>
          <a:bodyPr lIns="90597" tIns="45720" rIns="90597" bIns="90597" anchor="t"/>
          <a:lstStyle/>
          <a:p>
            <a:pPr lvl="0" algn="just" defTabSz="905859">
              <a:spcBef>
                <a:spcPct val="50000"/>
              </a:spcBef>
              <a:defRPr/>
            </a:pPr>
            <a:r>
              <a:rPr kumimoji="0" lang="en-GB" sz="1100" b="0" i="0" u="none" strike="noStrike" kern="0" cap="none" spc="0" normalizeH="0" baseline="0" noProof="0" dirty="0">
                <a:ln>
                  <a:noFill/>
                </a:ln>
                <a:solidFill>
                  <a:schemeClr val="bg1"/>
                </a:solidFill>
                <a:effectLst/>
                <a:uLnTx/>
                <a:uFillTx/>
                <a:latin typeface="+mn-lt"/>
              </a:rPr>
              <a:t>This process monitors and manages quality issues so that compliance is maintained, including objective reports of quality issues to Deloitte leadership and </a:t>
            </a:r>
            <a:r>
              <a:rPr lang="en-US" sz="1100" b="1" dirty="0">
                <a:solidFill>
                  <a:schemeClr val="bg1"/>
                </a:solidFill>
                <a:latin typeface="+mn-lt"/>
                <a:ea typeface="Open Sans"/>
                <a:cs typeface="Open Sans"/>
              </a:rPr>
              <a:t>Salam</a:t>
            </a:r>
            <a:r>
              <a:rPr lang="en-US" sz="1100" b="1" kern="0" dirty="0">
                <a:solidFill>
                  <a:schemeClr val="bg1"/>
                </a:solidFill>
                <a:latin typeface="+mn-lt"/>
              </a:rPr>
              <a:t>.</a:t>
            </a:r>
            <a:endParaRPr kumimoji="0" lang="en-GB" sz="1100" b="1" i="0" u="none" strike="noStrike" kern="0" cap="none" spc="0" normalizeH="0" baseline="0" noProof="0" dirty="0">
              <a:ln>
                <a:noFill/>
              </a:ln>
              <a:solidFill>
                <a:schemeClr val="bg1"/>
              </a:solidFill>
              <a:effectLst/>
              <a:uLnTx/>
              <a:uFillTx/>
              <a:latin typeface="+mn-lt"/>
            </a:endParaRPr>
          </a:p>
        </p:txBody>
      </p:sp>
      <p:sp>
        <p:nvSpPr>
          <p:cNvPr id="46" name="AutoShape 19">
            <a:extLst>
              <a:ext uri="{FF2B5EF4-FFF2-40B4-BE49-F238E27FC236}">
                <a16:creationId xmlns:a16="http://schemas.microsoft.com/office/drawing/2014/main" id="{B478C9EA-8A22-4ADF-17CC-1DCD4C2103D6}"/>
              </a:ext>
            </a:extLst>
          </p:cNvPr>
          <p:cNvSpPr>
            <a:spLocks noChangeArrowheads="1"/>
          </p:cNvSpPr>
          <p:nvPr/>
        </p:nvSpPr>
        <p:spPr bwMode="auto">
          <a:xfrm>
            <a:off x="5423835" y="3234989"/>
            <a:ext cx="1828800" cy="365760"/>
          </a:xfrm>
          <a:prstGeom prst="homePlate">
            <a:avLst>
              <a:gd name="adj" fmla="val 106044"/>
            </a:avLst>
          </a:prstGeom>
          <a:solidFill>
            <a:srgbClr val="FFFFFF"/>
          </a:solidFill>
          <a:ln w="6350" algn="ctr">
            <a:noFill/>
            <a:miter lim="800000"/>
            <a:headEnd type="none" w="sm" len="sm"/>
            <a:tailEnd type="none" w="sm" len="sm"/>
          </a:ln>
          <a:effectLst/>
          <a:scene3d>
            <a:camera prst="orthographicFront"/>
            <a:lightRig rig="threePt" dir="t"/>
          </a:scene3d>
          <a:sp3d>
            <a:bevelT/>
            <a:bevelB/>
          </a:sp3d>
        </p:spPr>
        <p:txBody>
          <a:bodyPr lIns="90597" tIns="90597" rIns="90597" bIns="90597" anchor="ctr"/>
          <a:lstStyle/>
          <a:p>
            <a:pPr algn="ctr" defTabSz="905859" eaLnBrk="0" hangingPunct="0">
              <a:defRPr/>
            </a:pPr>
            <a:r>
              <a:rPr lang="en-GB" sz="1100" kern="0">
                <a:solidFill>
                  <a:srgbClr val="000000"/>
                </a:solidFill>
                <a:latin typeface="+mn-lt"/>
                <a:cs typeface="Arial" charset="0"/>
              </a:rPr>
              <a:t>Quality Reporting</a:t>
            </a:r>
          </a:p>
        </p:txBody>
      </p:sp>
      <p:sp>
        <p:nvSpPr>
          <p:cNvPr id="47" name="AutoShape 20">
            <a:extLst>
              <a:ext uri="{FF2B5EF4-FFF2-40B4-BE49-F238E27FC236}">
                <a16:creationId xmlns:a16="http://schemas.microsoft.com/office/drawing/2014/main" id="{DE57D1B7-E8DE-BB19-1641-D9B89174FFB4}"/>
              </a:ext>
            </a:extLst>
          </p:cNvPr>
          <p:cNvSpPr>
            <a:spLocks noChangeArrowheads="1"/>
          </p:cNvSpPr>
          <p:nvPr/>
        </p:nvSpPr>
        <p:spPr bwMode="auto">
          <a:xfrm>
            <a:off x="4652007" y="3671649"/>
            <a:ext cx="1828800" cy="365760"/>
          </a:xfrm>
          <a:prstGeom prst="homePlate">
            <a:avLst>
              <a:gd name="adj" fmla="val 82981"/>
            </a:avLst>
          </a:prstGeom>
          <a:solidFill>
            <a:srgbClr val="FFFFFF"/>
          </a:solidFill>
          <a:ln w="6350" algn="ctr">
            <a:noFill/>
            <a:miter lim="800000"/>
            <a:headEnd type="none" w="sm" len="sm"/>
            <a:tailEnd type="none" w="sm" len="sm"/>
          </a:ln>
          <a:effectLst/>
          <a:scene3d>
            <a:camera prst="orthographicFront"/>
            <a:lightRig rig="threePt" dir="t"/>
          </a:scene3d>
          <a:sp3d>
            <a:bevelT/>
            <a:bevelB/>
          </a:sp3d>
        </p:spPr>
        <p:txBody>
          <a:bodyPr lIns="90597" tIns="90597" rIns="90597" bIns="90597" anchor="ctr"/>
          <a:lstStyle/>
          <a:p>
            <a:pPr algn="ctr" defTabSz="905859" eaLnBrk="0" hangingPunct="0">
              <a:defRPr/>
            </a:pPr>
            <a:r>
              <a:rPr lang="en-GB" sz="1100" kern="0">
                <a:solidFill>
                  <a:srgbClr val="000000"/>
                </a:solidFill>
                <a:latin typeface="+mn-lt"/>
                <a:cs typeface="Arial" charset="0"/>
              </a:rPr>
              <a:t>Deliverable Review Process</a:t>
            </a:r>
          </a:p>
        </p:txBody>
      </p:sp>
      <p:sp>
        <p:nvSpPr>
          <p:cNvPr id="48" name="AutoShape 21">
            <a:extLst>
              <a:ext uri="{FF2B5EF4-FFF2-40B4-BE49-F238E27FC236}">
                <a16:creationId xmlns:a16="http://schemas.microsoft.com/office/drawing/2014/main" id="{56159F65-052E-3F92-D2A8-C8DE36797E44}"/>
              </a:ext>
            </a:extLst>
          </p:cNvPr>
          <p:cNvSpPr>
            <a:spLocks noChangeArrowheads="1"/>
          </p:cNvSpPr>
          <p:nvPr/>
        </p:nvSpPr>
        <p:spPr bwMode="auto">
          <a:xfrm>
            <a:off x="5926041" y="2824157"/>
            <a:ext cx="1828800" cy="365760"/>
          </a:xfrm>
          <a:prstGeom prst="homePlate">
            <a:avLst>
              <a:gd name="adj" fmla="val 73646"/>
            </a:avLst>
          </a:prstGeom>
          <a:solidFill>
            <a:srgbClr val="FFFFFF"/>
          </a:solidFill>
          <a:ln w="6350" algn="ctr">
            <a:noFill/>
            <a:miter lim="800000"/>
            <a:headEnd type="none" w="sm" len="sm"/>
            <a:tailEnd type="none" w="sm" len="sm"/>
          </a:ln>
          <a:effectLst/>
          <a:scene3d>
            <a:camera prst="orthographicFront"/>
            <a:lightRig rig="threePt" dir="t"/>
          </a:scene3d>
          <a:sp3d>
            <a:bevelT/>
            <a:bevelB/>
          </a:sp3d>
        </p:spPr>
        <p:txBody>
          <a:bodyPr lIns="90597" tIns="90597" rIns="90597" bIns="90597" anchor="ctr"/>
          <a:lstStyle/>
          <a:p>
            <a:pPr algn="ctr" defTabSz="905859" eaLnBrk="0" hangingPunct="0">
              <a:defRPr/>
            </a:pPr>
            <a:r>
              <a:rPr lang="en-GB" sz="1100" kern="0">
                <a:solidFill>
                  <a:srgbClr val="000000"/>
                </a:solidFill>
                <a:latin typeface="+mn-lt"/>
                <a:cs typeface="Arial" charset="0"/>
              </a:rPr>
              <a:t>Stakeholder Feedback</a:t>
            </a:r>
          </a:p>
        </p:txBody>
      </p:sp>
      <p:cxnSp>
        <p:nvCxnSpPr>
          <p:cNvPr id="49" name="AutoShape 14">
            <a:extLst>
              <a:ext uri="{FF2B5EF4-FFF2-40B4-BE49-F238E27FC236}">
                <a16:creationId xmlns:a16="http://schemas.microsoft.com/office/drawing/2014/main" id="{0D4ABC98-A504-50E7-2FB5-5ED49EED33B7}"/>
              </a:ext>
            </a:extLst>
          </p:cNvPr>
          <p:cNvCxnSpPr>
            <a:cxnSpLocks noChangeShapeType="1"/>
          </p:cNvCxnSpPr>
          <p:nvPr/>
        </p:nvCxnSpPr>
        <p:spPr bwMode="auto">
          <a:xfrm>
            <a:off x="7833360" y="2985975"/>
            <a:ext cx="549592" cy="499446"/>
          </a:xfrm>
          <a:prstGeom prst="bentConnector3">
            <a:avLst>
              <a:gd name="adj1" fmla="val 16460"/>
            </a:avLst>
          </a:prstGeom>
          <a:noFill/>
          <a:ln w="38100">
            <a:solidFill>
              <a:schemeClr val="tx1">
                <a:lumMod val="50000"/>
                <a:lumOff val="50000"/>
              </a:schemeClr>
            </a:solidFill>
            <a:round/>
            <a:headEnd/>
            <a:tailEnd type="triangle" w="med" len="med"/>
          </a:ln>
        </p:spPr>
      </p:cxnSp>
      <p:sp>
        <p:nvSpPr>
          <p:cNvPr id="50" name="AutoShape 13">
            <a:extLst>
              <a:ext uri="{FF2B5EF4-FFF2-40B4-BE49-F238E27FC236}">
                <a16:creationId xmlns:a16="http://schemas.microsoft.com/office/drawing/2014/main" id="{47111B73-8CA5-662F-02B4-17CFE19A4358}"/>
              </a:ext>
            </a:extLst>
          </p:cNvPr>
          <p:cNvSpPr>
            <a:spLocks noChangeArrowheads="1"/>
          </p:cNvSpPr>
          <p:nvPr/>
        </p:nvSpPr>
        <p:spPr bwMode="auto">
          <a:xfrm>
            <a:off x="2196165" y="2830000"/>
            <a:ext cx="1828800" cy="365760"/>
          </a:xfrm>
          <a:prstGeom prst="homePlate">
            <a:avLst>
              <a:gd name="adj" fmla="val 107328"/>
            </a:avLst>
          </a:prstGeom>
          <a:solidFill>
            <a:srgbClr val="FFFFFF"/>
          </a:solidFill>
          <a:ln w="6350" algn="ctr">
            <a:noFill/>
            <a:miter lim="800000"/>
            <a:headEnd type="none" w="sm" len="sm"/>
            <a:tailEnd type="none" w="sm" len="sm"/>
          </a:ln>
          <a:effectLst/>
          <a:scene3d>
            <a:camera prst="orthographicFront"/>
            <a:lightRig rig="threePt" dir="t"/>
          </a:scene3d>
          <a:sp3d>
            <a:bevelT/>
            <a:bevelB/>
          </a:sp3d>
        </p:spPr>
        <p:txBody>
          <a:bodyPr lIns="90597" tIns="90597" rIns="90597" bIns="90597" anchor="ctr"/>
          <a:lstStyle/>
          <a:p>
            <a:pPr algn="ctr" defTabSz="905859" eaLnBrk="0" hangingPunct="0">
              <a:defRPr/>
            </a:pPr>
            <a:r>
              <a:rPr lang="en-GB" sz="1100" kern="0" dirty="0">
                <a:solidFill>
                  <a:srgbClr val="000000"/>
                </a:solidFill>
                <a:latin typeface="+mn-lt"/>
                <a:cs typeface="Arial" charset="0"/>
              </a:rPr>
              <a:t>Establish Templates and Procedures</a:t>
            </a:r>
          </a:p>
        </p:txBody>
      </p:sp>
      <p:cxnSp>
        <p:nvCxnSpPr>
          <p:cNvPr id="51" name="AutoShape 14">
            <a:extLst>
              <a:ext uri="{FF2B5EF4-FFF2-40B4-BE49-F238E27FC236}">
                <a16:creationId xmlns:a16="http://schemas.microsoft.com/office/drawing/2014/main" id="{AED6C678-64F6-10D3-FB4C-565FC6E04054}"/>
              </a:ext>
            </a:extLst>
          </p:cNvPr>
          <p:cNvCxnSpPr>
            <a:cxnSpLocks noChangeShapeType="1"/>
          </p:cNvCxnSpPr>
          <p:nvPr/>
        </p:nvCxnSpPr>
        <p:spPr bwMode="auto">
          <a:xfrm>
            <a:off x="4068270" y="3007037"/>
            <a:ext cx="586032" cy="863194"/>
          </a:xfrm>
          <a:prstGeom prst="bentConnector3">
            <a:avLst>
              <a:gd name="adj1" fmla="val 17016"/>
            </a:avLst>
          </a:prstGeom>
          <a:noFill/>
          <a:ln w="38100">
            <a:solidFill>
              <a:schemeClr val="tx1">
                <a:lumMod val="50000"/>
                <a:lumOff val="50000"/>
              </a:schemeClr>
            </a:solidFill>
            <a:round/>
            <a:headEnd/>
            <a:tailEnd type="triangle" w="med" len="med"/>
          </a:ln>
        </p:spPr>
      </p:cxnSp>
      <p:sp>
        <p:nvSpPr>
          <p:cNvPr id="52" name="Content Placeholder 10">
            <a:extLst>
              <a:ext uri="{FF2B5EF4-FFF2-40B4-BE49-F238E27FC236}">
                <a16:creationId xmlns:a16="http://schemas.microsoft.com/office/drawing/2014/main" id="{A264C1D1-7A5E-CD29-D991-701CE8F810FA}"/>
              </a:ext>
            </a:extLst>
          </p:cNvPr>
          <p:cNvSpPr txBox="1">
            <a:spLocks/>
          </p:cNvSpPr>
          <p:nvPr/>
        </p:nvSpPr>
        <p:spPr>
          <a:xfrm>
            <a:off x="433077" y="5406515"/>
            <a:ext cx="11289997" cy="1179480"/>
          </a:xfrm>
          <a:prstGeom prst="rect">
            <a:avLst/>
          </a:prstGeom>
          <a:noFill/>
        </p:spPr>
        <p:txBody>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just" defTabSz="1216733" rtl="0" eaLnBrk="1" fontAlgn="auto" latinLnBrk="0" hangingPunct="1">
              <a:lnSpc>
                <a:spcPct val="107000"/>
              </a:lnSpc>
              <a:spcBef>
                <a:spcPts val="200"/>
              </a:spcBef>
              <a:spcAft>
                <a:spcPts val="60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Times New Roman" panose="02020603050405020304" pitchFamily="18" charset="0"/>
                <a:cs typeface="Open Sans Light" panose="020B0306030504020204" pitchFamily="34" charset="0"/>
              </a:rPr>
              <a:t>The Quality Control Plan depicted above has been designed to manage the quality of work through-out the duration of the engagement. The Quality Control Plan is based on a Quality Control framework that has been established by DTT member firms, refined through years of implementation, and has been successfully used by Deloitte professionals on large public and private sector engagements.  This Quality Control Plan includes items specific to the needs with the ultimate goal of producing uniform, clear, concise, deliverables and work products of the highest possible quality throughout our length of service to </a:t>
            </a:r>
            <a:r>
              <a:rPr lang="en-US" sz="1100" b="1" dirty="0">
                <a:solidFill>
                  <a:srgbClr val="9FCA52"/>
                </a:solidFill>
                <a:ea typeface="Open Sans"/>
                <a:cs typeface="Open Sans"/>
              </a:rPr>
              <a:t>Salam</a:t>
            </a:r>
            <a:r>
              <a:rPr lang="en-US" sz="1100" b="1" dirty="0">
                <a:solidFill>
                  <a:schemeClr val="tx2">
                    <a:lumMod val="50000"/>
                  </a:schemeClr>
                </a:solidFill>
                <a:ea typeface="Open Sans"/>
                <a:cs typeface="Open Sans"/>
              </a:rPr>
              <a:t>.</a:t>
            </a:r>
            <a:r>
              <a:rPr lang="en-US" sz="1100" dirty="0">
                <a:ea typeface="Open Sans"/>
                <a:cs typeface="Open Sans"/>
              </a:rPr>
              <a:t>.</a:t>
            </a:r>
          </a:p>
          <a:p>
            <a:pPr marL="0" marR="0" lvl="0" indent="0" algn="just" defTabSz="914400" rtl="0" eaLnBrk="1" fontAlgn="auto" latinLnBrk="0" hangingPunct="1">
              <a:lnSpc>
                <a:spcPct val="100000"/>
              </a:lnSpc>
              <a:spcBef>
                <a:spcPts val="0"/>
              </a:spcBef>
              <a:spcAft>
                <a:spcPts val="1000"/>
              </a:spcAft>
              <a:buClrTx/>
              <a:buSzPct val="100000"/>
              <a:buFontTx/>
              <a:buNone/>
              <a:tabLst/>
              <a:defRPr/>
            </a:pPr>
            <a:endParaRPr kumimoji="0" lang="en-US" sz="1100" b="0" i="0" u="none" strike="noStrike" kern="1200" cap="none" spc="0" normalizeH="0" baseline="0" noProof="0" dirty="0">
              <a:ln>
                <a:noFill/>
              </a:ln>
              <a:solidFill>
                <a:prstClr val="black"/>
              </a:solidFill>
              <a:effectLst/>
              <a:uLnTx/>
              <a:uFillTx/>
              <a:ea typeface="Open Sans Light" panose="020B0306030504020204" pitchFamily="34" charset="0"/>
              <a:cs typeface="Open Sans Light" panose="020B0306030504020204" pitchFamily="34" charset="0"/>
            </a:endParaRPr>
          </a:p>
        </p:txBody>
      </p:sp>
      <p:sp>
        <p:nvSpPr>
          <p:cNvPr id="2" name="Title 1">
            <a:extLst>
              <a:ext uri="{FF2B5EF4-FFF2-40B4-BE49-F238E27FC236}">
                <a16:creationId xmlns:a16="http://schemas.microsoft.com/office/drawing/2014/main" id="{555FB515-BF19-5150-21EE-C86D59A094CC}"/>
              </a:ext>
            </a:extLst>
          </p:cNvPr>
          <p:cNvSpPr txBox="1">
            <a:spLocks/>
          </p:cNvSpPr>
          <p:nvPr/>
        </p:nvSpPr>
        <p:spPr>
          <a:xfrm>
            <a:off x="411480" y="402587"/>
            <a:ext cx="11252200" cy="334102"/>
          </a:xfrm>
          <a:prstGeom prst="rect">
            <a:avLst/>
          </a:prstGeom>
        </p:spPr>
        <p:txBody>
          <a:bodyPr vert="horz" wrap="square" lIns="0" tIns="0" rIns="0" bIns="0" rtlCol="0" anchor="t" anchorCtr="0">
            <a:noAutofit/>
          </a:bodyPr>
          <a:lstStyle>
            <a:lvl1pPr>
              <a:defRPr sz="2400" b="0" i="0">
                <a:solidFill>
                  <a:srgbClr val="86BC25"/>
                </a:solidFill>
                <a:latin typeface="Calibri" panose="020F0502020204030204" pitchFamily="34" charset="0"/>
                <a:ea typeface="Verdana" panose="020B0604030504040204" pitchFamily="34" charset="0"/>
                <a:cs typeface="Calibri" panose="020F0502020204030204" pitchFamily="34" charset="0"/>
              </a:defRPr>
            </a:lvl1pPr>
          </a:lstStyle>
          <a:p>
            <a:pPr hangingPunct="1">
              <a:spcBef>
                <a:spcPct val="0"/>
              </a:spcBef>
              <a:defRPr/>
            </a:pPr>
            <a:r>
              <a:rPr lang="en-US" sz="2000" dirty="0">
                <a:solidFill>
                  <a:schemeClr val="tx2">
                    <a:lumMod val="50000"/>
                  </a:schemeClr>
                </a:solidFill>
                <a:latin typeface="+mn-lt"/>
                <a:ea typeface="Open Sans Semibold" panose="020B0706030804020204" pitchFamily="34" charset="0"/>
                <a:cs typeface="Open Sans Semibold" panose="020B0706030804020204" pitchFamily="34" charset="0"/>
              </a:rPr>
              <a:t>Approach and Methodology</a:t>
            </a:r>
          </a:p>
        </p:txBody>
      </p:sp>
    </p:spTree>
    <p:extLst>
      <p:ext uri="{BB962C8B-B14F-4D97-AF65-F5344CB8AC3E}">
        <p14:creationId xmlns:p14="http://schemas.microsoft.com/office/powerpoint/2010/main" val="256600027"/>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Process 1">
            <a:extLst>
              <a:ext uri="{FF2B5EF4-FFF2-40B4-BE49-F238E27FC236}">
                <a16:creationId xmlns:a16="http://schemas.microsoft.com/office/drawing/2014/main" id="{4A8064BF-58E7-A5AE-4DE8-C4AF052E0F99}"/>
              </a:ext>
            </a:extLst>
          </p:cNvPr>
          <p:cNvSpPr/>
          <p:nvPr/>
        </p:nvSpPr>
        <p:spPr bwMode="gray">
          <a:xfrm>
            <a:off x="7337040" y="2018974"/>
            <a:ext cx="4226294" cy="4447309"/>
          </a:xfrm>
          <a:prstGeom prst="flowChartProcess">
            <a:avLst/>
          </a:prstGeom>
          <a:noFill/>
          <a:ln w="3810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a:solidFill>
                <a:schemeClr val="accent2"/>
              </a:solidFill>
            </a:endParaRPr>
          </a:p>
        </p:txBody>
      </p:sp>
      <p:pic>
        <p:nvPicPr>
          <p:cNvPr id="86" name="Picture 85">
            <a:extLst>
              <a:ext uri="{FF2B5EF4-FFF2-40B4-BE49-F238E27FC236}">
                <a16:creationId xmlns:a16="http://schemas.microsoft.com/office/drawing/2014/main" id="{21C439A3-B122-CC18-F43D-10EB1C11B870}"/>
              </a:ext>
            </a:extLst>
          </p:cNvPr>
          <p:cNvPicPr>
            <a:picLocks noChangeAspect="1"/>
          </p:cNvPicPr>
          <p:nvPr/>
        </p:nvPicPr>
        <p:blipFill>
          <a:blip r:embed="rId2"/>
          <a:stretch>
            <a:fillRect/>
          </a:stretch>
        </p:blipFill>
        <p:spPr>
          <a:xfrm>
            <a:off x="8391524" y="4125642"/>
            <a:ext cx="2581275" cy="1965530"/>
          </a:xfrm>
          <a:prstGeom prst="rect">
            <a:avLst/>
          </a:prstGeom>
        </p:spPr>
      </p:pic>
      <p:sp>
        <p:nvSpPr>
          <p:cNvPr id="7" name="Rectangle 6">
            <a:extLst>
              <a:ext uri="{FF2B5EF4-FFF2-40B4-BE49-F238E27FC236}">
                <a16:creationId xmlns:a16="http://schemas.microsoft.com/office/drawing/2014/main" id="{3562BEBD-DC7A-1E81-5D8C-B3B825C316BB}"/>
              </a:ext>
            </a:extLst>
          </p:cNvPr>
          <p:cNvSpPr/>
          <p:nvPr/>
        </p:nvSpPr>
        <p:spPr bwMode="gray">
          <a:xfrm>
            <a:off x="381970" y="1784252"/>
            <a:ext cx="11599333" cy="4834428"/>
          </a:xfrm>
          <a:prstGeom prst="rect">
            <a:avLst/>
          </a:prstGeom>
          <a:noFill/>
          <a:ln w="19050" algn="ctr">
            <a:solidFill>
              <a:schemeClr val="accent2"/>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latin typeface="Open Sans ExtraBold" panose="020F0502020204030204" pitchFamily="34" charset="0"/>
              <a:ea typeface="Open Sans ExtraBold" panose="020F0502020204030204" pitchFamily="34" charset="0"/>
              <a:cs typeface="Open Sans ExtraBold" panose="020F0502020204030204" pitchFamily="34" charset="0"/>
            </a:endParaRPr>
          </a:p>
        </p:txBody>
      </p:sp>
      <p:sp>
        <p:nvSpPr>
          <p:cNvPr id="10" name="TextBox 9">
            <a:extLst>
              <a:ext uri="{FF2B5EF4-FFF2-40B4-BE49-F238E27FC236}">
                <a16:creationId xmlns:a16="http://schemas.microsoft.com/office/drawing/2014/main" id="{751AC597-BB38-BC25-9EF9-F8F4807FCE7D}"/>
              </a:ext>
            </a:extLst>
          </p:cNvPr>
          <p:cNvSpPr txBox="1"/>
          <p:nvPr/>
        </p:nvSpPr>
        <p:spPr>
          <a:xfrm>
            <a:off x="3132509" y="1647820"/>
            <a:ext cx="1542233" cy="246221"/>
          </a:xfrm>
          <a:prstGeom prst="rect">
            <a:avLst/>
          </a:prstGeom>
          <a:solidFill>
            <a:schemeClr val="bg1"/>
          </a:solidFill>
          <a:ln>
            <a:solidFill>
              <a:schemeClr val="accent2"/>
            </a:solidFill>
          </a:ln>
        </p:spPr>
        <p:txBody>
          <a:bodyPr wrap="square" lIns="0" tIns="0" rIns="0" bIns="0" rtlCol="0">
            <a:spAutoFit/>
          </a:bodyPr>
          <a:lstStyle/>
          <a:p>
            <a:pPr algn="ctr">
              <a:spcBef>
                <a:spcPts val="600"/>
              </a:spcBef>
              <a:buSzPct val="100000"/>
            </a:pPr>
            <a:r>
              <a:rPr lang="en-US" sz="1600" b="1" dirty="0">
                <a:solidFill>
                  <a:schemeClr val="accent2"/>
                </a:solidFill>
                <a:latin typeface="+mn-lt"/>
              </a:rPr>
              <a:t>Key Activities</a:t>
            </a:r>
            <a:endParaRPr lang="en-AE" sz="1600" b="1" dirty="0">
              <a:solidFill>
                <a:schemeClr val="accent2"/>
              </a:solidFill>
              <a:latin typeface="+mn-lt"/>
            </a:endParaRPr>
          </a:p>
        </p:txBody>
      </p:sp>
      <p:sp>
        <p:nvSpPr>
          <p:cNvPr id="11" name="TextBox 10">
            <a:extLst>
              <a:ext uri="{FF2B5EF4-FFF2-40B4-BE49-F238E27FC236}">
                <a16:creationId xmlns:a16="http://schemas.microsoft.com/office/drawing/2014/main" id="{6A4C7360-545B-6F1A-5DB0-1975FA14A3A3}"/>
              </a:ext>
            </a:extLst>
          </p:cNvPr>
          <p:cNvSpPr txBox="1"/>
          <p:nvPr/>
        </p:nvSpPr>
        <p:spPr>
          <a:xfrm rot="5400000">
            <a:off x="11456364" y="3983555"/>
            <a:ext cx="1051570" cy="246221"/>
          </a:xfrm>
          <a:prstGeom prst="rect">
            <a:avLst/>
          </a:prstGeom>
          <a:solidFill>
            <a:schemeClr val="bg1"/>
          </a:solidFill>
          <a:ln>
            <a:solidFill>
              <a:schemeClr val="accent2"/>
            </a:solidFill>
          </a:ln>
        </p:spPr>
        <p:txBody>
          <a:bodyPr wrap="none" lIns="0" tIns="0" rIns="0" bIns="0" rtlCol="0">
            <a:spAutoFit/>
          </a:bodyPr>
          <a:lstStyle/>
          <a:p>
            <a:pPr algn="ctr">
              <a:spcBef>
                <a:spcPts val="600"/>
              </a:spcBef>
              <a:buSzPct val="100000"/>
            </a:pPr>
            <a:r>
              <a:rPr lang="en-US" sz="1600" b="1" dirty="0">
                <a:solidFill>
                  <a:schemeClr val="accent2"/>
                </a:solidFill>
                <a:latin typeface="+mn-lt"/>
              </a:rPr>
              <a:t>Deliverables</a:t>
            </a:r>
            <a:endParaRPr lang="en-AE" sz="1600" b="1" dirty="0">
              <a:solidFill>
                <a:schemeClr val="accent2"/>
              </a:solidFill>
              <a:latin typeface="+mn-lt"/>
            </a:endParaRPr>
          </a:p>
        </p:txBody>
      </p:sp>
      <p:pic>
        <p:nvPicPr>
          <p:cNvPr id="12" name="Picture 11">
            <a:extLst>
              <a:ext uri="{FF2B5EF4-FFF2-40B4-BE49-F238E27FC236}">
                <a16:creationId xmlns:a16="http://schemas.microsoft.com/office/drawing/2014/main" id="{7F762C35-E62D-406D-AE93-6B995A56945C}"/>
              </a:ext>
            </a:extLst>
          </p:cNvPr>
          <p:cNvPicPr>
            <a:picLocks noChangeAspect="1"/>
          </p:cNvPicPr>
          <p:nvPr/>
        </p:nvPicPr>
        <p:blipFill>
          <a:blip r:embed="rId3"/>
          <a:stretch>
            <a:fillRect/>
          </a:stretch>
        </p:blipFill>
        <p:spPr>
          <a:xfrm>
            <a:off x="9185616" y="1535515"/>
            <a:ext cx="733646" cy="733646"/>
          </a:xfrm>
          <a:prstGeom prst="rect">
            <a:avLst/>
          </a:prstGeom>
        </p:spPr>
      </p:pic>
      <p:sp>
        <p:nvSpPr>
          <p:cNvPr id="14" name="TextBox 13">
            <a:extLst>
              <a:ext uri="{FF2B5EF4-FFF2-40B4-BE49-F238E27FC236}">
                <a16:creationId xmlns:a16="http://schemas.microsoft.com/office/drawing/2014/main" id="{922B792C-16FA-517B-DB65-2F5DBA64C44C}"/>
              </a:ext>
            </a:extLst>
          </p:cNvPr>
          <p:cNvSpPr txBox="1"/>
          <p:nvPr/>
        </p:nvSpPr>
        <p:spPr>
          <a:xfrm>
            <a:off x="628665" y="2228374"/>
            <a:ext cx="6290405" cy="16035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just">
              <a:lnSpc>
                <a:spcPct val="120000"/>
              </a:lnSpc>
              <a:spcAft>
                <a:spcPts val="600"/>
              </a:spcAft>
              <a:buSzPct val="100000"/>
              <a:buFont typeface="Wingdings" panose="05000000000000000000" pitchFamily="2" charset="2"/>
              <a:defRPr sz="1600">
                <a:solidFill>
                  <a:schemeClr val="tx2"/>
                </a:solidFill>
                <a:latin typeface="+mn-lt"/>
              </a:defRPr>
            </a:lvl1pPr>
          </a:lstStyle>
          <a:p>
            <a:r>
              <a:rPr lang="en-US" sz="1100" kern="1200" dirty="0">
                <a:solidFill>
                  <a:prstClr val="black"/>
                </a:solidFill>
                <a:ea typeface="Verdana" panose="020B0604030504040204" pitchFamily="34" charset="0"/>
                <a:cs typeface="Open Sans Light" panose="020B0306030504020204" pitchFamily="34" charset="0"/>
              </a:rPr>
              <a:t>As part of Phase 1, Deloitte will leverage on its extensive experience in resilience to conduct the following activities:</a:t>
            </a:r>
          </a:p>
          <a:p>
            <a:pPr marL="285750" indent="-28575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Conduct kick-off meeting to agree on the project’s scope and objectives. </a:t>
            </a:r>
          </a:p>
          <a:p>
            <a:pPr marL="285750" indent="-28575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Identify key stakeholders and business key users to gain understanding of the BCMS environment.</a:t>
            </a:r>
          </a:p>
          <a:p>
            <a:pPr marL="285750" indent="-28575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Develop project plan to ensure adequate understanding of the deliverables and associated risks. </a:t>
            </a:r>
          </a:p>
          <a:p>
            <a:pPr marL="285750" indent="-28575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Request list of necessary documents to facilitate with the review.</a:t>
            </a:r>
          </a:p>
        </p:txBody>
      </p:sp>
      <p:sp>
        <p:nvSpPr>
          <p:cNvPr id="4" name="TextBox 3">
            <a:extLst>
              <a:ext uri="{FF2B5EF4-FFF2-40B4-BE49-F238E27FC236}">
                <a16:creationId xmlns:a16="http://schemas.microsoft.com/office/drawing/2014/main" id="{C4ED0885-CD66-777A-B69A-7B47DBCD398F}"/>
              </a:ext>
            </a:extLst>
          </p:cNvPr>
          <p:cNvSpPr txBox="1"/>
          <p:nvPr/>
        </p:nvSpPr>
        <p:spPr>
          <a:xfrm>
            <a:off x="7778883" y="2503883"/>
            <a:ext cx="3546342" cy="76174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285750" indent="-285750">
              <a:lnSpc>
                <a:spcPct val="150000"/>
              </a:lnSpc>
              <a:buFont typeface="Wingdings" panose="05000000000000000000" pitchFamily="2" charset="2"/>
              <a:buChar char="ü"/>
            </a:pPr>
            <a:r>
              <a:rPr lang="en-US" sz="1100" kern="1200" dirty="0">
                <a:solidFill>
                  <a:prstClr val="black"/>
                </a:solidFill>
                <a:latin typeface="+mn-lt"/>
                <a:ea typeface="Verdana" panose="020B0604030504040204" pitchFamily="34" charset="0"/>
                <a:cs typeface="Open Sans Light" panose="020B0306030504020204" pitchFamily="34" charset="0"/>
              </a:rPr>
              <a:t>Project Charter</a:t>
            </a:r>
          </a:p>
          <a:p>
            <a:pPr marL="285750" indent="-285750">
              <a:lnSpc>
                <a:spcPct val="150000"/>
              </a:lnSpc>
              <a:buFont typeface="Wingdings" panose="05000000000000000000" pitchFamily="2" charset="2"/>
              <a:buChar char="ü"/>
            </a:pPr>
            <a:r>
              <a:rPr lang="en-US" sz="1100" kern="1200" dirty="0">
                <a:solidFill>
                  <a:prstClr val="black"/>
                </a:solidFill>
                <a:latin typeface="+mn-lt"/>
                <a:ea typeface="Verdana" panose="020B0604030504040204" pitchFamily="34" charset="0"/>
                <a:cs typeface="Open Sans Light" panose="020B0306030504020204" pitchFamily="34" charset="0"/>
              </a:rPr>
              <a:t>Project Plan</a:t>
            </a:r>
          </a:p>
          <a:p>
            <a:pPr marL="285750" indent="-285750">
              <a:lnSpc>
                <a:spcPct val="150000"/>
              </a:lnSpc>
              <a:buFont typeface="Wingdings" panose="05000000000000000000" pitchFamily="2" charset="2"/>
              <a:buChar char="ü"/>
            </a:pPr>
            <a:r>
              <a:rPr lang="en-US" sz="1100" kern="1200" dirty="0">
                <a:solidFill>
                  <a:prstClr val="black"/>
                </a:solidFill>
                <a:latin typeface="+mn-lt"/>
                <a:ea typeface="Verdana" panose="020B0604030504040204" pitchFamily="34" charset="0"/>
                <a:cs typeface="Open Sans Light" panose="020B0306030504020204" pitchFamily="34" charset="0"/>
              </a:rPr>
              <a:t>Presentation and approval from BCM committee</a:t>
            </a:r>
          </a:p>
        </p:txBody>
      </p:sp>
      <p:sp>
        <p:nvSpPr>
          <p:cNvPr id="8" name="TextBox 7">
            <a:extLst>
              <a:ext uri="{FF2B5EF4-FFF2-40B4-BE49-F238E27FC236}">
                <a16:creationId xmlns:a16="http://schemas.microsoft.com/office/drawing/2014/main" id="{1820D49A-44A7-3E39-AF6E-ACB5A10BDEF9}"/>
              </a:ext>
            </a:extLst>
          </p:cNvPr>
          <p:cNvSpPr txBox="1"/>
          <p:nvPr/>
        </p:nvSpPr>
        <p:spPr>
          <a:xfrm>
            <a:off x="394109" y="1048757"/>
            <a:ext cx="11530798" cy="661667"/>
          </a:xfrm>
          <a:prstGeom prst="rect">
            <a:avLst/>
          </a:prstGeom>
          <a:noFill/>
          <a:ln w="9525" algn="ctr">
            <a:noFill/>
            <a:miter lim="800000"/>
            <a:headEnd/>
            <a:tailEnd/>
          </a:ln>
        </p:spPr>
        <p:txBody>
          <a:bodyPr wrap="square" lIns="91440" tIns="0" rIns="91440" bIns="0" rtlCol="0" anchor="t" anchorCtr="0">
            <a:noAutofit/>
          </a:bodyPr>
          <a:lstStyle/>
          <a:p>
            <a:pPr algn="just">
              <a:lnSpc>
                <a:spcPct val="120000"/>
              </a:lnSpc>
              <a:spcAft>
                <a:spcPts val="600"/>
              </a:spcAft>
              <a:buSzPct val="100000"/>
              <a:defRPr/>
            </a:pPr>
            <a:r>
              <a:rPr lang="en-US" sz="1100" dirty="0">
                <a:solidFill>
                  <a:srgbClr val="575757"/>
                </a:solidFill>
                <a:latin typeface="+mn-lt"/>
                <a:ea typeface="Open Sans Light" panose="020B0306030504020204" pitchFamily="34" charset="0"/>
                <a:cs typeface="Open Sans Light" panose="020B0306030504020204" pitchFamily="34" charset="0"/>
              </a:rPr>
              <a:t>Deloitte will deliver a detailed project plan to ensure that Salam's needs are addressed, and all deliverables are taken into account during the project activities. </a:t>
            </a:r>
            <a:endParaRPr kumimoji="0" lang="en-US" sz="1100" b="0" i="0" u="none" strike="noStrike" kern="1200" cap="none" spc="0" normalizeH="0" baseline="0" noProof="0" dirty="0">
              <a:ln>
                <a:noFill/>
              </a:ln>
              <a:effectLst/>
              <a:uLnTx/>
              <a:uFillTx/>
              <a:latin typeface="+mn-lt"/>
              <a:ea typeface="+mn-ea"/>
              <a:cs typeface="+mn-cs"/>
            </a:endParaRPr>
          </a:p>
        </p:txBody>
      </p:sp>
      <p:sp>
        <p:nvSpPr>
          <p:cNvPr id="85" name="TextBox 84">
            <a:extLst>
              <a:ext uri="{FF2B5EF4-FFF2-40B4-BE49-F238E27FC236}">
                <a16:creationId xmlns:a16="http://schemas.microsoft.com/office/drawing/2014/main" id="{2ED6CECB-0670-20D1-5BC2-DEC2A43B85EE}"/>
              </a:ext>
            </a:extLst>
          </p:cNvPr>
          <p:cNvSpPr txBox="1"/>
          <p:nvPr/>
        </p:nvSpPr>
        <p:spPr>
          <a:xfrm rot="19785134">
            <a:off x="9564097" y="5686075"/>
            <a:ext cx="2041430" cy="261610"/>
          </a:xfrm>
          <a:prstGeom prst="rect">
            <a:avLst/>
          </a:prstGeom>
          <a:solidFill>
            <a:schemeClr val="tx1"/>
          </a:solidFill>
          <a:ln>
            <a:solidFill>
              <a:schemeClr val="accent2"/>
            </a:solid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or Illustration Purposes Only</a:t>
            </a:r>
          </a:p>
        </p:txBody>
      </p:sp>
      <p:sp>
        <p:nvSpPr>
          <p:cNvPr id="6" name="Title 1">
            <a:extLst>
              <a:ext uri="{FF2B5EF4-FFF2-40B4-BE49-F238E27FC236}">
                <a16:creationId xmlns:a16="http://schemas.microsoft.com/office/drawing/2014/main" id="{592E6EE6-2BC5-B3A5-5EAC-94876F5CE942}"/>
              </a:ext>
            </a:extLst>
          </p:cNvPr>
          <p:cNvSpPr txBox="1">
            <a:spLocks/>
          </p:cNvSpPr>
          <p:nvPr/>
        </p:nvSpPr>
        <p:spPr>
          <a:xfrm>
            <a:off x="411480" y="402587"/>
            <a:ext cx="11252200" cy="334102"/>
          </a:xfrm>
          <a:prstGeom prst="rect">
            <a:avLst/>
          </a:prstGeom>
        </p:spPr>
        <p:txBody>
          <a:bodyPr vert="horz" wrap="square" lIns="0" tIns="0" rIns="0" bIns="0" rtlCol="0" anchor="t" anchorCtr="0">
            <a:noAutofit/>
          </a:bodyPr>
          <a:lstStyle>
            <a:lvl1pPr>
              <a:defRPr sz="2400" b="0" i="0">
                <a:solidFill>
                  <a:srgbClr val="86BC25"/>
                </a:solidFill>
                <a:latin typeface="Calibri" panose="020F0502020204030204" pitchFamily="34" charset="0"/>
                <a:ea typeface="Verdana" panose="020B0604030504040204" pitchFamily="34" charset="0"/>
                <a:cs typeface="Calibri" panose="020F0502020204030204" pitchFamily="34" charset="0"/>
              </a:defRPr>
            </a:lvl1pPr>
          </a:lstStyle>
          <a:p>
            <a:pPr hangingPunct="1">
              <a:spcBef>
                <a:spcPct val="0"/>
              </a:spcBef>
              <a:defRPr/>
            </a:pPr>
            <a:r>
              <a:rPr lang="en-US" sz="2000" dirty="0">
                <a:solidFill>
                  <a:schemeClr val="tx2">
                    <a:lumMod val="50000"/>
                  </a:schemeClr>
                </a:solidFill>
                <a:latin typeface="+mn-lt"/>
                <a:ea typeface="Open Sans Semibold" panose="020B0706030804020204" pitchFamily="34" charset="0"/>
                <a:cs typeface="Open Sans Semibold" panose="020B0706030804020204" pitchFamily="34" charset="0"/>
              </a:rPr>
              <a:t>Approach and Methodology</a:t>
            </a:r>
          </a:p>
        </p:txBody>
      </p:sp>
      <p:sp>
        <p:nvSpPr>
          <p:cNvPr id="9" name="Text Placeholder 20">
            <a:extLst>
              <a:ext uri="{FF2B5EF4-FFF2-40B4-BE49-F238E27FC236}">
                <a16:creationId xmlns:a16="http://schemas.microsoft.com/office/drawing/2014/main" id="{ABA6BBF7-A3E5-F516-A6E1-5BA1F5761382}"/>
              </a:ext>
            </a:extLst>
          </p:cNvPr>
          <p:cNvSpPr txBox="1">
            <a:spLocks/>
          </p:cNvSpPr>
          <p:nvPr/>
        </p:nvSpPr>
        <p:spPr>
          <a:xfrm>
            <a:off x="411480"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lvl="0" indent="0">
              <a:spcBef>
                <a:spcPts val="0"/>
              </a:spcBef>
              <a:spcAft>
                <a:spcPts val="1333"/>
              </a:spcAft>
              <a:buNone/>
              <a:defRPr/>
            </a:pPr>
            <a:r>
              <a:rPr lang="en-US" sz="1400" b="1" dirty="0">
                <a:solidFill>
                  <a:srgbClr val="575757"/>
                </a:solidFill>
                <a:latin typeface="+mn-lt"/>
                <a:ea typeface="Open Sans Light" panose="020B0306030504020204" pitchFamily="34" charset="0"/>
                <a:cs typeface="Open Sans Light" panose="020B0306030504020204" pitchFamily="34" charset="0"/>
              </a:rPr>
              <a:t>Phase 1: Project Initiation &amp; Planning</a:t>
            </a:r>
          </a:p>
        </p:txBody>
      </p:sp>
    </p:spTree>
    <p:extLst>
      <p:ext uri="{BB962C8B-B14F-4D97-AF65-F5344CB8AC3E}">
        <p14:creationId xmlns:p14="http://schemas.microsoft.com/office/powerpoint/2010/main" val="4098489044"/>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0"/>
          <p:cNvSpPr>
            <a:spLocks noGrp="1"/>
          </p:cNvSpPr>
          <p:nvPr>
            <p:ph type="body" sz="quarter" idx="18"/>
          </p:nvPr>
        </p:nvSpPr>
        <p:spPr>
          <a:xfrm>
            <a:off x="329515" y="2014635"/>
            <a:ext cx="1468978" cy="1333650"/>
          </a:xfrm>
          <a:prstGeom prst="rect">
            <a:avLst/>
          </a:prstGeom>
        </p:spPr>
        <p:txBody>
          <a:bodyPr>
            <a:normAutofit/>
          </a:bodyPr>
          <a:lstStyle/>
          <a:p>
            <a:pPr>
              <a:spcAft>
                <a:spcPts val="0"/>
              </a:spcAft>
            </a:pPr>
            <a:r>
              <a:rPr lang="en-US" sz="1000" b="1" dirty="0"/>
              <a:t>Tamer M Abdulwahab</a:t>
            </a:r>
          </a:p>
          <a:p>
            <a:pPr>
              <a:spcAft>
                <a:spcPts val="0"/>
              </a:spcAft>
            </a:pPr>
            <a:r>
              <a:rPr lang="en-US" sz="1000" dirty="0">
                <a:ea typeface="Calibri" panose="020F0502020204030204" pitchFamily="34" charset="0"/>
              </a:rPr>
              <a:t>Sr. Contracts Manager</a:t>
            </a:r>
          </a:p>
          <a:p>
            <a:pPr>
              <a:spcAft>
                <a:spcPts val="0"/>
              </a:spcAft>
            </a:pPr>
            <a:r>
              <a:rPr lang="en-US" sz="1000" dirty="0">
                <a:effectLst/>
                <a:ea typeface="Calibri" panose="020F0502020204030204" pitchFamily="34" charset="0"/>
              </a:rPr>
              <a:t>Salam, Riyadh</a:t>
            </a:r>
          </a:p>
          <a:p>
            <a:pPr>
              <a:spcAft>
                <a:spcPts val="0"/>
              </a:spcAft>
            </a:pPr>
            <a:r>
              <a:rPr lang="en-US" sz="1000" dirty="0">
                <a:ea typeface="Calibri" panose="020F0502020204030204" pitchFamily="34" charset="0"/>
              </a:rPr>
              <a:t>Kingdom of Saudi Arabia</a:t>
            </a:r>
            <a:endParaRPr lang="en-US" sz="1000" dirty="0">
              <a:effectLst/>
              <a:ea typeface="Calibri" panose="020F0502020204030204" pitchFamily="34" charset="0"/>
            </a:endParaRPr>
          </a:p>
          <a:p>
            <a:endParaRPr lang="en-US" sz="1000" dirty="0"/>
          </a:p>
          <a:p>
            <a:endParaRPr lang="en-US" sz="1000" dirty="0"/>
          </a:p>
        </p:txBody>
      </p:sp>
      <p:grpSp>
        <p:nvGrpSpPr>
          <p:cNvPr id="22" name="Group 21"/>
          <p:cNvGrpSpPr>
            <a:grpSpLocks noChangeAspect="1"/>
          </p:cNvGrpSpPr>
          <p:nvPr/>
        </p:nvGrpSpPr>
        <p:grpSpPr>
          <a:xfrm>
            <a:off x="475325" y="457200"/>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Verdana"/>
                <a:ea typeface="+mn-ea"/>
                <a:cs typeface="+mn-cs"/>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Verdana"/>
                <a:ea typeface="+mn-ea"/>
                <a:cs typeface="+mn-cs"/>
              </a:endParaRPr>
            </a:p>
          </p:txBody>
        </p:sp>
        <p:sp>
          <p:nvSpPr>
            <p:cNvPr id="25"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Verdana"/>
                <a:ea typeface="+mn-ea"/>
                <a:cs typeface="+mn-cs"/>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Verdana"/>
                <a:ea typeface="+mn-ea"/>
                <a:cs typeface="+mn-cs"/>
              </a:endParaRPr>
            </a:p>
          </p:txBody>
        </p:sp>
        <p:sp>
          <p:nvSpPr>
            <p:cNvPr id="27"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Verdana"/>
                <a:ea typeface="+mn-ea"/>
                <a:cs typeface="+mn-cs"/>
              </a:endParaRPr>
            </a:p>
          </p:txBody>
        </p:sp>
        <p:sp>
          <p:nvSpPr>
            <p:cNvPr id="28"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Verdana"/>
                <a:ea typeface="+mn-ea"/>
                <a:cs typeface="+mn-cs"/>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Verdana"/>
                <a:ea typeface="+mn-ea"/>
                <a:cs typeface="+mn-cs"/>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Verdana"/>
                <a:ea typeface="+mn-ea"/>
                <a:cs typeface="+mn-cs"/>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Verdana"/>
                <a:ea typeface="+mn-ea"/>
                <a:cs typeface="+mn-cs"/>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Verdana"/>
                <a:ea typeface="+mn-ea"/>
                <a:cs typeface="+mn-cs"/>
              </a:endParaRPr>
            </a:p>
          </p:txBody>
        </p:sp>
      </p:grpSp>
      <p:graphicFrame>
        <p:nvGraphicFramePr>
          <p:cNvPr id="5" name="Table 4">
            <a:extLst>
              <a:ext uri="{FF2B5EF4-FFF2-40B4-BE49-F238E27FC236}">
                <a16:creationId xmlns:a16="http://schemas.microsoft.com/office/drawing/2014/main" id="{90AB59D8-1377-5B9C-BF8F-F67FE730092B}"/>
              </a:ext>
            </a:extLst>
          </p:cNvPr>
          <p:cNvGraphicFramePr>
            <a:graphicFrameLocks noGrp="1"/>
          </p:cNvGraphicFramePr>
          <p:nvPr>
            <p:extLst>
              <p:ext uri="{D42A27DB-BD31-4B8C-83A1-F6EECF244321}">
                <p14:modId xmlns:p14="http://schemas.microsoft.com/office/powerpoint/2010/main" val="3511449933"/>
              </p:ext>
            </p:extLst>
          </p:nvPr>
        </p:nvGraphicFramePr>
        <p:xfrm>
          <a:off x="1853459" y="1446571"/>
          <a:ext cx="9928532" cy="4799065"/>
        </p:xfrm>
        <a:graphic>
          <a:graphicData uri="http://schemas.openxmlformats.org/drawingml/2006/table">
            <a:tbl>
              <a:tblPr/>
              <a:tblGrid>
                <a:gridCol w="9928532">
                  <a:extLst>
                    <a:ext uri="{9D8B030D-6E8A-4147-A177-3AD203B41FA5}">
                      <a16:colId xmlns:a16="http://schemas.microsoft.com/office/drawing/2014/main" val="3169011653"/>
                    </a:ext>
                  </a:extLst>
                </a:gridCol>
              </a:tblGrid>
              <a:tr h="4799065">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indent="0" algn="just" fontAlgn="auto">
                        <a:spcBef>
                          <a:spcPts val="0"/>
                        </a:spcBef>
                        <a:spcAft>
                          <a:spcPts val="0"/>
                        </a:spcAft>
                        <a:buNone/>
                      </a:pPr>
                      <a:r>
                        <a:rPr lang="en-US" sz="1000" dirty="0">
                          <a:latin typeface="Calibri" panose="020F0502020204030204" pitchFamily="34" charset="0"/>
                          <a:ea typeface="Verdana" panose="020B0604030504040204" pitchFamily="34" charset="0"/>
                          <a:cs typeface="Calibri" panose="020F0502020204030204" pitchFamily="34" charset="0"/>
                        </a:rPr>
                        <a:t>On behalf of Deloitte &amp; Touche Advisory Saudi Limited, hereinafter referred to as “Deloitte” and the members of our service team, we thank you for giving Deloitte the opportunity to submit our proposal</a:t>
                      </a:r>
                      <a:r>
                        <a:rPr lang="en-US" sz="1000" b="1" dirty="0">
                          <a:latin typeface="Calibri" panose="020F0502020204030204" pitchFamily="34" charset="0"/>
                          <a:ea typeface="Verdana" panose="020B0604030504040204" pitchFamily="34" charset="0"/>
                          <a:cs typeface="Calibri" panose="020F0502020204030204" pitchFamily="34" charset="0"/>
                        </a:rPr>
                        <a:t> </a:t>
                      </a:r>
                      <a:r>
                        <a:rPr lang="en-US" sz="1000" dirty="0">
                          <a:latin typeface="Calibri" panose="020F0502020204030204" pitchFamily="34" charset="0"/>
                          <a:ea typeface="Verdana" panose="020B0604030504040204" pitchFamily="34" charset="0"/>
                          <a:cs typeface="Calibri" panose="020F0502020204030204" pitchFamily="34" charset="0"/>
                        </a:rPr>
                        <a:t>for </a:t>
                      </a:r>
                      <a:r>
                        <a:rPr lang="en-US" sz="1000" b="1" dirty="0">
                          <a:solidFill>
                            <a:schemeClr val="tx1">
                              <a:lumMod val="85000"/>
                              <a:lumOff val="15000"/>
                            </a:schemeClr>
                          </a:solidFill>
                          <a:latin typeface="Calibri" panose="020F0502020204030204" pitchFamily="34" charset="0"/>
                          <a:cs typeface="Calibri" panose="020F0502020204030204" pitchFamily="34" charset="0"/>
                        </a:rPr>
                        <a:t>“Business Continuity Management (BCM) Consultancy Services</a:t>
                      </a:r>
                      <a:r>
                        <a:rPr lang="en-US" sz="1000" b="1" dirty="0">
                          <a:latin typeface="Calibri" panose="020F0502020204030204" pitchFamily="34" charset="0"/>
                          <a:ea typeface="Verdana" panose="020B0604030504040204" pitchFamily="34" charset="0"/>
                          <a:cs typeface="Calibri" panose="020F0502020204030204" pitchFamily="34" charset="0"/>
                        </a:rPr>
                        <a:t>”</a:t>
                      </a:r>
                      <a:r>
                        <a:rPr lang="en-US" sz="1000" dirty="0">
                          <a:latin typeface="Calibri" panose="020F0502020204030204" pitchFamily="34" charset="0"/>
                          <a:ea typeface="Verdana" panose="020B0604030504040204" pitchFamily="34" charset="0"/>
                          <a:cs typeface="Calibri" panose="020F0502020204030204" pitchFamily="34" charset="0"/>
                        </a:rPr>
                        <a:t> to your esteemed organization.</a:t>
                      </a:r>
                      <a:r>
                        <a:rPr lang="en-US" sz="1000" dirty="0">
                          <a:solidFill>
                            <a:schemeClr val="tx1">
                              <a:lumMod val="85000"/>
                              <a:lumOff val="15000"/>
                            </a:schemeClr>
                          </a:solidFill>
                          <a:latin typeface="Calibri" panose="020F0502020204030204" pitchFamily="34" charset="0"/>
                          <a:cs typeface="Calibri" panose="020F0502020204030204" pitchFamily="34" charset="0"/>
                        </a:rPr>
                        <a:t> </a:t>
                      </a:r>
                      <a:r>
                        <a:rPr lang="en-US" sz="1000" dirty="0">
                          <a:latin typeface="Calibri" panose="020F0502020204030204" pitchFamily="34" charset="0"/>
                          <a:ea typeface="Verdana" panose="020B0604030504040204" pitchFamily="34" charset="0"/>
                          <a:cs typeface="Calibri" panose="020F0502020204030204" pitchFamily="34" charset="0"/>
                        </a:rPr>
                        <a:t>It is an opportunity to develop our relationship with ‘</a:t>
                      </a:r>
                      <a:r>
                        <a:rPr lang="en-US" sz="1000" b="1" dirty="0">
                          <a:latin typeface="Calibri" panose="020F0502020204030204" pitchFamily="34" charset="0"/>
                          <a:ea typeface="Verdana" panose="020B0604030504040204" pitchFamily="34" charset="0"/>
                          <a:cs typeface="Calibri" panose="020F0502020204030204" pitchFamily="34" charset="0"/>
                        </a:rPr>
                        <a:t>Salam</a:t>
                      </a:r>
                      <a:r>
                        <a:rPr lang="en-US" sz="1000" dirty="0">
                          <a:latin typeface="Calibri" panose="020F0502020204030204" pitchFamily="34" charset="0"/>
                          <a:ea typeface="Verdana" panose="020B0604030504040204" pitchFamily="34" charset="0"/>
                          <a:cs typeface="Calibri" panose="020F0502020204030204" pitchFamily="34" charset="0"/>
                        </a:rPr>
                        <a:t>’ and support you to obtain the desired outcomes. </a:t>
                      </a:r>
                    </a:p>
                    <a:p>
                      <a:pPr marL="0" indent="0" algn="just" fontAlgn="auto">
                        <a:spcBef>
                          <a:spcPts val="0"/>
                        </a:spcBef>
                        <a:spcAft>
                          <a:spcPts val="0"/>
                        </a:spcAft>
                        <a:buNone/>
                      </a:pPr>
                      <a:endParaRPr lang="en-US" sz="1000" dirty="0">
                        <a:latin typeface="Calibri" panose="020F0502020204030204" pitchFamily="34" charset="0"/>
                        <a:ea typeface="Verdana" panose="020B0604030504040204" pitchFamily="34" charset="0"/>
                        <a:cs typeface="Calibri" panose="020F0502020204030204" pitchFamily="34" charset="0"/>
                      </a:endParaRPr>
                    </a:p>
                    <a:p>
                      <a:pPr marL="0" lvl="0" indent="0" algn="just" defTabSz="1208241" rtl="0" eaLnBrk="1" fontAlgn="auto" latinLnBrk="0" hangingPunct="1">
                        <a:spcBef>
                          <a:spcPts val="0"/>
                        </a:spcBef>
                        <a:spcAft>
                          <a:spcPts val="600"/>
                        </a:spcAft>
                        <a:buNone/>
                      </a:pPr>
                      <a:r>
                        <a:rPr lang="en-US" sz="1000" dirty="0">
                          <a:solidFill>
                            <a:schemeClr val="tx1">
                              <a:lumMod val="85000"/>
                              <a:lumOff val="15000"/>
                            </a:schemeClr>
                          </a:solidFill>
                          <a:latin typeface="Calibri" panose="020F0502020204030204" pitchFamily="34" charset="0"/>
                          <a:cs typeface="Calibri" panose="020F0502020204030204" pitchFamily="34" charset="0"/>
                        </a:rPr>
                        <a:t>This proposal includes all the pertinent information required to address your needs and contains details of our people, credentials, tools and technology that differentiate Deloitte from the competition. Deloitte is the most qualified firm to meet your objectives, and this is based on the following:</a:t>
                      </a:r>
                      <a:endPar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endParaRPr>
                    </a:p>
                    <a:p>
                      <a:pPr marL="0" marR="0" lvl="0" indent="0" algn="just" defTabSz="1208241"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dirty="0">
                          <a:ln>
                            <a:noFill/>
                          </a:ln>
                          <a:solidFill>
                            <a:srgbClr val="86BC25"/>
                          </a:solidFill>
                          <a:effectLst/>
                          <a:uLnTx/>
                          <a:uFillTx/>
                          <a:latin typeface="Calibri" panose="020F0502020204030204" pitchFamily="34" charset="0"/>
                          <a:ea typeface="+mn-ea"/>
                          <a:cs typeface="Calibri" panose="020F0502020204030204" pitchFamily="34" charset="0"/>
                          <a:sym typeface="Open Sans Light"/>
                        </a:rPr>
                        <a:t>Our Approach</a:t>
                      </a:r>
                      <a:r>
                        <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rPr>
                        <a:t> – We have developed our approach based on our extensive experience in establishing and implementing </a:t>
                      </a:r>
                      <a:r>
                        <a:rPr lang="en-US" sz="1000" dirty="0">
                          <a:solidFill>
                            <a:schemeClr val="tx1">
                              <a:lumMod val="85000"/>
                              <a:lumOff val="15000"/>
                            </a:schemeClr>
                          </a:solidFill>
                          <a:latin typeface="Calibri" panose="020F0502020204030204" pitchFamily="34" charset="0"/>
                          <a:cs typeface="Calibri" panose="020F0502020204030204" pitchFamily="34" charset="0"/>
                        </a:rPr>
                        <a:t>Business Continuity Management (BCM), Crisis Management and Disaster Recovery programs across the region, combined with our knowledge from delivering several end-to-end BCM programs in the Kingdom based on standards like ISO 22301:2019, ISO 22361:2022 and relevant international best practices</a:t>
                      </a:r>
                      <a:r>
                        <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rPr>
                        <a:t>. In our proposed approach we have considered and provided activities to ensure that maximum benefit is delivered through the journey of this project. </a:t>
                      </a:r>
                    </a:p>
                    <a:p>
                      <a:pPr marL="0" marR="0" lvl="0" indent="0" algn="just" defTabSz="1208241"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dirty="0">
                          <a:ln>
                            <a:noFill/>
                          </a:ln>
                          <a:solidFill>
                            <a:srgbClr val="86BC25"/>
                          </a:solidFill>
                          <a:effectLst/>
                          <a:uLnTx/>
                          <a:uFillTx/>
                          <a:latin typeface="Calibri" panose="020F0502020204030204" pitchFamily="34" charset="0"/>
                          <a:ea typeface="+mn-ea"/>
                          <a:cs typeface="Calibri" panose="020F0502020204030204" pitchFamily="34" charset="0"/>
                        </a:rPr>
                        <a:t>Our Relevant Experience</a:t>
                      </a:r>
                      <a:r>
                        <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rPr>
                        <a:t> – Our proposed team has delivered various resilience programs within the Middle East. We have significant experience in establishing and implementing operational resilience, developing business continuity and crisis management capabilities and establishing the governance for effective resilience implementations. We have extensive experience in national and international standards (e.g., National Risk Council Resilience Guidelines, NCA ECC, DGA BCM Standard, ISO 22301, ISO 22361 etc.) and have delivered numerous engagements for clients in various different industries. Specifically in the telecom sector </a:t>
                      </a:r>
                      <a:r>
                        <a:rPr lang="en-US" sz="1000" dirty="0">
                          <a:latin typeface="Calibri" panose="020F0502020204030204" pitchFamily="34" charset="0"/>
                          <a:ea typeface="Verdana" panose="020B0604030504040204" pitchFamily="34" charset="0"/>
                          <a:cs typeface="Calibri" panose="020F0502020204030204" pitchFamily="34" charset="0"/>
                        </a:rPr>
                        <a:t>we successfully delivered </a:t>
                      </a:r>
                      <a:r>
                        <a:rPr lang="en-GB" sz="1000" b="1" dirty="0">
                          <a:latin typeface="Calibri" panose="020F0502020204030204" pitchFamily="34" charset="0"/>
                          <a:ea typeface="Verdana" panose="020B0604030504040204" pitchFamily="34" charset="0"/>
                          <a:cs typeface="Calibri" panose="020F0502020204030204" pitchFamily="34" charset="0"/>
                        </a:rPr>
                        <a:t>BCM and Risk Management Maturity Assessment for stc Group (Parent and subsidiaries), BCM Implementation for solutions by stc, BCM Implementation for Channels by stc, BCM Program Development for stc Pay</a:t>
                      </a:r>
                      <a:r>
                        <a:rPr lang="en-GB" sz="1000" b="0" dirty="0">
                          <a:latin typeface="Calibri" panose="020F0502020204030204" pitchFamily="34" charset="0"/>
                          <a:ea typeface="Verdana" panose="020B0604030504040204" pitchFamily="34" charset="0"/>
                          <a:cs typeface="Calibri" panose="020F0502020204030204" pitchFamily="34" charset="0"/>
                        </a:rPr>
                        <a:t>, amongst others</a:t>
                      </a:r>
                      <a:r>
                        <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rPr>
                        <a:t>.</a:t>
                      </a:r>
                    </a:p>
                    <a:p>
                      <a:pPr marL="0" marR="0" lvl="0" indent="0" algn="just" defTabSz="1208241"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dirty="0">
                          <a:ln>
                            <a:noFill/>
                          </a:ln>
                          <a:solidFill>
                            <a:srgbClr val="86BC25"/>
                          </a:solidFill>
                          <a:effectLst/>
                          <a:uLnTx/>
                          <a:uFillTx/>
                          <a:latin typeface="Calibri" panose="020F0502020204030204" pitchFamily="34" charset="0"/>
                          <a:ea typeface="+mn-ea"/>
                          <a:cs typeface="Calibri" panose="020F0502020204030204" pitchFamily="34" charset="0"/>
                        </a:rPr>
                        <a:t>Our Engagement Team</a:t>
                      </a:r>
                      <a:r>
                        <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rPr>
                        <a:t> – </a:t>
                      </a:r>
                      <a:r>
                        <a:rPr lang="en-US" sz="1000" dirty="0">
                          <a:solidFill>
                            <a:schemeClr val="tx1">
                              <a:lumMod val="85000"/>
                              <a:lumOff val="15000"/>
                            </a:schemeClr>
                          </a:solidFill>
                          <a:latin typeface="Calibri" panose="020F0502020204030204" pitchFamily="34" charset="0"/>
                          <a:cs typeface="Calibri" panose="020F0502020204030204" pitchFamily="34" charset="0"/>
                        </a:rPr>
                        <a:t>Our diverse, multicultural and multilingual team has outstanding BCM experience with over 35 dedicated, BCM trained and certified professionals in the region, supported by 250 risk consultants. Our team received recognition by the Business Continuity Institute (BCI) as the 2016 Continuity &amp; Resilience Provider and the 2014 Business Continuity Provider and GCC Security Symposium &amp; CISO Awards 7</a:t>
                      </a:r>
                      <a:r>
                        <a:rPr lang="en-US" sz="1000" baseline="30000" dirty="0">
                          <a:solidFill>
                            <a:schemeClr val="tx1">
                              <a:lumMod val="85000"/>
                              <a:lumOff val="15000"/>
                            </a:schemeClr>
                          </a:solidFill>
                          <a:latin typeface="Calibri" panose="020F0502020204030204" pitchFamily="34" charset="0"/>
                          <a:cs typeface="Calibri" panose="020F0502020204030204" pitchFamily="34" charset="0"/>
                        </a:rPr>
                        <a:t>th</a:t>
                      </a:r>
                      <a:r>
                        <a:rPr lang="en-US" sz="1000" dirty="0">
                          <a:solidFill>
                            <a:schemeClr val="tx1">
                              <a:lumMod val="85000"/>
                              <a:lumOff val="15000"/>
                            </a:schemeClr>
                          </a:solidFill>
                          <a:latin typeface="Calibri" panose="020F0502020204030204" pitchFamily="34" charset="0"/>
                          <a:cs typeface="Calibri" panose="020F0502020204030204" pitchFamily="34" charset="0"/>
                        </a:rPr>
                        <a:t> Edition in Riyadh and UAE in the Year 2023. Our proposed team for this project consists of local and regional resources that have prior experience with several other organizations and will bring their experience directly to you.</a:t>
                      </a:r>
                    </a:p>
                    <a:p>
                      <a:pPr marL="0" lvl="0" indent="0" algn="just" defTabSz="1208241" rtl="0" eaLnBrk="1" latinLnBrk="0" hangingPunct="1">
                        <a:spcBef>
                          <a:spcPts val="0"/>
                        </a:spcBef>
                        <a:spcAft>
                          <a:spcPts val="600"/>
                        </a:spcAft>
                        <a:buNone/>
                      </a:pPr>
                      <a:r>
                        <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rPr>
                        <a:t>We look forward to extend our working relationship and are excited about the opportunity to serve Salam on this important project. If you have any questions regarding the content of this proposal, please do not hesitate to contact our </a:t>
                      </a:r>
                      <a:r>
                        <a:rPr lang="en-US" sz="1000" dirty="0">
                          <a:solidFill>
                            <a:schemeClr val="tx1">
                              <a:lumMod val="85000"/>
                              <a:lumOff val="15000"/>
                            </a:schemeClr>
                          </a:solidFill>
                          <a:latin typeface="Calibri" panose="020F0502020204030204" pitchFamily="34" charset="0"/>
                          <a:cs typeface="Calibri" panose="020F0502020204030204" pitchFamily="34" charset="0"/>
                        </a:rPr>
                        <a:t>Cyber Partner, Tariq Ajmal at +971506522859, </a:t>
                      </a:r>
                      <a:r>
                        <a:rPr lang="nb-NO" sz="1000" dirty="0">
                          <a:solidFill>
                            <a:schemeClr val="tx1">
                              <a:lumMod val="85000"/>
                              <a:lumOff val="15000"/>
                            </a:schemeClr>
                          </a:solidFill>
                          <a:latin typeface="Calibri" panose="020F0502020204030204" pitchFamily="34" charset="0"/>
                          <a:cs typeface="Calibri" panose="020F0502020204030204" pitchFamily="34" charset="0"/>
                          <a:hlinkClick r:id="rId3"/>
                        </a:rPr>
                        <a:t>tajmal@deloitte.com</a:t>
                      </a:r>
                      <a:r>
                        <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rPr>
                        <a:t> or our Crisis &amp; Resilience Leader for KSA &amp; UAE, Arsalan Yousuf at </a:t>
                      </a:r>
                      <a:r>
                        <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hlinkClick r:id="rId4"/>
                        </a:rPr>
                        <a:t>aryousuf@deloitte.com</a:t>
                      </a:r>
                      <a:r>
                        <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rPr>
                        <a:t> or +966595615678. </a:t>
                      </a:r>
                    </a:p>
                    <a:p>
                      <a:pPr marL="0" lvl="0" indent="0" algn="just" defTabSz="1208241" rtl="0" eaLnBrk="1" latinLnBrk="0" hangingPunct="1">
                        <a:spcBef>
                          <a:spcPts val="0"/>
                        </a:spcBef>
                        <a:spcAft>
                          <a:spcPts val="600"/>
                        </a:spcAft>
                        <a:buNone/>
                      </a:pPr>
                      <a:r>
                        <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rPr>
                        <a:t>Yours sincerely, </a:t>
                      </a:r>
                    </a:p>
                    <a:p>
                      <a:pPr marL="0" indent="0" algn="just">
                        <a:spcBef>
                          <a:spcPts val="0"/>
                        </a:spcBef>
                        <a:spcAft>
                          <a:spcPts val="0"/>
                        </a:spcAft>
                        <a:buNone/>
                      </a:pPr>
                      <a:endParaRPr lang="en-US" sz="1000" dirty="0">
                        <a:solidFill>
                          <a:schemeClr val="tx1">
                            <a:lumMod val="85000"/>
                            <a:lumOff val="15000"/>
                          </a:schemeClr>
                        </a:solidFill>
                        <a:latin typeface="Calibri" panose="020F0502020204030204" pitchFamily="34" charset="0"/>
                        <a:cs typeface="Calibri" panose="020F0502020204030204" pitchFamily="34" charset="0"/>
                      </a:endParaRPr>
                    </a:p>
                    <a:p>
                      <a:pPr marL="0" indent="0" algn="just">
                        <a:spcBef>
                          <a:spcPts val="0"/>
                        </a:spcBef>
                        <a:spcAft>
                          <a:spcPts val="0"/>
                        </a:spcAft>
                        <a:buNone/>
                      </a:pPr>
                      <a:endParaRPr lang="en-US" sz="1000" dirty="0">
                        <a:solidFill>
                          <a:schemeClr val="tx1">
                            <a:lumMod val="85000"/>
                            <a:lumOff val="15000"/>
                          </a:schemeClr>
                        </a:solidFill>
                        <a:latin typeface="Calibri" panose="020F0502020204030204" pitchFamily="34" charset="0"/>
                        <a:cs typeface="Calibri" panose="020F0502020204030204" pitchFamily="34" charset="0"/>
                      </a:endParaRPr>
                    </a:p>
                    <a:p>
                      <a:pPr marL="0" lvl="0" indent="0" defTabSz="1219140">
                        <a:spcBef>
                          <a:spcPts val="0"/>
                        </a:spcBef>
                        <a:spcAft>
                          <a:spcPts val="0"/>
                        </a:spcAft>
                        <a:buSzTx/>
                        <a:buNone/>
                        <a:defRPr/>
                      </a:pPr>
                      <a:r>
                        <a:rPr kumimoji="0" lang="en-US" sz="1000" b="1" i="0" u="none" strike="noStrike" kern="1200" cap="none" spc="0" normalizeH="0" baseline="0" dirty="0">
                          <a:ln>
                            <a:noFill/>
                          </a:ln>
                          <a:solidFill>
                            <a:srgbClr val="86BC25"/>
                          </a:solidFill>
                          <a:effectLst/>
                          <a:uLnTx/>
                          <a:uFillTx/>
                          <a:latin typeface="Calibri" panose="020F0502020204030204" pitchFamily="34" charset="0"/>
                          <a:ea typeface="+mn-ea"/>
                          <a:cs typeface="Calibri" panose="020F0502020204030204" pitchFamily="34" charset="0"/>
                        </a:rPr>
                        <a:t>Khaled Al Sagga</a:t>
                      </a:r>
                      <a:br>
                        <a:rPr lang="en-US" sz="1000" b="1" dirty="0">
                          <a:latin typeface="Calibri" panose="020F0502020204030204" pitchFamily="34" charset="0"/>
                          <a:cs typeface="Calibri" panose="020F0502020204030204" pitchFamily="34" charset="0"/>
                        </a:rPr>
                      </a:br>
                      <a:r>
                        <a:rPr lang="en-US" sz="1000" dirty="0">
                          <a:solidFill>
                            <a:schemeClr val="tx1">
                              <a:lumMod val="85000"/>
                              <a:lumOff val="15000"/>
                            </a:schemeClr>
                          </a:solidFill>
                          <a:latin typeface="Calibri" panose="020F0502020204030204" pitchFamily="34" charset="0"/>
                          <a:cs typeface="Calibri" panose="020F0502020204030204" pitchFamily="34" charset="0"/>
                        </a:rPr>
                        <a:t>Partner</a:t>
                      </a:r>
                    </a:p>
                    <a:p>
                      <a:pPr marL="0" lvl="0" indent="0" defTabSz="1219140">
                        <a:spcBef>
                          <a:spcPts val="0"/>
                        </a:spcBef>
                        <a:spcAft>
                          <a:spcPts val="0"/>
                        </a:spcAft>
                        <a:buSzTx/>
                        <a:buNone/>
                        <a:defRPr/>
                      </a:pPr>
                      <a:r>
                        <a:rPr lang="en-US" sz="1000" dirty="0">
                          <a:solidFill>
                            <a:schemeClr val="tx1">
                              <a:lumMod val="85000"/>
                              <a:lumOff val="15000"/>
                            </a:schemeClr>
                          </a:solidFill>
                          <a:latin typeface="Calibri" panose="020F0502020204030204" pitchFamily="34" charset="0"/>
                          <a:cs typeface="Calibri" panose="020F0502020204030204" pitchFamily="34" charset="0"/>
                        </a:rPr>
                        <a:t>Deloitte &amp; Touche Advisory Saudi Limited</a:t>
                      </a:r>
                    </a:p>
                  </a:txBody>
                  <a:tcPr marL="0" marR="60394" marT="33447" marB="33447"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89339332"/>
                  </a:ext>
                </a:extLst>
              </a:tr>
            </a:tbl>
          </a:graphicData>
        </a:graphic>
      </p:graphicFrame>
      <p:sp>
        <p:nvSpPr>
          <p:cNvPr id="6" name="Text Placeholder 3">
            <a:extLst>
              <a:ext uri="{FF2B5EF4-FFF2-40B4-BE49-F238E27FC236}">
                <a16:creationId xmlns:a16="http://schemas.microsoft.com/office/drawing/2014/main" id="{2E0A79D4-8259-2562-8601-77BFA36B0E4C}"/>
              </a:ext>
            </a:extLst>
          </p:cNvPr>
          <p:cNvSpPr txBox="1">
            <a:spLocks/>
          </p:cNvSpPr>
          <p:nvPr/>
        </p:nvSpPr>
        <p:spPr>
          <a:xfrm>
            <a:off x="8428035" y="235814"/>
            <a:ext cx="3288639" cy="1020906"/>
          </a:xfrm>
          <a:prstGeom prst="rect">
            <a:avLst/>
          </a:prstGeom>
        </p:spPr>
        <p:txBody>
          <a:bodyPr vert="horz" lIns="0" tIns="0" rIns="0" bIns="0" rtlCol="0">
            <a:noAutofit/>
          </a:bodyPr>
          <a:lstStyle>
            <a:lvl1pPr marL="0" indent="0" algn="r" defTabSz="1219170" rtl="0" eaLnBrk="1" latinLnBrk="0" hangingPunct="1">
              <a:lnSpc>
                <a:spcPct val="120000"/>
              </a:lnSpc>
              <a:spcBef>
                <a:spcPts val="0"/>
              </a:spcBef>
              <a:spcAft>
                <a:spcPts val="0"/>
              </a:spcAft>
              <a:buSzPct val="100000"/>
              <a:buFont typeface="Arial" panose="020B0604020202020204" pitchFamily="34" charset="0"/>
              <a:buNone/>
              <a:defRPr sz="800" b="0" kern="1200">
                <a:solidFill>
                  <a:schemeClr val="tx1"/>
                </a:solidFill>
                <a:latin typeface="+mn-lt"/>
                <a:ea typeface="+mn-ea"/>
                <a:cs typeface="+mn-cs"/>
              </a:defRPr>
            </a:lvl1pPr>
            <a:lvl2pPr marL="0" indent="0" algn="l" defTabSz="1219170" rtl="0" eaLnBrk="1" latinLnBrk="0" hangingPunct="1">
              <a:spcBef>
                <a:spcPts val="0"/>
              </a:spcBef>
              <a:spcAft>
                <a:spcPts val="600"/>
              </a:spcAft>
              <a:buClrTx/>
              <a:buSzPct val="100000"/>
              <a:buFont typeface="Arial"/>
              <a:buNone/>
              <a:defRPr lang="en-US" sz="11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6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6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6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841" b="1" dirty="0">
                <a:latin typeface="Calibri" panose="020F0502020204030204" pitchFamily="34" charset="0"/>
                <a:cs typeface="Calibri" panose="020F0502020204030204" pitchFamily="34" charset="0"/>
              </a:rPr>
              <a:t>Deloitte &amp; Touche Advisory Saudi Ltd.</a:t>
            </a:r>
          </a:p>
          <a:p>
            <a:r>
              <a:rPr lang="en-US" sz="841" dirty="0">
                <a:latin typeface="Calibri" panose="020F0502020204030204" pitchFamily="34" charset="0"/>
                <a:cs typeface="Calibri" panose="020F0502020204030204" pitchFamily="34" charset="0"/>
              </a:rPr>
              <a:t>Prince Turki Bin Abdullah Al-Saud Street, Sulaimania Area</a:t>
            </a:r>
          </a:p>
          <a:p>
            <a:r>
              <a:rPr lang="en-US" sz="841" dirty="0">
                <a:latin typeface="Calibri" panose="020F0502020204030204" pitchFamily="34" charset="0"/>
                <a:cs typeface="Calibri" panose="020F0502020204030204" pitchFamily="34" charset="0"/>
              </a:rPr>
              <a:t>P.O. Box: 213, Riyadh – 11411, Kingdom of Saudi Arabia</a:t>
            </a:r>
          </a:p>
          <a:p>
            <a:r>
              <a:rPr lang="en-US" sz="841" dirty="0">
                <a:latin typeface="Calibri" panose="020F0502020204030204" pitchFamily="34" charset="0"/>
                <a:cs typeface="Calibri" panose="020F0502020204030204" pitchFamily="34" charset="0"/>
              </a:rPr>
              <a:t>Tel:+966 (0)11 2828 500</a:t>
            </a:r>
          </a:p>
          <a:p>
            <a:r>
              <a:rPr lang="en-US" sz="841" dirty="0">
                <a:latin typeface="Calibri" panose="020F0502020204030204" pitchFamily="34" charset="0"/>
                <a:cs typeface="Calibri" panose="020F0502020204030204" pitchFamily="34" charset="0"/>
              </a:rPr>
              <a:t>Fax:+966 (0)11 4761 350</a:t>
            </a:r>
          </a:p>
          <a:p>
            <a:r>
              <a:rPr lang="en-US" sz="841" dirty="0">
                <a:latin typeface="Calibri" panose="020F0502020204030204" pitchFamily="34" charset="0"/>
                <a:cs typeface="Calibri" panose="020F0502020204030204" pitchFamily="34" charset="0"/>
                <a:hlinkClick r:id="rId5"/>
              </a:rPr>
              <a:t>www.deloitte.com</a:t>
            </a:r>
            <a:endParaRPr lang="en-US" sz="841" dirty="0">
              <a:latin typeface="Calibri" panose="020F0502020204030204" pitchFamily="34" charset="0"/>
              <a:cs typeface="Calibri" panose="020F0502020204030204" pitchFamily="34" charset="0"/>
            </a:endParaRPr>
          </a:p>
        </p:txBody>
      </p:sp>
      <p:sp>
        <p:nvSpPr>
          <p:cNvPr id="7" name="Text Placeholder 4">
            <a:extLst>
              <a:ext uri="{FF2B5EF4-FFF2-40B4-BE49-F238E27FC236}">
                <a16:creationId xmlns:a16="http://schemas.microsoft.com/office/drawing/2014/main" id="{DF53F291-21C4-516B-CE25-E2C5D45261C1}"/>
              </a:ext>
            </a:extLst>
          </p:cNvPr>
          <p:cNvSpPr txBox="1">
            <a:spLocks/>
          </p:cNvSpPr>
          <p:nvPr/>
        </p:nvSpPr>
        <p:spPr>
          <a:xfrm>
            <a:off x="9830800" y="1232354"/>
            <a:ext cx="1885874" cy="214217"/>
          </a:xfrm>
          <a:prstGeom prst="rect">
            <a:avLst/>
          </a:prstGeom>
        </p:spPr>
        <p:txBody>
          <a:bodyPr vert="horz" lIns="0" tIns="0" rIns="0" bIns="0" rtlCol="0">
            <a:noAutofit/>
          </a:bodyPr>
          <a:lstStyle>
            <a:lvl1pPr marL="0" indent="0" algn="r" defTabSz="1219170" rtl="0" eaLnBrk="1" latinLnBrk="0" hangingPunct="1">
              <a:lnSpc>
                <a:spcPct val="120000"/>
              </a:lnSpc>
              <a:spcBef>
                <a:spcPts val="0"/>
              </a:spcBef>
              <a:spcAft>
                <a:spcPts val="0"/>
              </a:spcAft>
              <a:buSzPct val="100000"/>
              <a:buFont typeface="Arial" panose="020B0604020202020204" pitchFamily="34" charset="0"/>
              <a:buNone/>
              <a:defRPr sz="800" b="0" kern="1200">
                <a:solidFill>
                  <a:schemeClr val="tx1"/>
                </a:solidFill>
                <a:latin typeface="+mn-lt"/>
                <a:ea typeface="+mn-ea"/>
                <a:cs typeface="+mn-cs"/>
              </a:defRPr>
            </a:lvl1pPr>
            <a:lvl2pPr marL="0" indent="0" algn="l" defTabSz="1219170" rtl="0" eaLnBrk="1" latinLnBrk="0" hangingPunct="1">
              <a:spcBef>
                <a:spcPts val="0"/>
              </a:spcBef>
              <a:spcAft>
                <a:spcPts val="600"/>
              </a:spcAft>
              <a:buClrTx/>
              <a:buSzPct val="100000"/>
              <a:buFont typeface="Arial"/>
              <a:buNone/>
              <a:defRPr lang="en-US" sz="11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6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6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6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841" b="1" i="1" dirty="0">
                <a:latin typeface="Calibri" panose="020F0502020204030204" pitchFamily="34" charset="0"/>
                <a:cs typeface="Calibri" panose="020F0502020204030204" pitchFamily="34" charset="0"/>
              </a:rPr>
              <a:t>Deloitte Ref.: JO-7281162</a:t>
            </a:r>
            <a:endParaRPr lang="en-US" sz="841" b="1" i="1" dirty="0">
              <a:highlight>
                <a:srgbClr val="FFFF00"/>
              </a:highlight>
              <a:latin typeface="Calibri" panose="020F0502020204030204" pitchFamily="34" charset="0"/>
              <a:cs typeface="Calibri" panose="020F0502020204030204" pitchFamily="34" charset="0"/>
            </a:endParaRPr>
          </a:p>
        </p:txBody>
      </p:sp>
      <p:sp>
        <p:nvSpPr>
          <p:cNvPr id="10" name="Text Placeholder 4">
            <a:extLst>
              <a:ext uri="{FF2B5EF4-FFF2-40B4-BE49-F238E27FC236}">
                <a16:creationId xmlns:a16="http://schemas.microsoft.com/office/drawing/2014/main" id="{888F7D82-9921-9FBF-F13A-9E7DF807C38D}"/>
              </a:ext>
            </a:extLst>
          </p:cNvPr>
          <p:cNvSpPr txBox="1">
            <a:spLocks/>
          </p:cNvSpPr>
          <p:nvPr/>
        </p:nvSpPr>
        <p:spPr>
          <a:xfrm>
            <a:off x="242033" y="1145596"/>
            <a:ext cx="1566265" cy="242400"/>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Calibri" panose="020F0502020204030204" pitchFamily="34" charset="0"/>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Calibri" panose="020F0502020204030204" pitchFamily="34" charset="0"/>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Calibri" panose="020F0502020204030204" pitchFamily="34" charset="0"/>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Calibri" panose="020F0502020204030204" pitchFamily="34" charset="0"/>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Calibri" panose="020F0502020204030204"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000" b="1" dirty="0">
                <a:solidFill>
                  <a:prstClr val="black"/>
                </a:solidFill>
                <a:cs typeface="Calibri" panose="020F0502020204030204" pitchFamily="34" charset="0"/>
              </a:rPr>
              <a:t>Private &amp; Confidential</a:t>
            </a:r>
          </a:p>
        </p:txBody>
      </p:sp>
      <p:sp>
        <p:nvSpPr>
          <p:cNvPr id="11" name="Rectangle 10">
            <a:extLst>
              <a:ext uri="{FF2B5EF4-FFF2-40B4-BE49-F238E27FC236}">
                <a16:creationId xmlns:a16="http://schemas.microsoft.com/office/drawing/2014/main" id="{C486627A-B6BB-24DA-6742-F66ADEB11FB6}"/>
              </a:ext>
            </a:extLst>
          </p:cNvPr>
          <p:cNvSpPr/>
          <p:nvPr/>
        </p:nvSpPr>
        <p:spPr>
          <a:xfrm>
            <a:off x="242033" y="1446571"/>
            <a:ext cx="1080745" cy="253146"/>
          </a:xfrm>
          <a:prstGeom prst="rect">
            <a:avLst/>
          </a:prstGeom>
        </p:spPr>
        <p:txBody>
          <a:bodyPr wrap="none">
            <a:spAutoFit/>
          </a:bodyPr>
          <a:lstStyle/>
          <a:p>
            <a:pPr fontAlgn="base" hangingPunct="1">
              <a:lnSpc>
                <a:spcPct val="110000"/>
              </a:lnSpc>
              <a:spcAft>
                <a:spcPts val="300"/>
              </a:spcAft>
              <a:buClr>
                <a:srgbClr val="283C82"/>
              </a:buClr>
              <a:buSzPct val="100000"/>
              <a:tabLst>
                <a:tab pos="2602431" algn="l"/>
              </a:tabLst>
            </a:pPr>
            <a:r>
              <a:rPr lang="en-US" sz="1000" b="1" kern="1200" dirty="0">
                <a:solidFill>
                  <a:prstClr val="black"/>
                </a:solidFill>
                <a:latin typeface="Calibri" panose="020F0502020204030204" pitchFamily="34" charset="0"/>
                <a:ea typeface="Verdana" panose="020B0604030504040204" pitchFamily="34" charset="0"/>
                <a:cs typeface="Calibri" panose="020F0502020204030204" pitchFamily="34" charset="0"/>
              </a:rPr>
              <a:t>January 11, 2024</a:t>
            </a:r>
          </a:p>
        </p:txBody>
      </p:sp>
    </p:spTree>
    <p:extLst>
      <p:ext uri="{BB962C8B-B14F-4D97-AF65-F5344CB8AC3E}">
        <p14:creationId xmlns:p14="http://schemas.microsoft.com/office/powerpoint/2010/main" val="854730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Process 1">
            <a:extLst>
              <a:ext uri="{FF2B5EF4-FFF2-40B4-BE49-F238E27FC236}">
                <a16:creationId xmlns:a16="http://schemas.microsoft.com/office/drawing/2014/main" id="{4A8064BF-58E7-A5AE-4DE8-C4AF052E0F99}"/>
              </a:ext>
            </a:extLst>
          </p:cNvPr>
          <p:cNvSpPr/>
          <p:nvPr/>
        </p:nvSpPr>
        <p:spPr bwMode="gray">
          <a:xfrm>
            <a:off x="7337040" y="2018974"/>
            <a:ext cx="4226294" cy="4447309"/>
          </a:xfrm>
          <a:prstGeom prst="flowChartProcess">
            <a:avLst/>
          </a:prstGeom>
          <a:noFill/>
          <a:ln w="3810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a:solidFill>
                <a:schemeClr val="accent2"/>
              </a:solidFill>
            </a:endParaRPr>
          </a:p>
        </p:txBody>
      </p:sp>
      <p:sp>
        <p:nvSpPr>
          <p:cNvPr id="7" name="Rectangle 6">
            <a:extLst>
              <a:ext uri="{FF2B5EF4-FFF2-40B4-BE49-F238E27FC236}">
                <a16:creationId xmlns:a16="http://schemas.microsoft.com/office/drawing/2014/main" id="{3562BEBD-DC7A-1E81-5D8C-B3B825C316BB}"/>
              </a:ext>
            </a:extLst>
          </p:cNvPr>
          <p:cNvSpPr/>
          <p:nvPr/>
        </p:nvSpPr>
        <p:spPr bwMode="gray">
          <a:xfrm>
            <a:off x="381970" y="1784252"/>
            <a:ext cx="11599333" cy="4834428"/>
          </a:xfrm>
          <a:prstGeom prst="rect">
            <a:avLst/>
          </a:prstGeom>
          <a:noFill/>
          <a:ln w="19050" algn="ctr">
            <a:solidFill>
              <a:schemeClr val="accent2"/>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a:solidFill>
                <a:schemeClr val="accent2"/>
              </a:solidFill>
            </a:endParaRPr>
          </a:p>
        </p:txBody>
      </p:sp>
      <p:pic>
        <p:nvPicPr>
          <p:cNvPr id="12" name="Picture 11">
            <a:extLst>
              <a:ext uri="{FF2B5EF4-FFF2-40B4-BE49-F238E27FC236}">
                <a16:creationId xmlns:a16="http://schemas.microsoft.com/office/drawing/2014/main" id="{7F762C35-E62D-406D-AE93-6B995A56945C}"/>
              </a:ext>
            </a:extLst>
          </p:cNvPr>
          <p:cNvPicPr>
            <a:picLocks noChangeAspect="1"/>
          </p:cNvPicPr>
          <p:nvPr/>
        </p:nvPicPr>
        <p:blipFill>
          <a:blip r:embed="rId2"/>
          <a:stretch>
            <a:fillRect/>
          </a:stretch>
        </p:blipFill>
        <p:spPr>
          <a:xfrm>
            <a:off x="9185616" y="1535515"/>
            <a:ext cx="733646" cy="733646"/>
          </a:xfrm>
          <a:prstGeom prst="rect">
            <a:avLst/>
          </a:prstGeom>
        </p:spPr>
      </p:pic>
      <p:sp>
        <p:nvSpPr>
          <p:cNvPr id="14" name="TextBox 13">
            <a:extLst>
              <a:ext uri="{FF2B5EF4-FFF2-40B4-BE49-F238E27FC236}">
                <a16:creationId xmlns:a16="http://schemas.microsoft.com/office/drawing/2014/main" id="{922B792C-16FA-517B-DB65-2F5DBA64C44C}"/>
              </a:ext>
            </a:extLst>
          </p:cNvPr>
          <p:cNvSpPr txBox="1"/>
          <p:nvPr/>
        </p:nvSpPr>
        <p:spPr>
          <a:xfrm>
            <a:off x="628665" y="2018974"/>
            <a:ext cx="6462698" cy="38429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just">
              <a:lnSpc>
                <a:spcPct val="120000"/>
              </a:lnSpc>
              <a:spcAft>
                <a:spcPts val="600"/>
              </a:spcAft>
              <a:buSzPct val="100000"/>
              <a:buFont typeface="Wingdings" panose="05000000000000000000" pitchFamily="2" charset="2"/>
              <a:defRPr sz="1600">
                <a:solidFill>
                  <a:schemeClr val="tx2"/>
                </a:solidFill>
                <a:latin typeface="+mn-lt"/>
              </a:defRPr>
            </a:lvl1pPr>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400" b="1" i="1" u="none" strike="noStrike" kern="1200" cap="none" spc="0" normalizeH="0" baseline="0" noProof="0" dirty="0">
                <a:ln>
                  <a:noFill/>
                </a:ln>
                <a:solidFill>
                  <a:prstClr val="black"/>
                </a:solidFill>
                <a:effectLst/>
                <a:uLnTx/>
                <a:uFillTx/>
                <a:ea typeface="+mn-ea"/>
                <a:cs typeface="Calibri" panose="020F0502020204030204" pitchFamily="34" charset="0"/>
              </a:rPr>
              <a:t>Step 1: Review documentation</a:t>
            </a:r>
          </a:p>
          <a:p>
            <a:pPr marL="285750" indent="-285750" eaLnBrk="1">
              <a:buFont typeface="Wingdings" panose="05000000000000000000" pitchFamily="2" charset="2"/>
              <a:buChar char="Ø"/>
              <a:defRPr/>
            </a:pPr>
            <a:r>
              <a:rPr lang="en-GB" sz="1100" kern="1200" dirty="0">
                <a:solidFill>
                  <a:prstClr val="black"/>
                </a:solidFill>
                <a:ea typeface="Verdana" panose="020B0604030504040204" pitchFamily="34" charset="0"/>
                <a:cs typeface="Open Sans Light" panose="020B0306030504020204" pitchFamily="34" charset="0"/>
              </a:rPr>
              <a:t>Review all existing BCM documentation, including </a:t>
            </a:r>
            <a:r>
              <a:rPr lang="en-US" sz="1100" kern="1200" dirty="0">
                <a:solidFill>
                  <a:prstClr val="black"/>
                </a:solidFill>
                <a:ea typeface="Verdana" panose="020B0604030504040204" pitchFamily="34" charset="0"/>
                <a:cs typeface="Open Sans Light" panose="020B0306030504020204" pitchFamily="34" charset="0"/>
              </a:rPr>
              <a:t>BCM Policy, framework, procedures, Business Impact Analysis (BIA), Threat Risk Assessment (TRA), Operational and Strategic Plans against ISO requirements.</a:t>
            </a:r>
          </a:p>
          <a:p>
            <a:pPr marL="0" marR="0" lvl="0" indent="0" algn="l" defTabSz="1219170" rtl="0" eaLnBrk="1" fontAlgn="auto" latinLnBrk="0" hangingPunct="1">
              <a:lnSpc>
                <a:spcPct val="106000"/>
              </a:lnSpc>
              <a:spcBef>
                <a:spcPts val="600"/>
              </a:spcBef>
              <a:spcAft>
                <a:spcPts val="0"/>
              </a:spcAft>
              <a:buClr>
                <a:srgbClr val="86BC25"/>
              </a:buClr>
              <a:buSzTx/>
              <a:buFontTx/>
              <a:buNone/>
              <a:tabLst/>
              <a:defRPr/>
            </a:pPr>
            <a:r>
              <a:rPr kumimoji="0" lang="en-US" sz="1400" b="1" i="1" u="none" strike="noStrike" kern="1200" cap="none" spc="0" normalizeH="0" baseline="0" noProof="0" dirty="0">
                <a:ln>
                  <a:noFill/>
                </a:ln>
                <a:solidFill>
                  <a:prstClr val="black"/>
                </a:solidFill>
                <a:effectLst/>
                <a:uLnTx/>
                <a:uFillTx/>
                <a:ea typeface="+mn-ea"/>
                <a:cs typeface="Calibri" panose="020F0502020204030204" pitchFamily="34" charset="0"/>
              </a:rPr>
              <a:t>Step 2: Analysis</a:t>
            </a:r>
          </a:p>
          <a:p>
            <a:pPr marL="285750" indent="-285750" eaLnBrk="1">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Identification of existing effective practices.</a:t>
            </a:r>
          </a:p>
          <a:p>
            <a:pPr marL="285750" indent="-285750" eaLnBrk="1">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Analysis of any current areas requiring further development or maturity.</a:t>
            </a:r>
          </a:p>
          <a:p>
            <a:pPr marL="285750" indent="-285750" eaLnBrk="1">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Identification of any vulnerabilities.</a:t>
            </a:r>
          </a:p>
          <a:p>
            <a:pPr marL="285750" indent="-285750" eaLnBrk="1">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Identification of opportunities to align with ISO 22301 and CST requirements.</a:t>
            </a:r>
          </a:p>
          <a:p>
            <a:pPr marL="0" marR="0" lvl="0" indent="0" algn="l" defTabSz="1219170" rtl="0" eaLnBrk="1" fontAlgn="auto" latinLnBrk="0" hangingPunct="1">
              <a:lnSpc>
                <a:spcPct val="106000"/>
              </a:lnSpc>
              <a:spcBef>
                <a:spcPts val="600"/>
              </a:spcBef>
              <a:spcAft>
                <a:spcPts val="600"/>
              </a:spcAft>
              <a:buClr>
                <a:srgbClr val="86BC25"/>
              </a:buClr>
              <a:buSzPct val="90000"/>
              <a:buFontTx/>
              <a:buNone/>
              <a:tabLst/>
              <a:defRPr/>
            </a:pPr>
            <a:r>
              <a:rPr kumimoji="0" lang="en-US" sz="1400" b="1" i="1" u="none" strike="noStrike" kern="1200" cap="none" spc="0" normalizeH="0" baseline="0" noProof="0" dirty="0">
                <a:ln>
                  <a:noFill/>
                </a:ln>
                <a:solidFill>
                  <a:prstClr val="black"/>
                </a:solidFill>
                <a:effectLst/>
                <a:uLnTx/>
                <a:uFillTx/>
                <a:ea typeface="+mn-ea"/>
                <a:cs typeface="Calibri" panose="020F0502020204030204" pitchFamily="34" charset="0"/>
              </a:rPr>
              <a:t>Step 3: Reporting</a:t>
            </a:r>
            <a:endParaRPr kumimoji="0" lang="en-GB" sz="1400" b="1" i="1" u="none" strike="noStrike" kern="1200" cap="none" spc="0" normalizeH="0" baseline="0" noProof="0" dirty="0">
              <a:ln>
                <a:noFill/>
              </a:ln>
              <a:solidFill>
                <a:prstClr val="black"/>
              </a:solidFill>
              <a:effectLst/>
              <a:uLnTx/>
              <a:uFillTx/>
              <a:ea typeface="+mn-ea"/>
              <a:cs typeface="Calibri" panose="020F0502020204030204" pitchFamily="34" charset="0"/>
            </a:endParaRPr>
          </a:p>
          <a:p>
            <a:pPr marL="285750" indent="-285750" eaLnBrk="1">
              <a:buFont typeface="Wingdings" panose="05000000000000000000" pitchFamily="2" charset="2"/>
              <a:buChar char="Ø"/>
              <a:defRPr/>
            </a:pPr>
            <a:r>
              <a:rPr lang="en-GB" sz="1100" kern="1200" dirty="0">
                <a:solidFill>
                  <a:prstClr val="black"/>
                </a:solidFill>
                <a:ea typeface="Verdana" panose="020B0604030504040204" pitchFamily="34" charset="0"/>
                <a:cs typeface="Open Sans Light" panose="020B0306030504020204" pitchFamily="34" charset="0"/>
              </a:rPr>
              <a:t>Overview of maturity level of the current BCMS.</a:t>
            </a:r>
          </a:p>
          <a:p>
            <a:pPr marL="285750" indent="-285750" eaLnBrk="1">
              <a:buFont typeface="Wingdings" panose="05000000000000000000" pitchFamily="2" charset="2"/>
              <a:buChar char="Ø"/>
              <a:defRPr/>
            </a:pPr>
            <a:r>
              <a:rPr lang="en-GB" sz="1100" kern="1200" dirty="0">
                <a:solidFill>
                  <a:prstClr val="black"/>
                </a:solidFill>
                <a:ea typeface="Verdana" panose="020B0604030504040204" pitchFamily="34" charset="0"/>
                <a:cs typeface="Open Sans Light" panose="020B0306030504020204" pitchFamily="34" charset="0"/>
              </a:rPr>
              <a:t>Detailed overview of areas for improvement, including specific areas requiring additional development, research or adaptation.</a:t>
            </a:r>
          </a:p>
          <a:p>
            <a:pPr marL="285750" indent="-285750" eaLnBrk="1">
              <a:buFont typeface="Wingdings" panose="05000000000000000000" pitchFamily="2" charset="2"/>
              <a:buChar char="Ø"/>
              <a:defRPr/>
            </a:pPr>
            <a:r>
              <a:rPr lang="en-GB" sz="1100" kern="1200" dirty="0">
                <a:solidFill>
                  <a:prstClr val="black"/>
                </a:solidFill>
                <a:ea typeface="Verdana" panose="020B0604030504040204" pitchFamily="34" charset="0"/>
                <a:cs typeface="Open Sans Light" panose="020B0306030504020204" pitchFamily="34" charset="0"/>
              </a:rPr>
              <a:t>Confirmation of areas of existing good practice to be maintained.</a:t>
            </a:r>
          </a:p>
          <a:p>
            <a:pPr marL="285750" indent="-285750" eaLnBrk="1">
              <a:buFont typeface="Wingdings" panose="05000000000000000000" pitchFamily="2" charset="2"/>
              <a:buChar char="Ø"/>
              <a:defRPr/>
            </a:pPr>
            <a:r>
              <a:rPr lang="en-GB" sz="1100" kern="1200" dirty="0">
                <a:solidFill>
                  <a:prstClr val="black"/>
                </a:solidFill>
                <a:ea typeface="Verdana" panose="020B0604030504040204" pitchFamily="34" charset="0"/>
                <a:cs typeface="Open Sans Light" panose="020B0306030504020204" pitchFamily="34" charset="0"/>
              </a:rPr>
              <a:t>Development of a 3-year roadmap identifying key initiatives to achieve the desired maturity</a:t>
            </a:r>
          </a:p>
        </p:txBody>
      </p:sp>
      <p:sp>
        <p:nvSpPr>
          <p:cNvPr id="4" name="TextBox 3">
            <a:extLst>
              <a:ext uri="{FF2B5EF4-FFF2-40B4-BE49-F238E27FC236}">
                <a16:creationId xmlns:a16="http://schemas.microsoft.com/office/drawing/2014/main" id="{C4ED0885-CD66-777A-B69A-7B47DBCD398F}"/>
              </a:ext>
            </a:extLst>
          </p:cNvPr>
          <p:cNvSpPr txBox="1"/>
          <p:nvPr/>
        </p:nvSpPr>
        <p:spPr>
          <a:xfrm>
            <a:off x="7778883" y="2503883"/>
            <a:ext cx="3547112" cy="76174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285750" indent="-285750">
              <a:lnSpc>
                <a:spcPct val="150000"/>
              </a:lnSpc>
              <a:buFont typeface="Wingdings" panose="05000000000000000000" pitchFamily="2" charset="2"/>
              <a:buChar char="ü"/>
            </a:pPr>
            <a:r>
              <a:rPr lang="en-US" sz="1100" kern="1200" dirty="0">
                <a:solidFill>
                  <a:prstClr val="black"/>
                </a:solidFill>
                <a:latin typeface="+mn-lt"/>
                <a:ea typeface="Verdana" panose="020B0604030504040204" pitchFamily="34" charset="0"/>
                <a:cs typeface="Open Sans Light" panose="020B0306030504020204" pitchFamily="34" charset="0"/>
              </a:rPr>
              <a:t>Findings, gap analysis and recommendations report </a:t>
            </a:r>
          </a:p>
          <a:p>
            <a:pPr marL="285750" indent="-285750">
              <a:lnSpc>
                <a:spcPct val="150000"/>
              </a:lnSpc>
              <a:buFont typeface="Wingdings" panose="05000000000000000000" pitchFamily="2" charset="2"/>
              <a:buChar char="ü"/>
            </a:pPr>
            <a:r>
              <a:rPr lang="en-US" sz="1100" kern="1200" dirty="0">
                <a:solidFill>
                  <a:prstClr val="black"/>
                </a:solidFill>
                <a:latin typeface="+mn-lt"/>
                <a:ea typeface="Verdana" panose="020B0604030504040204" pitchFamily="34" charset="0"/>
                <a:cs typeface="Open Sans Light" panose="020B0306030504020204" pitchFamily="34" charset="0"/>
              </a:rPr>
              <a:t>Roadmap for implementation of agreed initiatives and actions</a:t>
            </a:r>
          </a:p>
        </p:txBody>
      </p:sp>
      <p:sp>
        <p:nvSpPr>
          <p:cNvPr id="8" name="TextBox 7">
            <a:extLst>
              <a:ext uri="{FF2B5EF4-FFF2-40B4-BE49-F238E27FC236}">
                <a16:creationId xmlns:a16="http://schemas.microsoft.com/office/drawing/2014/main" id="{1820D49A-44A7-3E39-AF6E-ACB5A10BDEF9}"/>
              </a:ext>
            </a:extLst>
          </p:cNvPr>
          <p:cNvSpPr txBox="1"/>
          <p:nvPr/>
        </p:nvSpPr>
        <p:spPr>
          <a:xfrm>
            <a:off x="394109" y="1048757"/>
            <a:ext cx="11530798" cy="661667"/>
          </a:xfrm>
          <a:prstGeom prst="rect">
            <a:avLst/>
          </a:prstGeom>
          <a:noFill/>
          <a:ln w="9525" algn="ctr">
            <a:noFill/>
            <a:miter lim="800000"/>
            <a:headEnd/>
            <a:tailEnd/>
          </a:ln>
        </p:spPr>
        <p:txBody>
          <a:bodyPr wrap="square" lIns="91440" tIns="0" rIns="91440" bIns="0" rtlCol="0" anchor="t" anchorCtr="0">
            <a:noAutofit/>
          </a:bodyPr>
          <a:lstStyle/>
          <a:p>
            <a:pPr algn="just">
              <a:lnSpc>
                <a:spcPct val="120000"/>
              </a:lnSpc>
              <a:spcAft>
                <a:spcPts val="600"/>
              </a:spcAft>
              <a:buSzPct val="100000"/>
              <a:defRPr/>
            </a:pPr>
            <a:r>
              <a:rPr lang="en-US" sz="1100" dirty="0">
                <a:solidFill>
                  <a:srgbClr val="575757"/>
                </a:solidFill>
                <a:latin typeface="+mn-lt"/>
                <a:ea typeface="Open Sans Light" panose="020B0306030504020204" pitchFamily="34" charset="0"/>
                <a:cs typeface="Open Sans Light" panose="020B0306030504020204" pitchFamily="34" charset="0"/>
              </a:rPr>
              <a:t>To elevate the maturity of the BCMS, an assessment will be carried out using Deloitte’s proprietary Capabilities Assessment of Resilience, which is aligned with CST and ISO 22301 requirements. </a:t>
            </a:r>
          </a:p>
        </p:txBody>
      </p:sp>
      <p:pic>
        <p:nvPicPr>
          <p:cNvPr id="15" name="Picture 14">
            <a:extLst>
              <a:ext uri="{FF2B5EF4-FFF2-40B4-BE49-F238E27FC236}">
                <a16:creationId xmlns:a16="http://schemas.microsoft.com/office/drawing/2014/main" id="{A7EB42FC-C780-33B0-08BA-E502D9D24E5F}"/>
              </a:ext>
            </a:extLst>
          </p:cNvPr>
          <p:cNvPicPr>
            <a:picLocks/>
          </p:cNvPicPr>
          <p:nvPr/>
        </p:nvPicPr>
        <p:blipFill>
          <a:blip r:embed="rId3"/>
          <a:stretch>
            <a:fillRect/>
          </a:stretch>
        </p:blipFill>
        <p:spPr>
          <a:xfrm>
            <a:off x="7542531" y="4817882"/>
            <a:ext cx="1732623" cy="1382662"/>
          </a:xfrm>
          <a:prstGeom prst="rect">
            <a:avLst/>
          </a:prstGeom>
        </p:spPr>
      </p:pic>
      <p:pic>
        <p:nvPicPr>
          <p:cNvPr id="16" name="Picture 15">
            <a:extLst>
              <a:ext uri="{FF2B5EF4-FFF2-40B4-BE49-F238E27FC236}">
                <a16:creationId xmlns:a16="http://schemas.microsoft.com/office/drawing/2014/main" id="{9B589E1C-E065-6E50-9453-8A8D032916D9}"/>
              </a:ext>
            </a:extLst>
          </p:cNvPr>
          <p:cNvPicPr>
            <a:picLocks noChangeAspect="1"/>
          </p:cNvPicPr>
          <p:nvPr/>
        </p:nvPicPr>
        <p:blipFill>
          <a:blip r:embed="rId4"/>
          <a:stretch>
            <a:fillRect/>
          </a:stretch>
        </p:blipFill>
        <p:spPr>
          <a:xfrm>
            <a:off x="9317895" y="4859614"/>
            <a:ext cx="2129486" cy="1340930"/>
          </a:xfrm>
          <a:prstGeom prst="rect">
            <a:avLst/>
          </a:prstGeom>
        </p:spPr>
      </p:pic>
      <p:sp>
        <p:nvSpPr>
          <p:cNvPr id="13" name="TextBox 12">
            <a:extLst>
              <a:ext uri="{FF2B5EF4-FFF2-40B4-BE49-F238E27FC236}">
                <a16:creationId xmlns:a16="http://schemas.microsoft.com/office/drawing/2014/main" id="{7D4695DD-C05C-C3D7-6564-0E7F2EA9DAEA}"/>
              </a:ext>
            </a:extLst>
          </p:cNvPr>
          <p:cNvSpPr txBox="1"/>
          <p:nvPr/>
        </p:nvSpPr>
        <p:spPr>
          <a:xfrm rot="19785134">
            <a:off x="8161694" y="5273123"/>
            <a:ext cx="2041430" cy="261610"/>
          </a:xfrm>
          <a:prstGeom prst="rect">
            <a:avLst/>
          </a:prstGeom>
          <a:solidFill>
            <a:schemeClr val="tx1"/>
          </a:solidFill>
          <a:ln>
            <a:solidFill>
              <a:schemeClr val="accent2"/>
            </a:solid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or Illustration Purposes Only</a:t>
            </a:r>
          </a:p>
        </p:txBody>
      </p:sp>
      <p:sp>
        <p:nvSpPr>
          <p:cNvPr id="6" name="Title 1">
            <a:extLst>
              <a:ext uri="{FF2B5EF4-FFF2-40B4-BE49-F238E27FC236}">
                <a16:creationId xmlns:a16="http://schemas.microsoft.com/office/drawing/2014/main" id="{2226C9D7-7482-C6DA-ED04-3B76105DCB9A}"/>
              </a:ext>
            </a:extLst>
          </p:cNvPr>
          <p:cNvSpPr txBox="1">
            <a:spLocks/>
          </p:cNvSpPr>
          <p:nvPr/>
        </p:nvSpPr>
        <p:spPr>
          <a:xfrm>
            <a:off x="411480" y="402587"/>
            <a:ext cx="11252200" cy="334102"/>
          </a:xfrm>
          <a:prstGeom prst="rect">
            <a:avLst/>
          </a:prstGeom>
        </p:spPr>
        <p:txBody>
          <a:bodyPr vert="horz" wrap="square" lIns="0" tIns="0" rIns="0" bIns="0" rtlCol="0" anchor="t" anchorCtr="0">
            <a:noAutofit/>
          </a:bodyPr>
          <a:lstStyle>
            <a:lvl1pPr>
              <a:defRPr sz="2400" b="0" i="0">
                <a:solidFill>
                  <a:srgbClr val="86BC25"/>
                </a:solidFill>
                <a:latin typeface="Calibri" panose="020F0502020204030204" pitchFamily="34" charset="0"/>
                <a:ea typeface="Verdana" panose="020B0604030504040204" pitchFamily="34" charset="0"/>
                <a:cs typeface="Calibri" panose="020F0502020204030204" pitchFamily="34" charset="0"/>
              </a:defRPr>
            </a:lvl1pPr>
          </a:lstStyle>
          <a:p>
            <a:pPr hangingPunct="1">
              <a:spcBef>
                <a:spcPct val="0"/>
              </a:spcBef>
              <a:defRPr/>
            </a:pPr>
            <a:r>
              <a:rPr lang="en-US" sz="2000" dirty="0">
                <a:solidFill>
                  <a:schemeClr val="tx2">
                    <a:lumMod val="50000"/>
                  </a:schemeClr>
                </a:solidFill>
                <a:latin typeface="+mn-lt"/>
                <a:ea typeface="Open Sans Semibold" panose="020B0706030804020204" pitchFamily="34" charset="0"/>
                <a:cs typeface="Open Sans Semibold" panose="020B0706030804020204" pitchFamily="34" charset="0"/>
              </a:rPr>
              <a:t>Approach and Methodology</a:t>
            </a:r>
          </a:p>
        </p:txBody>
      </p:sp>
      <p:sp>
        <p:nvSpPr>
          <p:cNvPr id="9" name="TextBox 8">
            <a:extLst>
              <a:ext uri="{FF2B5EF4-FFF2-40B4-BE49-F238E27FC236}">
                <a16:creationId xmlns:a16="http://schemas.microsoft.com/office/drawing/2014/main" id="{EE8F6B94-5A32-8210-B23C-2EC85270EC79}"/>
              </a:ext>
            </a:extLst>
          </p:cNvPr>
          <p:cNvSpPr txBox="1"/>
          <p:nvPr/>
        </p:nvSpPr>
        <p:spPr>
          <a:xfrm>
            <a:off x="3132509" y="1647820"/>
            <a:ext cx="1542233" cy="246221"/>
          </a:xfrm>
          <a:prstGeom prst="rect">
            <a:avLst/>
          </a:prstGeom>
          <a:solidFill>
            <a:schemeClr val="bg1"/>
          </a:solidFill>
          <a:ln>
            <a:solidFill>
              <a:schemeClr val="accent2"/>
            </a:solidFill>
          </a:ln>
        </p:spPr>
        <p:txBody>
          <a:bodyPr wrap="square" lIns="0" tIns="0" rIns="0" bIns="0" rtlCol="0">
            <a:spAutoFit/>
          </a:bodyPr>
          <a:lstStyle/>
          <a:p>
            <a:pPr algn="ctr">
              <a:spcBef>
                <a:spcPts val="600"/>
              </a:spcBef>
              <a:buSzPct val="100000"/>
            </a:pPr>
            <a:r>
              <a:rPr lang="en-US" sz="1600" b="1" dirty="0">
                <a:solidFill>
                  <a:schemeClr val="accent2"/>
                </a:solidFill>
                <a:latin typeface="+mn-lt"/>
              </a:rPr>
              <a:t>Key Activities</a:t>
            </a:r>
            <a:endParaRPr lang="en-AE" sz="1600" b="1" dirty="0">
              <a:solidFill>
                <a:schemeClr val="accent2"/>
              </a:solidFill>
              <a:latin typeface="+mn-lt"/>
            </a:endParaRPr>
          </a:p>
        </p:txBody>
      </p:sp>
      <p:sp>
        <p:nvSpPr>
          <p:cNvPr id="17" name="TextBox 16">
            <a:extLst>
              <a:ext uri="{FF2B5EF4-FFF2-40B4-BE49-F238E27FC236}">
                <a16:creationId xmlns:a16="http://schemas.microsoft.com/office/drawing/2014/main" id="{8E9D418E-CFBC-332E-390A-1269DA584F74}"/>
              </a:ext>
            </a:extLst>
          </p:cNvPr>
          <p:cNvSpPr txBox="1"/>
          <p:nvPr/>
        </p:nvSpPr>
        <p:spPr>
          <a:xfrm rot="5400000">
            <a:off x="11456364" y="3983555"/>
            <a:ext cx="1051570" cy="246221"/>
          </a:xfrm>
          <a:prstGeom prst="rect">
            <a:avLst/>
          </a:prstGeom>
          <a:solidFill>
            <a:schemeClr val="bg1"/>
          </a:solidFill>
          <a:ln>
            <a:solidFill>
              <a:schemeClr val="accent2"/>
            </a:solidFill>
          </a:ln>
        </p:spPr>
        <p:txBody>
          <a:bodyPr wrap="none" lIns="0" tIns="0" rIns="0" bIns="0" rtlCol="0">
            <a:spAutoFit/>
          </a:bodyPr>
          <a:lstStyle/>
          <a:p>
            <a:pPr algn="ctr">
              <a:spcBef>
                <a:spcPts val="600"/>
              </a:spcBef>
              <a:buSzPct val="100000"/>
            </a:pPr>
            <a:r>
              <a:rPr lang="en-US" sz="1600" b="1" dirty="0">
                <a:solidFill>
                  <a:schemeClr val="accent2"/>
                </a:solidFill>
                <a:latin typeface="+mn-lt"/>
              </a:rPr>
              <a:t>Deliverables</a:t>
            </a:r>
            <a:endParaRPr lang="en-AE" sz="1600" b="1" dirty="0">
              <a:solidFill>
                <a:schemeClr val="accent2"/>
              </a:solidFill>
              <a:latin typeface="+mn-lt"/>
            </a:endParaRPr>
          </a:p>
        </p:txBody>
      </p:sp>
      <p:sp>
        <p:nvSpPr>
          <p:cNvPr id="18" name="Text Placeholder 20">
            <a:extLst>
              <a:ext uri="{FF2B5EF4-FFF2-40B4-BE49-F238E27FC236}">
                <a16:creationId xmlns:a16="http://schemas.microsoft.com/office/drawing/2014/main" id="{E7B90F13-A0A4-0B48-36C3-466869EEF537}"/>
              </a:ext>
            </a:extLst>
          </p:cNvPr>
          <p:cNvSpPr txBox="1">
            <a:spLocks/>
          </p:cNvSpPr>
          <p:nvPr/>
        </p:nvSpPr>
        <p:spPr>
          <a:xfrm>
            <a:off x="411480"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lvl="0" indent="0">
              <a:spcBef>
                <a:spcPts val="0"/>
              </a:spcBef>
              <a:spcAft>
                <a:spcPts val="1333"/>
              </a:spcAft>
              <a:buNone/>
              <a:defRPr/>
            </a:pPr>
            <a:r>
              <a:rPr lang="en-US" sz="1400" b="1" dirty="0">
                <a:solidFill>
                  <a:srgbClr val="575757"/>
                </a:solidFill>
                <a:latin typeface="+mn-lt"/>
                <a:ea typeface="Open Sans Light" panose="020B0306030504020204" pitchFamily="34" charset="0"/>
                <a:cs typeface="Open Sans Light" panose="020B0306030504020204" pitchFamily="34" charset="0"/>
              </a:rPr>
              <a:t>Phase 2: Business Continuity Gap Analysis</a:t>
            </a:r>
          </a:p>
        </p:txBody>
      </p:sp>
    </p:spTree>
    <p:extLst>
      <p:ext uri="{BB962C8B-B14F-4D97-AF65-F5344CB8AC3E}">
        <p14:creationId xmlns:p14="http://schemas.microsoft.com/office/powerpoint/2010/main" val="3663195277"/>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Process 1">
            <a:extLst>
              <a:ext uri="{FF2B5EF4-FFF2-40B4-BE49-F238E27FC236}">
                <a16:creationId xmlns:a16="http://schemas.microsoft.com/office/drawing/2014/main" id="{4F8E08F6-FA0A-AABF-B88A-00B9271CF77D}"/>
              </a:ext>
            </a:extLst>
          </p:cNvPr>
          <p:cNvSpPr/>
          <p:nvPr/>
        </p:nvSpPr>
        <p:spPr bwMode="gray">
          <a:xfrm>
            <a:off x="7337040" y="2018974"/>
            <a:ext cx="4226294" cy="4447309"/>
          </a:xfrm>
          <a:prstGeom prst="flowChartProcess">
            <a:avLst/>
          </a:prstGeom>
          <a:noFill/>
          <a:ln w="3810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pic>
        <p:nvPicPr>
          <p:cNvPr id="6" name="Picture 5">
            <a:extLst>
              <a:ext uri="{FF2B5EF4-FFF2-40B4-BE49-F238E27FC236}">
                <a16:creationId xmlns:a16="http://schemas.microsoft.com/office/drawing/2014/main" id="{E0762BEB-3464-39D1-6B1E-5BAC251B108E}"/>
              </a:ext>
            </a:extLst>
          </p:cNvPr>
          <p:cNvPicPr>
            <a:picLocks noChangeAspect="1"/>
          </p:cNvPicPr>
          <p:nvPr/>
        </p:nvPicPr>
        <p:blipFill>
          <a:blip r:embed="rId2"/>
          <a:stretch>
            <a:fillRect/>
          </a:stretch>
        </p:blipFill>
        <p:spPr>
          <a:xfrm>
            <a:off x="9185616" y="1535515"/>
            <a:ext cx="733646" cy="733646"/>
          </a:xfrm>
          <a:prstGeom prst="rect">
            <a:avLst/>
          </a:prstGeom>
        </p:spPr>
      </p:pic>
      <p:sp>
        <p:nvSpPr>
          <p:cNvPr id="7" name="TextBox 6">
            <a:extLst>
              <a:ext uri="{FF2B5EF4-FFF2-40B4-BE49-F238E27FC236}">
                <a16:creationId xmlns:a16="http://schemas.microsoft.com/office/drawing/2014/main" id="{F383020E-08FE-9546-C661-738047BA7264}"/>
              </a:ext>
            </a:extLst>
          </p:cNvPr>
          <p:cNvSpPr txBox="1"/>
          <p:nvPr/>
        </p:nvSpPr>
        <p:spPr>
          <a:xfrm>
            <a:off x="7778883" y="2503883"/>
            <a:ext cx="3547112" cy="1384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285750" indent="-285750">
              <a:lnSpc>
                <a:spcPct val="150000"/>
              </a:lnSpc>
              <a:buFont typeface="Wingdings" panose="05000000000000000000" pitchFamily="2" charset="2"/>
              <a:buChar char="ü"/>
            </a:pPr>
            <a:r>
              <a:rPr lang="en-US" sz="1200" kern="1200" dirty="0">
                <a:solidFill>
                  <a:prstClr val="black"/>
                </a:solidFill>
                <a:latin typeface="+mn-lt"/>
                <a:ea typeface="Verdana" panose="020B0604030504040204" pitchFamily="34" charset="0"/>
                <a:cs typeface="Open Sans Light" panose="020B0306030504020204" pitchFamily="34" charset="0"/>
              </a:rPr>
              <a:t>Business Continuity Framework</a:t>
            </a:r>
          </a:p>
          <a:p>
            <a:pPr marL="285750" indent="-285750">
              <a:lnSpc>
                <a:spcPct val="150000"/>
              </a:lnSpc>
              <a:buFont typeface="Wingdings" panose="05000000000000000000" pitchFamily="2" charset="2"/>
              <a:buChar char="ü"/>
            </a:pPr>
            <a:r>
              <a:rPr lang="en-US" sz="1200" kern="1200" dirty="0">
                <a:solidFill>
                  <a:prstClr val="black"/>
                </a:solidFill>
                <a:latin typeface="+mn-lt"/>
                <a:ea typeface="Verdana" panose="020B0604030504040204" pitchFamily="34" charset="0"/>
                <a:cs typeface="Open Sans Light" panose="020B0306030504020204" pitchFamily="34" charset="0"/>
              </a:rPr>
              <a:t>Policy, procedures, and operations guidelines:</a:t>
            </a:r>
          </a:p>
          <a:p>
            <a:pPr marL="400050" indent="-169863">
              <a:lnSpc>
                <a:spcPct val="150000"/>
              </a:lnSpc>
              <a:buFont typeface="Open Sans Light" panose="020B0306030504020204" pitchFamily="34" charset="0"/>
              <a:buChar char="−"/>
            </a:pPr>
            <a:r>
              <a:rPr lang="en-US" sz="1200" kern="1200" dirty="0">
                <a:solidFill>
                  <a:prstClr val="black"/>
                </a:solidFill>
                <a:latin typeface="+mn-lt"/>
                <a:ea typeface="Verdana" panose="020B0604030504040204" pitchFamily="34" charset="0"/>
                <a:cs typeface="Open Sans Light" panose="020B0306030504020204" pitchFamily="34" charset="0"/>
              </a:rPr>
              <a:t>Business Continuity</a:t>
            </a:r>
          </a:p>
          <a:p>
            <a:pPr marL="400050" indent="-169863">
              <a:lnSpc>
                <a:spcPct val="150000"/>
              </a:lnSpc>
              <a:buFont typeface="Open Sans Light" panose="020B0306030504020204" pitchFamily="34" charset="0"/>
              <a:buChar char="−"/>
            </a:pPr>
            <a:r>
              <a:rPr lang="en-US" sz="1200" kern="1200" dirty="0">
                <a:solidFill>
                  <a:prstClr val="black"/>
                </a:solidFill>
                <a:latin typeface="+mn-lt"/>
                <a:ea typeface="Verdana" panose="020B0604030504040204" pitchFamily="34" charset="0"/>
                <a:cs typeface="Open Sans Light" panose="020B0306030504020204" pitchFamily="34" charset="0"/>
              </a:rPr>
              <a:t>Disaster Recovery</a:t>
            </a:r>
          </a:p>
          <a:p>
            <a:pPr marL="400050" indent="-169863">
              <a:lnSpc>
                <a:spcPct val="150000"/>
              </a:lnSpc>
              <a:buFont typeface="Open Sans Light" panose="020B0306030504020204" pitchFamily="34" charset="0"/>
              <a:buChar char="−"/>
            </a:pPr>
            <a:r>
              <a:rPr lang="en-US" sz="1200" kern="1200" dirty="0">
                <a:solidFill>
                  <a:prstClr val="black"/>
                </a:solidFill>
                <a:latin typeface="+mn-lt"/>
                <a:ea typeface="Verdana" panose="020B0604030504040204" pitchFamily="34" charset="0"/>
                <a:cs typeface="Open Sans Light" panose="020B0306030504020204" pitchFamily="34" charset="0"/>
              </a:rPr>
              <a:t>Crisis Management</a:t>
            </a:r>
          </a:p>
        </p:txBody>
      </p:sp>
      <p:sp>
        <p:nvSpPr>
          <p:cNvPr id="10" name="Rectangle 9">
            <a:extLst>
              <a:ext uri="{FF2B5EF4-FFF2-40B4-BE49-F238E27FC236}">
                <a16:creationId xmlns:a16="http://schemas.microsoft.com/office/drawing/2014/main" id="{2BC84932-9D61-401D-3BFE-F3AE55A5F352}"/>
              </a:ext>
            </a:extLst>
          </p:cNvPr>
          <p:cNvSpPr/>
          <p:nvPr/>
        </p:nvSpPr>
        <p:spPr bwMode="gray">
          <a:xfrm>
            <a:off x="381970" y="1784252"/>
            <a:ext cx="11599333" cy="4834428"/>
          </a:xfrm>
          <a:prstGeom prst="rect">
            <a:avLst/>
          </a:prstGeom>
          <a:noFill/>
          <a:ln w="19050" algn="ctr">
            <a:solidFill>
              <a:schemeClr val="accent2"/>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sp>
        <p:nvSpPr>
          <p:cNvPr id="11" name="TextBox 10">
            <a:extLst>
              <a:ext uri="{FF2B5EF4-FFF2-40B4-BE49-F238E27FC236}">
                <a16:creationId xmlns:a16="http://schemas.microsoft.com/office/drawing/2014/main" id="{56E6D760-73B9-81BF-A4E0-D0A449742D78}"/>
              </a:ext>
            </a:extLst>
          </p:cNvPr>
          <p:cNvSpPr txBox="1"/>
          <p:nvPr/>
        </p:nvSpPr>
        <p:spPr>
          <a:xfrm>
            <a:off x="628665" y="2189874"/>
            <a:ext cx="6290405" cy="258532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285750" indent="-285750">
              <a:lnSpc>
                <a:spcPct val="150000"/>
              </a:lnSpc>
              <a:buFont typeface="Wingdings" panose="05000000000000000000" pitchFamily="2" charset="2"/>
              <a:buChar char="ü"/>
              <a:defRPr sz="1800">
                <a:solidFill>
                  <a:schemeClr val="tx2"/>
                </a:solidFill>
                <a:latin typeface="+mn-lt"/>
              </a:defRPr>
            </a:lvl1pPr>
          </a:lstStyle>
          <a:p>
            <a:pPr marL="0" marR="0" lvl="0" indent="0" algn="l" defTabSz="914400" rtl="0" eaLnBrk="1" fontAlgn="auto" latinLnBrk="0" hangingPunct="1">
              <a:lnSpc>
                <a:spcPct val="100000"/>
              </a:lnSpc>
              <a:spcBef>
                <a:spcPts val="0"/>
              </a:spcBef>
              <a:spcAft>
                <a:spcPts val="600"/>
              </a:spcAft>
              <a:buClr>
                <a:srgbClr val="86BC25"/>
              </a:buClr>
              <a:buSzTx/>
              <a:buFontTx/>
              <a:buNone/>
              <a:tabLst/>
              <a:defRPr/>
            </a:pPr>
            <a:r>
              <a:rPr lang="en-US" sz="1100" kern="1200" dirty="0">
                <a:solidFill>
                  <a:prstClr val="black"/>
                </a:solidFill>
                <a:ea typeface="Verdana" panose="020B0604030504040204" pitchFamily="34" charset="0"/>
                <a:cs typeface="Open Sans Light" panose="020B0306030504020204" pitchFamily="34" charset="0"/>
              </a:rPr>
              <a:t>The purpose of this phase is to develop a Business Continuity Charter that will be followed while establishing the BCMS. Deloitte will support in defining the roles and responsibilities of Salam BCM team including the BCM Manager and supporting cross-functional team members from all time-critical departments, based on the ISO 22301 and CST requirements and considering the gaps identified during the Current State and Gap Assessment phase. Key outcome of this phase is the development of a Business Continuity Charter that includes the following:</a:t>
            </a:r>
          </a:p>
          <a:p>
            <a:pPr algn="just" eaLnBrk="1">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Defining the scope and requirements of the BCMS.</a:t>
            </a:r>
          </a:p>
          <a:p>
            <a:pPr algn="just" eaLnBrk="1">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Developing a Business Continuity Framework.</a:t>
            </a:r>
          </a:p>
          <a:p>
            <a:pPr algn="just" eaLnBrk="1">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Defining the BCMS governance structure across Salam.</a:t>
            </a:r>
          </a:p>
          <a:p>
            <a:pPr algn="just" eaLnBrk="1">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Defining processes, roles, responsibilities and line of authorities for the BCMS.</a:t>
            </a:r>
          </a:p>
          <a:p>
            <a:pPr algn="just">
              <a:lnSpc>
                <a:spcPct val="120000"/>
              </a:lnSpc>
              <a:spcAft>
                <a:spcPts val="600"/>
              </a:spcAft>
              <a:buSzPct val="100000"/>
              <a:buFont typeface="Wingdings" panose="05000000000000000000" pitchFamily="2" charset="2"/>
              <a:buChar char="Ø"/>
              <a:defRPr/>
            </a:pPr>
            <a:endParaRPr lang="en-US" sz="1600" dirty="0"/>
          </a:p>
        </p:txBody>
      </p:sp>
      <p:sp>
        <p:nvSpPr>
          <p:cNvPr id="14" name="TextBox 13">
            <a:extLst>
              <a:ext uri="{FF2B5EF4-FFF2-40B4-BE49-F238E27FC236}">
                <a16:creationId xmlns:a16="http://schemas.microsoft.com/office/drawing/2014/main" id="{2D54BB58-4141-225B-F899-BE0496D84B3A}"/>
              </a:ext>
            </a:extLst>
          </p:cNvPr>
          <p:cNvSpPr txBox="1"/>
          <p:nvPr/>
        </p:nvSpPr>
        <p:spPr>
          <a:xfrm>
            <a:off x="394109" y="1048757"/>
            <a:ext cx="11530798" cy="661667"/>
          </a:xfrm>
          <a:prstGeom prst="rect">
            <a:avLst/>
          </a:prstGeom>
          <a:noFill/>
          <a:ln w="9525" algn="ctr">
            <a:noFill/>
            <a:miter lim="800000"/>
            <a:headEnd/>
            <a:tailEnd/>
          </a:ln>
        </p:spPr>
        <p:txBody>
          <a:bodyPr wrap="square" lIns="91440" tIns="0" rIns="91440" bIns="0" rtlCol="0" anchor="t" anchorCtr="0">
            <a:noAutofit/>
          </a:bodyPr>
          <a:lstStyle/>
          <a:p>
            <a:pPr algn="just">
              <a:lnSpc>
                <a:spcPct val="120000"/>
              </a:lnSpc>
              <a:spcAft>
                <a:spcPts val="600"/>
              </a:spcAft>
              <a:buSzPct val="100000"/>
              <a:defRPr/>
            </a:pPr>
            <a:r>
              <a:rPr lang="en-US" sz="1100" dirty="0">
                <a:solidFill>
                  <a:schemeClr val="tx2"/>
                </a:solidFill>
                <a:latin typeface="+mn-lt"/>
              </a:rPr>
              <a:t>Develop a Business Continuity framework and assist in establishing policies, </a:t>
            </a:r>
            <a:r>
              <a:rPr lang="en-US" sz="1100" kern="1200" dirty="0">
                <a:solidFill>
                  <a:prstClr val="black"/>
                </a:solidFill>
                <a:latin typeface="+mn-lt"/>
                <a:ea typeface="Verdana" panose="020B0604030504040204" pitchFamily="34" charset="0"/>
                <a:cs typeface="Open Sans Light" panose="020B0306030504020204" pitchFamily="34" charset="0"/>
              </a:rPr>
              <a:t>operations guidelines</a:t>
            </a:r>
            <a:r>
              <a:rPr lang="en-US" sz="1100" dirty="0">
                <a:solidFill>
                  <a:schemeClr val="tx2"/>
                </a:solidFill>
                <a:latin typeface="+mn-lt"/>
              </a:rPr>
              <a:t> and procedures for management and maintenance of business continuity planning efforts. The BCMS model adopts a process-based approach to establish, implement, monitor and review the BCMS. </a:t>
            </a:r>
          </a:p>
        </p:txBody>
      </p:sp>
      <p:sp>
        <p:nvSpPr>
          <p:cNvPr id="4" name="Title 1">
            <a:extLst>
              <a:ext uri="{FF2B5EF4-FFF2-40B4-BE49-F238E27FC236}">
                <a16:creationId xmlns:a16="http://schemas.microsoft.com/office/drawing/2014/main" id="{7F81D7C9-1E1D-EAED-EE10-357930024C32}"/>
              </a:ext>
            </a:extLst>
          </p:cNvPr>
          <p:cNvSpPr txBox="1">
            <a:spLocks/>
          </p:cNvSpPr>
          <p:nvPr/>
        </p:nvSpPr>
        <p:spPr>
          <a:xfrm>
            <a:off x="411480" y="402587"/>
            <a:ext cx="11252200" cy="334102"/>
          </a:xfrm>
          <a:prstGeom prst="rect">
            <a:avLst/>
          </a:prstGeom>
        </p:spPr>
        <p:txBody>
          <a:bodyPr vert="horz" wrap="square" lIns="0" tIns="0" rIns="0" bIns="0" rtlCol="0" anchor="t" anchorCtr="0">
            <a:noAutofit/>
          </a:bodyPr>
          <a:lstStyle>
            <a:lvl1pPr>
              <a:defRPr sz="2400" b="0" i="0">
                <a:solidFill>
                  <a:srgbClr val="86BC25"/>
                </a:solidFill>
                <a:latin typeface="Calibri" panose="020F0502020204030204" pitchFamily="34" charset="0"/>
                <a:ea typeface="Verdana" panose="020B0604030504040204" pitchFamily="34" charset="0"/>
                <a:cs typeface="Calibri" panose="020F0502020204030204" pitchFamily="34" charset="0"/>
              </a:defRPr>
            </a:lvl1pPr>
          </a:lstStyle>
          <a:p>
            <a:pPr hangingPunct="1">
              <a:spcBef>
                <a:spcPct val="0"/>
              </a:spcBef>
              <a:defRPr/>
            </a:pPr>
            <a:r>
              <a:rPr lang="en-US" sz="2000" dirty="0">
                <a:solidFill>
                  <a:schemeClr val="tx2">
                    <a:lumMod val="50000"/>
                  </a:schemeClr>
                </a:solidFill>
                <a:latin typeface="+mn-lt"/>
                <a:ea typeface="Open Sans Semibold" panose="020B0706030804020204" pitchFamily="34" charset="0"/>
                <a:cs typeface="Open Sans Semibold" panose="020B0706030804020204" pitchFamily="34" charset="0"/>
              </a:rPr>
              <a:t>Approach and Methodology</a:t>
            </a:r>
          </a:p>
        </p:txBody>
      </p:sp>
      <p:sp>
        <p:nvSpPr>
          <p:cNvPr id="8" name="TextBox 7">
            <a:extLst>
              <a:ext uri="{FF2B5EF4-FFF2-40B4-BE49-F238E27FC236}">
                <a16:creationId xmlns:a16="http://schemas.microsoft.com/office/drawing/2014/main" id="{DB86EB56-1F8A-6739-F680-5BD1B6DF5F93}"/>
              </a:ext>
            </a:extLst>
          </p:cNvPr>
          <p:cNvSpPr txBox="1"/>
          <p:nvPr/>
        </p:nvSpPr>
        <p:spPr>
          <a:xfrm>
            <a:off x="3132509" y="1647820"/>
            <a:ext cx="1542233" cy="246221"/>
          </a:xfrm>
          <a:prstGeom prst="rect">
            <a:avLst/>
          </a:prstGeom>
          <a:solidFill>
            <a:schemeClr val="bg1"/>
          </a:solidFill>
          <a:ln>
            <a:solidFill>
              <a:schemeClr val="accent2"/>
            </a:solidFill>
          </a:ln>
        </p:spPr>
        <p:txBody>
          <a:bodyPr wrap="square" lIns="0" tIns="0" rIns="0" bIns="0" rtlCol="0">
            <a:spAutoFit/>
          </a:bodyPr>
          <a:lstStyle/>
          <a:p>
            <a:pPr algn="ctr">
              <a:spcBef>
                <a:spcPts val="600"/>
              </a:spcBef>
              <a:buSzPct val="100000"/>
            </a:pPr>
            <a:r>
              <a:rPr lang="en-US" sz="1600" b="1" dirty="0">
                <a:solidFill>
                  <a:schemeClr val="accent2"/>
                </a:solidFill>
                <a:latin typeface="+mn-lt"/>
              </a:rPr>
              <a:t>Key Activities</a:t>
            </a:r>
            <a:endParaRPr lang="en-AE" sz="1600" b="1" dirty="0">
              <a:solidFill>
                <a:schemeClr val="accent2"/>
              </a:solidFill>
              <a:latin typeface="+mn-lt"/>
            </a:endParaRPr>
          </a:p>
        </p:txBody>
      </p:sp>
      <p:sp>
        <p:nvSpPr>
          <p:cNvPr id="9" name="TextBox 8">
            <a:extLst>
              <a:ext uri="{FF2B5EF4-FFF2-40B4-BE49-F238E27FC236}">
                <a16:creationId xmlns:a16="http://schemas.microsoft.com/office/drawing/2014/main" id="{64DCDC60-069F-685A-FFB0-F436AC8EC782}"/>
              </a:ext>
            </a:extLst>
          </p:cNvPr>
          <p:cNvSpPr txBox="1"/>
          <p:nvPr/>
        </p:nvSpPr>
        <p:spPr>
          <a:xfrm rot="5400000">
            <a:off x="11456364" y="3983555"/>
            <a:ext cx="1051570" cy="246221"/>
          </a:xfrm>
          <a:prstGeom prst="rect">
            <a:avLst/>
          </a:prstGeom>
          <a:solidFill>
            <a:schemeClr val="bg1"/>
          </a:solidFill>
          <a:ln>
            <a:solidFill>
              <a:schemeClr val="accent2"/>
            </a:solidFill>
          </a:ln>
        </p:spPr>
        <p:txBody>
          <a:bodyPr wrap="none" lIns="0" tIns="0" rIns="0" bIns="0" rtlCol="0">
            <a:spAutoFit/>
          </a:bodyPr>
          <a:lstStyle/>
          <a:p>
            <a:pPr algn="ctr">
              <a:spcBef>
                <a:spcPts val="600"/>
              </a:spcBef>
              <a:buSzPct val="100000"/>
            </a:pPr>
            <a:r>
              <a:rPr lang="en-US" sz="1600" b="1" dirty="0">
                <a:solidFill>
                  <a:schemeClr val="accent2"/>
                </a:solidFill>
                <a:latin typeface="+mn-lt"/>
              </a:rPr>
              <a:t>Deliverables</a:t>
            </a:r>
            <a:endParaRPr lang="en-AE" sz="1600" b="1" dirty="0">
              <a:solidFill>
                <a:schemeClr val="accent2"/>
              </a:solidFill>
              <a:latin typeface="+mn-lt"/>
            </a:endParaRPr>
          </a:p>
        </p:txBody>
      </p:sp>
      <p:sp>
        <p:nvSpPr>
          <p:cNvPr id="17" name="Text Placeholder 20">
            <a:extLst>
              <a:ext uri="{FF2B5EF4-FFF2-40B4-BE49-F238E27FC236}">
                <a16:creationId xmlns:a16="http://schemas.microsoft.com/office/drawing/2014/main" id="{2838CA22-565A-91B9-DC1B-6693CBC41318}"/>
              </a:ext>
            </a:extLst>
          </p:cNvPr>
          <p:cNvSpPr txBox="1">
            <a:spLocks/>
          </p:cNvSpPr>
          <p:nvPr/>
        </p:nvSpPr>
        <p:spPr>
          <a:xfrm>
            <a:off x="411480"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lvl="0" indent="0">
              <a:spcBef>
                <a:spcPts val="0"/>
              </a:spcBef>
              <a:spcAft>
                <a:spcPts val="1333"/>
              </a:spcAft>
              <a:buNone/>
              <a:defRPr/>
            </a:pPr>
            <a:r>
              <a:rPr lang="en-US" sz="1400" b="1" dirty="0">
                <a:solidFill>
                  <a:srgbClr val="575757"/>
                </a:solidFill>
                <a:latin typeface="+mn-lt"/>
                <a:ea typeface="Open Sans Light" panose="020B0306030504020204" pitchFamily="34" charset="0"/>
                <a:cs typeface="Open Sans Light" panose="020B0306030504020204" pitchFamily="34" charset="0"/>
              </a:rPr>
              <a:t>Phase 3: Business Continuity Governance Framework</a:t>
            </a:r>
          </a:p>
        </p:txBody>
      </p:sp>
      <p:pic>
        <p:nvPicPr>
          <p:cNvPr id="18" name="Picture 17">
            <a:extLst>
              <a:ext uri="{FF2B5EF4-FFF2-40B4-BE49-F238E27FC236}">
                <a16:creationId xmlns:a16="http://schemas.microsoft.com/office/drawing/2014/main" id="{539667E6-4C52-A478-7478-63D11A5C36C8}"/>
              </a:ext>
            </a:extLst>
          </p:cNvPr>
          <p:cNvPicPr/>
          <p:nvPr/>
        </p:nvPicPr>
        <p:blipFill>
          <a:blip r:embed="rId3">
            <a:grayscl/>
            <a:extLst>
              <a:ext uri="{28A0092B-C50C-407E-A947-70E740481C1C}">
                <a14:useLocalDpi xmlns:a14="http://schemas.microsoft.com/office/drawing/2010/main" val="0"/>
              </a:ext>
            </a:extLst>
          </a:blip>
          <a:srcRect/>
          <a:stretch>
            <a:fillRect/>
          </a:stretch>
        </p:blipFill>
        <p:spPr bwMode="auto">
          <a:xfrm>
            <a:off x="9448393" y="4430541"/>
            <a:ext cx="1421636" cy="1280349"/>
          </a:xfrm>
          <a:prstGeom prst="rect">
            <a:avLst/>
          </a:prstGeom>
          <a:noFill/>
        </p:spPr>
      </p:pic>
      <p:pic>
        <p:nvPicPr>
          <p:cNvPr id="19" name="Picture 18">
            <a:extLst>
              <a:ext uri="{FF2B5EF4-FFF2-40B4-BE49-F238E27FC236}">
                <a16:creationId xmlns:a16="http://schemas.microsoft.com/office/drawing/2014/main" id="{E3F47614-D9EB-11FB-DECF-76EA9A1D46A8}"/>
              </a:ext>
            </a:extLst>
          </p:cNvPr>
          <p:cNvPicPr>
            <a:picLocks noChangeAspect="1"/>
          </p:cNvPicPr>
          <p:nvPr/>
        </p:nvPicPr>
        <p:blipFill>
          <a:blip r:embed="rId4">
            <a:grayscl/>
          </a:blip>
          <a:stretch>
            <a:fillRect/>
          </a:stretch>
        </p:blipFill>
        <p:spPr>
          <a:xfrm>
            <a:off x="7688820" y="4274410"/>
            <a:ext cx="1819597" cy="1436480"/>
          </a:xfrm>
          <a:prstGeom prst="rect">
            <a:avLst/>
          </a:prstGeom>
        </p:spPr>
      </p:pic>
      <p:sp>
        <p:nvSpPr>
          <p:cNvPr id="20" name="TextBox 19">
            <a:extLst>
              <a:ext uri="{FF2B5EF4-FFF2-40B4-BE49-F238E27FC236}">
                <a16:creationId xmlns:a16="http://schemas.microsoft.com/office/drawing/2014/main" id="{2BCDDB47-D5E6-C265-4603-88C92B122D22}"/>
              </a:ext>
            </a:extLst>
          </p:cNvPr>
          <p:cNvSpPr txBox="1"/>
          <p:nvPr/>
        </p:nvSpPr>
        <p:spPr>
          <a:xfrm rot="19785134">
            <a:off x="8161694" y="5456004"/>
            <a:ext cx="2041430" cy="261610"/>
          </a:xfrm>
          <a:prstGeom prst="rect">
            <a:avLst/>
          </a:prstGeom>
          <a:solidFill>
            <a:schemeClr val="tx1"/>
          </a:solidFill>
          <a:ln>
            <a:solidFill>
              <a:schemeClr val="accent2"/>
            </a:solid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or Illustration Purposes Only</a:t>
            </a:r>
          </a:p>
        </p:txBody>
      </p:sp>
    </p:spTree>
    <p:extLst>
      <p:ext uri="{BB962C8B-B14F-4D97-AF65-F5344CB8AC3E}">
        <p14:creationId xmlns:p14="http://schemas.microsoft.com/office/powerpoint/2010/main" val="3016214707"/>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Process 1">
            <a:extLst>
              <a:ext uri="{FF2B5EF4-FFF2-40B4-BE49-F238E27FC236}">
                <a16:creationId xmlns:a16="http://schemas.microsoft.com/office/drawing/2014/main" id="{31E8A70A-4E0A-509D-B297-9E66685D9B45}"/>
              </a:ext>
            </a:extLst>
          </p:cNvPr>
          <p:cNvSpPr/>
          <p:nvPr/>
        </p:nvSpPr>
        <p:spPr bwMode="gray">
          <a:xfrm>
            <a:off x="7337040" y="2018974"/>
            <a:ext cx="4226294" cy="4447309"/>
          </a:xfrm>
          <a:prstGeom prst="flowChartProcess">
            <a:avLst/>
          </a:prstGeom>
          <a:noFill/>
          <a:ln w="3810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sp>
        <p:nvSpPr>
          <p:cNvPr id="6" name="TextBox 5">
            <a:extLst>
              <a:ext uri="{FF2B5EF4-FFF2-40B4-BE49-F238E27FC236}">
                <a16:creationId xmlns:a16="http://schemas.microsoft.com/office/drawing/2014/main" id="{78AA14C8-C2E2-7EA7-474B-E4D8B5F6DC35}"/>
              </a:ext>
            </a:extLst>
          </p:cNvPr>
          <p:cNvSpPr txBox="1"/>
          <p:nvPr/>
        </p:nvSpPr>
        <p:spPr>
          <a:xfrm>
            <a:off x="394109" y="1048757"/>
            <a:ext cx="11530798" cy="661667"/>
          </a:xfrm>
          <a:prstGeom prst="rect">
            <a:avLst/>
          </a:prstGeom>
          <a:noFill/>
          <a:ln w="9525" algn="ctr">
            <a:noFill/>
            <a:miter lim="800000"/>
            <a:headEnd/>
            <a:tailEnd/>
          </a:ln>
        </p:spPr>
        <p:txBody>
          <a:bodyPr wrap="square" lIns="91440" tIns="0" rIns="91440" bIns="0" rtlCol="0" anchor="t" anchorCtr="0">
            <a:noAutofit/>
          </a:bodyPr>
          <a:lstStyle/>
          <a:p>
            <a:pPr algn="just">
              <a:lnSpc>
                <a:spcPct val="120000"/>
              </a:lnSpc>
              <a:spcAft>
                <a:spcPts val="600"/>
              </a:spcAft>
              <a:buSzPct val="100000"/>
              <a:defRPr/>
            </a:pPr>
            <a:r>
              <a:rPr lang="en-US" sz="1100" dirty="0">
                <a:solidFill>
                  <a:schemeClr val="tx2"/>
                </a:solidFill>
                <a:latin typeface="+mn-lt"/>
              </a:rPr>
              <a:t>Utilizing our trademark BETH3V methodology to identify the resource requirements during the BIA exercise. Our methodology allows us to use impact-driven approach to identify the resources required to continue the mission-critical activities. </a:t>
            </a:r>
          </a:p>
        </p:txBody>
      </p:sp>
      <p:pic>
        <p:nvPicPr>
          <p:cNvPr id="7" name="Picture 6">
            <a:extLst>
              <a:ext uri="{FF2B5EF4-FFF2-40B4-BE49-F238E27FC236}">
                <a16:creationId xmlns:a16="http://schemas.microsoft.com/office/drawing/2014/main" id="{A562648B-8A00-D1F9-96BC-8D09DD599A77}"/>
              </a:ext>
            </a:extLst>
          </p:cNvPr>
          <p:cNvPicPr>
            <a:picLocks noChangeAspect="1"/>
          </p:cNvPicPr>
          <p:nvPr/>
        </p:nvPicPr>
        <p:blipFill>
          <a:blip r:embed="rId2"/>
          <a:stretch>
            <a:fillRect/>
          </a:stretch>
        </p:blipFill>
        <p:spPr>
          <a:xfrm>
            <a:off x="9185616" y="1535515"/>
            <a:ext cx="733646" cy="733646"/>
          </a:xfrm>
          <a:prstGeom prst="rect">
            <a:avLst/>
          </a:prstGeom>
        </p:spPr>
      </p:pic>
      <p:sp>
        <p:nvSpPr>
          <p:cNvPr id="10" name="TextBox 9">
            <a:extLst>
              <a:ext uri="{FF2B5EF4-FFF2-40B4-BE49-F238E27FC236}">
                <a16:creationId xmlns:a16="http://schemas.microsoft.com/office/drawing/2014/main" id="{DB954C8E-C1B7-4154-AD04-8F98C7352546}"/>
              </a:ext>
            </a:extLst>
          </p:cNvPr>
          <p:cNvSpPr txBox="1"/>
          <p:nvPr/>
        </p:nvSpPr>
        <p:spPr>
          <a:xfrm>
            <a:off x="7778883" y="2503883"/>
            <a:ext cx="3547112" cy="112030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285750" indent="-285750">
              <a:lnSpc>
                <a:spcPct val="120000"/>
              </a:lnSpc>
              <a:spcAft>
                <a:spcPts val="600"/>
              </a:spcAft>
              <a:buSzPct val="100000"/>
              <a:buFont typeface="Wingdings" panose="05000000000000000000" pitchFamily="2" charset="2"/>
              <a:buChar char="ü"/>
              <a:defRPr/>
            </a:pPr>
            <a:r>
              <a:rPr lang="en-US" sz="11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BIA Templates</a:t>
            </a:r>
          </a:p>
          <a:p>
            <a:pPr marL="285750" indent="-285750">
              <a:lnSpc>
                <a:spcPct val="120000"/>
              </a:lnSpc>
              <a:spcAft>
                <a:spcPts val="600"/>
              </a:spcAft>
              <a:buSzPct val="100000"/>
              <a:buFont typeface="Wingdings" panose="05000000000000000000" pitchFamily="2" charset="2"/>
              <a:buChar char="ü"/>
              <a:defRPr/>
            </a:pPr>
            <a:r>
              <a:rPr lang="en-US" sz="11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BIA report for each business function (max. 12)</a:t>
            </a:r>
          </a:p>
          <a:p>
            <a:pPr marL="285750" indent="-285750">
              <a:lnSpc>
                <a:spcPct val="120000"/>
              </a:lnSpc>
              <a:spcAft>
                <a:spcPts val="600"/>
              </a:spcAft>
              <a:buSzPct val="100000"/>
              <a:buFont typeface="Wingdings" panose="05000000000000000000" pitchFamily="2" charset="2"/>
              <a:buChar char="ü"/>
              <a:defRPr/>
            </a:pPr>
            <a:r>
              <a:rPr lang="en-US" sz="11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Consolidated BIA report</a:t>
            </a:r>
          </a:p>
          <a:p>
            <a:pPr marL="285750" indent="-285750">
              <a:lnSpc>
                <a:spcPct val="120000"/>
              </a:lnSpc>
              <a:spcAft>
                <a:spcPts val="600"/>
              </a:spcAft>
              <a:buSzPct val="100000"/>
              <a:buFont typeface="Wingdings" panose="05000000000000000000" pitchFamily="2" charset="2"/>
              <a:buChar char="ü"/>
              <a:defRPr/>
            </a:pPr>
            <a:r>
              <a:rPr lang="en-US" sz="11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Management Presentation</a:t>
            </a:r>
          </a:p>
        </p:txBody>
      </p:sp>
      <p:sp>
        <p:nvSpPr>
          <p:cNvPr id="11" name="Rectangle 10">
            <a:extLst>
              <a:ext uri="{FF2B5EF4-FFF2-40B4-BE49-F238E27FC236}">
                <a16:creationId xmlns:a16="http://schemas.microsoft.com/office/drawing/2014/main" id="{910A0F20-205A-031F-7AA1-3D98A6FCCC30}"/>
              </a:ext>
            </a:extLst>
          </p:cNvPr>
          <p:cNvSpPr/>
          <p:nvPr/>
        </p:nvSpPr>
        <p:spPr bwMode="gray">
          <a:xfrm>
            <a:off x="381970" y="1784252"/>
            <a:ext cx="11599333" cy="4834428"/>
          </a:xfrm>
          <a:prstGeom prst="rect">
            <a:avLst/>
          </a:prstGeom>
          <a:noFill/>
          <a:ln w="19050" algn="ctr">
            <a:solidFill>
              <a:schemeClr val="accent2"/>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sp>
        <p:nvSpPr>
          <p:cNvPr id="14" name="TextBox 13">
            <a:extLst>
              <a:ext uri="{FF2B5EF4-FFF2-40B4-BE49-F238E27FC236}">
                <a16:creationId xmlns:a16="http://schemas.microsoft.com/office/drawing/2014/main" id="{F10227DE-8C1F-199B-621C-AC0EA778471D}"/>
              </a:ext>
            </a:extLst>
          </p:cNvPr>
          <p:cNvSpPr txBox="1"/>
          <p:nvPr/>
        </p:nvSpPr>
        <p:spPr>
          <a:xfrm>
            <a:off x="628665" y="2228374"/>
            <a:ext cx="6290405" cy="38995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285750" indent="-285750">
              <a:lnSpc>
                <a:spcPct val="150000"/>
              </a:lnSpc>
              <a:buFont typeface="Wingdings" panose="05000000000000000000" pitchFamily="2" charset="2"/>
              <a:buChar char="ü"/>
              <a:defRPr sz="1800">
                <a:solidFill>
                  <a:schemeClr val="tx2"/>
                </a:solidFill>
                <a:latin typeface="+mn-lt"/>
              </a:defRPr>
            </a:lvl1pPr>
          </a:lstStyle>
          <a:p>
            <a:pPr marL="0" indent="0" hangingPunct="1">
              <a:lnSpc>
                <a:spcPct val="100000"/>
              </a:lnSpc>
              <a:spcAft>
                <a:spcPts val="600"/>
              </a:spcAft>
              <a:buClr>
                <a:srgbClr val="86BC25"/>
              </a:buClr>
              <a:buNone/>
              <a:defRPr/>
            </a:pPr>
            <a:r>
              <a:rPr lang="en-US" sz="1100" kern="1200" dirty="0">
                <a:solidFill>
                  <a:prstClr val="black"/>
                </a:solidFill>
                <a:ea typeface="Verdana" panose="020B0604030504040204" pitchFamily="34" charset="0"/>
                <a:cs typeface="Open Sans Light" panose="020B0306030504020204" pitchFamily="34" charset="0"/>
              </a:rPr>
              <a:t>We will be utilizing our trademark BETH3V™ methodology to identify the resource requirements during the Business Impact Analysis (BIA) exercise. </a:t>
            </a:r>
          </a:p>
          <a:p>
            <a:pPr marL="0" indent="0" hangingPunct="1">
              <a:lnSpc>
                <a:spcPct val="100000"/>
              </a:lnSpc>
              <a:spcAft>
                <a:spcPts val="600"/>
              </a:spcAft>
              <a:buClr>
                <a:srgbClr val="86BC25"/>
              </a:buClr>
              <a:buNone/>
              <a:defRPr/>
            </a:pPr>
            <a:r>
              <a:rPr lang="en-US" sz="1100" kern="1200" dirty="0">
                <a:solidFill>
                  <a:prstClr val="black"/>
                </a:solidFill>
                <a:ea typeface="Verdana" panose="020B0604030504040204" pitchFamily="34" charset="0"/>
                <a:cs typeface="Open Sans Light" panose="020B0306030504020204" pitchFamily="34" charset="0"/>
              </a:rPr>
              <a:t>BIA identifies the consequences of business interruption and evaluates business impacts by measuring the Quantitative (financial) and Qualitative (operational, reputational and regulatory etc.) impacts associated with a disruption of the normal operations of an organization. As part of this phase, we will:</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Review the business processes documentation that support the various departments;</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Identify impact of disruption on quantitative and qualitative matrices and identify the Maximum Tolerable Period of Disruption (MTPD) and Recovery Time Objective (RTO);</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Identify the BETH3V process enablers (i.e. Building, Equipment, Technology, Human Resources, 3rd Party and Vital Records) that would be required to recover the time critical processes;</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Identify the external and internal dependencies of time critical business processes as well as required technologies, personnel, workspace and equipment in order to analyze the overall impact of outages to determine the appropriate recoverability investment;</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Document the outcomes in a Consolidated BIA Report</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We will utilize the impact rating matrix and risk appetite set by the Risk Management function of Salam. In case its not available, we will propose an Impact Rating Matrix template to be utilized by Salam Management; however, actual metrics/thresholds shall be provided by Salam Management.</a:t>
            </a:r>
          </a:p>
        </p:txBody>
      </p:sp>
      <p:sp>
        <p:nvSpPr>
          <p:cNvPr id="4" name="Title 1">
            <a:extLst>
              <a:ext uri="{FF2B5EF4-FFF2-40B4-BE49-F238E27FC236}">
                <a16:creationId xmlns:a16="http://schemas.microsoft.com/office/drawing/2014/main" id="{FF2DD53C-57CE-24E4-5D52-EFCB0E74F15E}"/>
              </a:ext>
            </a:extLst>
          </p:cNvPr>
          <p:cNvSpPr txBox="1">
            <a:spLocks/>
          </p:cNvSpPr>
          <p:nvPr/>
        </p:nvSpPr>
        <p:spPr>
          <a:xfrm>
            <a:off x="411480" y="402587"/>
            <a:ext cx="11252200" cy="334102"/>
          </a:xfrm>
          <a:prstGeom prst="rect">
            <a:avLst/>
          </a:prstGeom>
        </p:spPr>
        <p:txBody>
          <a:bodyPr vert="horz" wrap="square" lIns="0" tIns="0" rIns="0" bIns="0" rtlCol="0" anchor="t" anchorCtr="0">
            <a:noAutofit/>
          </a:bodyPr>
          <a:lstStyle>
            <a:lvl1pPr>
              <a:defRPr sz="2400" b="0" i="0">
                <a:solidFill>
                  <a:srgbClr val="86BC25"/>
                </a:solidFill>
                <a:latin typeface="Calibri" panose="020F0502020204030204" pitchFamily="34" charset="0"/>
                <a:ea typeface="Verdana" panose="020B0604030504040204" pitchFamily="34" charset="0"/>
                <a:cs typeface="Calibri" panose="020F0502020204030204" pitchFamily="34" charset="0"/>
              </a:defRPr>
            </a:lvl1pPr>
          </a:lstStyle>
          <a:p>
            <a:pPr hangingPunct="1">
              <a:spcBef>
                <a:spcPct val="0"/>
              </a:spcBef>
              <a:defRPr/>
            </a:pPr>
            <a:r>
              <a:rPr lang="en-US" sz="2000" dirty="0">
                <a:solidFill>
                  <a:schemeClr val="tx2">
                    <a:lumMod val="50000"/>
                  </a:schemeClr>
                </a:solidFill>
                <a:latin typeface="+mn-lt"/>
                <a:ea typeface="Open Sans Semibold" panose="020B0706030804020204" pitchFamily="34" charset="0"/>
                <a:cs typeface="Open Sans Semibold" panose="020B0706030804020204" pitchFamily="34" charset="0"/>
              </a:rPr>
              <a:t>Approach and Methodology</a:t>
            </a:r>
          </a:p>
        </p:txBody>
      </p:sp>
      <p:sp>
        <p:nvSpPr>
          <p:cNvPr id="8" name="TextBox 7">
            <a:extLst>
              <a:ext uri="{FF2B5EF4-FFF2-40B4-BE49-F238E27FC236}">
                <a16:creationId xmlns:a16="http://schemas.microsoft.com/office/drawing/2014/main" id="{862BB36A-AE2F-75C7-431A-44B645945D42}"/>
              </a:ext>
            </a:extLst>
          </p:cNvPr>
          <p:cNvSpPr txBox="1"/>
          <p:nvPr/>
        </p:nvSpPr>
        <p:spPr>
          <a:xfrm>
            <a:off x="3132509" y="1647820"/>
            <a:ext cx="1542233" cy="246221"/>
          </a:xfrm>
          <a:prstGeom prst="rect">
            <a:avLst/>
          </a:prstGeom>
          <a:solidFill>
            <a:schemeClr val="bg1"/>
          </a:solidFill>
          <a:ln>
            <a:solidFill>
              <a:schemeClr val="accent2"/>
            </a:solidFill>
          </a:ln>
        </p:spPr>
        <p:txBody>
          <a:bodyPr wrap="square" lIns="0" tIns="0" rIns="0" bIns="0" rtlCol="0">
            <a:spAutoFit/>
          </a:bodyPr>
          <a:lstStyle/>
          <a:p>
            <a:pPr algn="ctr">
              <a:spcBef>
                <a:spcPts val="600"/>
              </a:spcBef>
              <a:buSzPct val="100000"/>
            </a:pPr>
            <a:r>
              <a:rPr lang="en-US" sz="1600" b="1" dirty="0">
                <a:solidFill>
                  <a:schemeClr val="accent2"/>
                </a:solidFill>
                <a:latin typeface="+mn-lt"/>
              </a:rPr>
              <a:t>Key Activities</a:t>
            </a:r>
            <a:endParaRPr lang="en-AE" sz="1600" b="1" dirty="0">
              <a:solidFill>
                <a:schemeClr val="accent2"/>
              </a:solidFill>
              <a:latin typeface="+mn-lt"/>
            </a:endParaRPr>
          </a:p>
        </p:txBody>
      </p:sp>
      <p:sp>
        <p:nvSpPr>
          <p:cNvPr id="16" name="TextBox 15">
            <a:extLst>
              <a:ext uri="{FF2B5EF4-FFF2-40B4-BE49-F238E27FC236}">
                <a16:creationId xmlns:a16="http://schemas.microsoft.com/office/drawing/2014/main" id="{D618E306-2080-9F6D-1323-A6F1474DAC7A}"/>
              </a:ext>
            </a:extLst>
          </p:cNvPr>
          <p:cNvSpPr txBox="1"/>
          <p:nvPr/>
        </p:nvSpPr>
        <p:spPr>
          <a:xfrm rot="5400000">
            <a:off x="11456364" y="3983555"/>
            <a:ext cx="1051570" cy="246221"/>
          </a:xfrm>
          <a:prstGeom prst="rect">
            <a:avLst/>
          </a:prstGeom>
          <a:solidFill>
            <a:schemeClr val="bg1"/>
          </a:solidFill>
          <a:ln>
            <a:solidFill>
              <a:schemeClr val="accent2"/>
            </a:solidFill>
          </a:ln>
        </p:spPr>
        <p:txBody>
          <a:bodyPr wrap="none" lIns="0" tIns="0" rIns="0" bIns="0" rtlCol="0">
            <a:spAutoFit/>
          </a:bodyPr>
          <a:lstStyle/>
          <a:p>
            <a:pPr algn="ctr">
              <a:spcBef>
                <a:spcPts val="600"/>
              </a:spcBef>
              <a:buSzPct val="100000"/>
            </a:pPr>
            <a:r>
              <a:rPr lang="en-US" sz="1600" b="1" dirty="0">
                <a:solidFill>
                  <a:schemeClr val="accent2"/>
                </a:solidFill>
                <a:latin typeface="+mn-lt"/>
              </a:rPr>
              <a:t>Deliverables</a:t>
            </a:r>
            <a:endParaRPr lang="en-AE" sz="1600" b="1" dirty="0">
              <a:solidFill>
                <a:schemeClr val="accent2"/>
              </a:solidFill>
              <a:latin typeface="+mn-lt"/>
            </a:endParaRPr>
          </a:p>
        </p:txBody>
      </p:sp>
      <p:sp>
        <p:nvSpPr>
          <p:cNvPr id="18" name="Text Placeholder 20">
            <a:extLst>
              <a:ext uri="{FF2B5EF4-FFF2-40B4-BE49-F238E27FC236}">
                <a16:creationId xmlns:a16="http://schemas.microsoft.com/office/drawing/2014/main" id="{28F37D91-C272-9C51-368D-2BEA33D59475}"/>
              </a:ext>
            </a:extLst>
          </p:cNvPr>
          <p:cNvSpPr txBox="1">
            <a:spLocks/>
          </p:cNvSpPr>
          <p:nvPr/>
        </p:nvSpPr>
        <p:spPr>
          <a:xfrm>
            <a:off x="411480"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lvl="0" indent="0">
              <a:spcBef>
                <a:spcPts val="0"/>
              </a:spcBef>
              <a:spcAft>
                <a:spcPts val="1333"/>
              </a:spcAft>
              <a:buNone/>
              <a:defRPr/>
            </a:pPr>
            <a:r>
              <a:rPr lang="en-US" sz="1400" b="1" dirty="0">
                <a:solidFill>
                  <a:srgbClr val="575757"/>
                </a:solidFill>
                <a:latin typeface="+mn-lt"/>
                <a:ea typeface="Open Sans Light" panose="020B0306030504020204" pitchFamily="34" charset="0"/>
                <a:cs typeface="Open Sans Light" panose="020B0306030504020204" pitchFamily="34" charset="0"/>
              </a:rPr>
              <a:t>Phase 4: Business Impact Analysis (1/2) </a:t>
            </a:r>
          </a:p>
        </p:txBody>
      </p:sp>
      <p:pic>
        <p:nvPicPr>
          <p:cNvPr id="19" name="Picture 18">
            <a:extLst>
              <a:ext uri="{FF2B5EF4-FFF2-40B4-BE49-F238E27FC236}">
                <a16:creationId xmlns:a16="http://schemas.microsoft.com/office/drawing/2014/main" id="{CEFAEBEC-97EC-60C3-34B4-75D2741727F7}"/>
              </a:ext>
            </a:extLst>
          </p:cNvPr>
          <p:cNvPicPr>
            <a:picLocks noChangeAspect="1"/>
          </p:cNvPicPr>
          <p:nvPr/>
        </p:nvPicPr>
        <p:blipFill>
          <a:blip r:embed="rId3"/>
          <a:stretch>
            <a:fillRect/>
          </a:stretch>
        </p:blipFill>
        <p:spPr>
          <a:xfrm>
            <a:off x="8748498" y="4464459"/>
            <a:ext cx="2895253" cy="1887734"/>
          </a:xfrm>
          <a:prstGeom prst="rect">
            <a:avLst/>
          </a:prstGeom>
        </p:spPr>
      </p:pic>
      <p:pic>
        <p:nvPicPr>
          <p:cNvPr id="9" name="Picture 8">
            <a:extLst>
              <a:ext uri="{FF2B5EF4-FFF2-40B4-BE49-F238E27FC236}">
                <a16:creationId xmlns:a16="http://schemas.microsoft.com/office/drawing/2014/main" id="{A4A17EDC-DB47-4561-DB8C-F0ED7AAE4E52}"/>
              </a:ext>
            </a:extLst>
          </p:cNvPr>
          <p:cNvPicPr>
            <a:picLocks noChangeAspect="1"/>
          </p:cNvPicPr>
          <p:nvPr/>
        </p:nvPicPr>
        <p:blipFill>
          <a:blip r:embed="rId4">
            <a:extLst>
              <a:ext uri="{BEBA8EAE-BF5A-486C-A8C5-ECC9F3942E4B}">
                <a14:imgProps xmlns:a14="http://schemas.microsoft.com/office/drawing/2010/main">
                  <a14:imgLayer r:embed="rId5">
                    <a14:imgEffect>
                      <a14:saturation sat="400000"/>
                    </a14:imgEffect>
                  </a14:imgLayer>
                </a14:imgProps>
              </a:ext>
            </a:extLst>
          </a:blip>
          <a:stretch>
            <a:fillRect/>
          </a:stretch>
        </p:blipFill>
        <p:spPr>
          <a:xfrm>
            <a:off x="7447899" y="4257686"/>
            <a:ext cx="1895286" cy="1036718"/>
          </a:xfrm>
          <a:prstGeom prst="rect">
            <a:avLst/>
          </a:prstGeom>
        </p:spPr>
      </p:pic>
      <p:sp>
        <p:nvSpPr>
          <p:cNvPr id="20" name="TextBox 19">
            <a:extLst>
              <a:ext uri="{FF2B5EF4-FFF2-40B4-BE49-F238E27FC236}">
                <a16:creationId xmlns:a16="http://schemas.microsoft.com/office/drawing/2014/main" id="{0E5BED05-8CB0-5AA4-7DDA-75EE79DD9CD3}"/>
              </a:ext>
            </a:extLst>
          </p:cNvPr>
          <p:cNvSpPr txBox="1"/>
          <p:nvPr/>
        </p:nvSpPr>
        <p:spPr>
          <a:xfrm rot="19785134">
            <a:off x="8161694" y="5234622"/>
            <a:ext cx="2041430" cy="261610"/>
          </a:xfrm>
          <a:prstGeom prst="rect">
            <a:avLst/>
          </a:prstGeom>
          <a:solidFill>
            <a:schemeClr val="tx1"/>
          </a:solidFill>
          <a:ln>
            <a:solidFill>
              <a:schemeClr val="accent2"/>
            </a:solid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or Illustration Purposes Only</a:t>
            </a:r>
          </a:p>
        </p:txBody>
      </p:sp>
    </p:spTree>
    <p:extLst>
      <p:ext uri="{BB962C8B-B14F-4D97-AF65-F5344CB8AC3E}">
        <p14:creationId xmlns:p14="http://schemas.microsoft.com/office/powerpoint/2010/main" val="2457903236"/>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78AA14C8-C2E2-7EA7-474B-E4D8B5F6DC35}"/>
              </a:ext>
            </a:extLst>
          </p:cNvPr>
          <p:cNvSpPr txBox="1"/>
          <p:nvPr/>
        </p:nvSpPr>
        <p:spPr>
          <a:xfrm>
            <a:off x="394109" y="1048757"/>
            <a:ext cx="11530798" cy="661667"/>
          </a:xfrm>
          <a:prstGeom prst="rect">
            <a:avLst/>
          </a:prstGeom>
          <a:noFill/>
          <a:ln w="9525" algn="ctr">
            <a:noFill/>
            <a:miter lim="800000"/>
            <a:headEnd/>
            <a:tailEnd/>
          </a:ln>
        </p:spPr>
        <p:txBody>
          <a:bodyPr wrap="square" lIns="91440" tIns="0" rIns="91440" bIns="0" rtlCol="0" anchor="t" anchorCtr="0">
            <a:noAutofit/>
          </a:bodyPr>
          <a:lstStyle/>
          <a:p>
            <a:pPr algn="just">
              <a:lnSpc>
                <a:spcPct val="120000"/>
              </a:lnSpc>
              <a:spcAft>
                <a:spcPts val="600"/>
              </a:spcAft>
              <a:buSzPct val="100000"/>
              <a:defRPr/>
            </a:pPr>
            <a:r>
              <a:rPr lang="en-US" sz="1100" dirty="0">
                <a:solidFill>
                  <a:schemeClr val="tx2"/>
                </a:solidFill>
                <a:latin typeface="+mn-lt"/>
              </a:rPr>
              <a:t>We understand that one size does not fit all in terms of conducting a Business Impact Analysis (BIA). We appreciate that each industry is unique, and accordingly, we customize our BIA approach for each environment. The below diagram represents the BIA that we will conduct for Salam.</a:t>
            </a:r>
          </a:p>
        </p:txBody>
      </p:sp>
      <p:sp>
        <p:nvSpPr>
          <p:cNvPr id="11" name="Rectangle 10">
            <a:extLst>
              <a:ext uri="{FF2B5EF4-FFF2-40B4-BE49-F238E27FC236}">
                <a16:creationId xmlns:a16="http://schemas.microsoft.com/office/drawing/2014/main" id="{910A0F20-205A-031F-7AA1-3D98A6FCCC30}"/>
              </a:ext>
            </a:extLst>
          </p:cNvPr>
          <p:cNvSpPr/>
          <p:nvPr/>
        </p:nvSpPr>
        <p:spPr bwMode="gray">
          <a:xfrm>
            <a:off x="381970" y="1784252"/>
            <a:ext cx="11599333" cy="4834428"/>
          </a:xfrm>
          <a:prstGeom prst="rect">
            <a:avLst/>
          </a:prstGeom>
          <a:noFill/>
          <a:ln w="19050" algn="ctr">
            <a:solidFill>
              <a:schemeClr val="accent2"/>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grpSp>
        <p:nvGrpSpPr>
          <p:cNvPr id="33" name="Group 32">
            <a:extLst>
              <a:ext uri="{FF2B5EF4-FFF2-40B4-BE49-F238E27FC236}">
                <a16:creationId xmlns:a16="http://schemas.microsoft.com/office/drawing/2014/main" id="{48880207-3EDD-4226-E308-BAAE3C1C106D}"/>
              </a:ext>
            </a:extLst>
          </p:cNvPr>
          <p:cNvGrpSpPr/>
          <p:nvPr/>
        </p:nvGrpSpPr>
        <p:grpSpPr>
          <a:xfrm>
            <a:off x="664378" y="2319807"/>
            <a:ext cx="11016908" cy="4182744"/>
            <a:chOff x="555443" y="1875740"/>
            <a:chExt cx="11317259" cy="4182744"/>
          </a:xfrm>
        </p:grpSpPr>
        <p:sp>
          <p:nvSpPr>
            <p:cNvPr id="34" name="Rounded Rectangle 63">
              <a:extLst>
                <a:ext uri="{FF2B5EF4-FFF2-40B4-BE49-F238E27FC236}">
                  <a16:creationId xmlns:a16="http://schemas.microsoft.com/office/drawing/2014/main" id="{4E2C6DFD-5237-7663-C8E6-C963C44E54FD}"/>
                </a:ext>
              </a:extLst>
            </p:cNvPr>
            <p:cNvSpPr/>
            <p:nvPr/>
          </p:nvSpPr>
          <p:spPr>
            <a:xfrm>
              <a:off x="555443" y="1875740"/>
              <a:ext cx="11101095" cy="318801"/>
            </a:xfrm>
            <a:prstGeom prst="roundRect">
              <a:avLst/>
            </a:prstGeom>
            <a:solidFill>
              <a:srgbClr val="046A38"/>
            </a:solidFill>
            <a:ln>
              <a:noFill/>
            </a:ln>
          </p:spPr>
          <p:style>
            <a:lnRef idx="2">
              <a:schemeClr val="accent1"/>
            </a:lnRef>
            <a:fillRef idx="1">
              <a:schemeClr val="lt1"/>
            </a:fillRef>
            <a:effectRef idx="0">
              <a:schemeClr val="accent1"/>
            </a:effectRef>
            <a:fontRef idx="minor">
              <a:schemeClr val="dk1"/>
            </a:fontRef>
          </p:style>
          <p:txBody>
            <a:bodyPr wrap="square" lIns="36000" tIns="36000" rIns="36000" bIns="36000" rtlCol="0" anchor="ctr">
              <a:spAutoFit/>
            </a:bodyPr>
            <a:lstStyle/>
            <a:p>
              <a:pPr algn="ctr"/>
              <a:endParaRPr lang="en-US" sz="1400" dirty="0">
                <a:solidFill>
                  <a:schemeClr val="tx2"/>
                </a:solidFill>
                <a:latin typeface="Calibri" panose="020F0502020204030204" pitchFamily="34" charset="0"/>
                <a:cs typeface="Calibri" panose="020F0502020204030204" pitchFamily="34" charset="0"/>
              </a:endParaRPr>
            </a:p>
          </p:txBody>
        </p:sp>
        <p:sp>
          <p:nvSpPr>
            <p:cNvPr id="35" name="TextBox 34">
              <a:extLst>
                <a:ext uri="{FF2B5EF4-FFF2-40B4-BE49-F238E27FC236}">
                  <a16:creationId xmlns:a16="http://schemas.microsoft.com/office/drawing/2014/main" id="{8E325F37-0B3B-2FD4-2F28-7F1FB78EC6A9}"/>
                </a:ext>
              </a:extLst>
            </p:cNvPr>
            <p:cNvSpPr txBox="1"/>
            <p:nvPr/>
          </p:nvSpPr>
          <p:spPr>
            <a:xfrm>
              <a:off x="4620089" y="1906456"/>
              <a:ext cx="3137229" cy="257369"/>
            </a:xfrm>
            <a:prstGeom prst="rect">
              <a:avLst/>
            </a:prstGeom>
            <a:noFill/>
          </p:spPr>
          <p:txBody>
            <a:bodyPr wrap="square" lIns="36000" tIns="36000" rIns="36000" bIns="36000" rtlCol="0">
              <a:spAutoFit/>
            </a:bodyPr>
            <a:lstStyle/>
            <a:p>
              <a:r>
                <a:rPr lang="en-US" sz="1200" b="1">
                  <a:solidFill>
                    <a:schemeClr val="bg1"/>
                  </a:solidFill>
                  <a:latin typeface="Calibri" panose="020F0502020204030204" pitchFamily="34" charset="0"/>
                  <a:cs typeface="Calibri" panose="020F0502020204030204" pitchFamily="34" charset="0"/>
                </a:rPr>
                <a:t>Business Impact Analysis (BIA)</a:t>
              </a:r>
            </a:p>
          </p:txBody>
        </p:sp>
        <p:pic>
          <p:nvPicPr>
            <p:cNvPr id="36" name="Picture 27" descr="C:\Users\jsauvageau\Desktop\7.png">
              <a:extLst>
                <a:ext uri="{FF2B5EF4-FFF2-40B4-BE49-F238E27FC236}">
                  <a16:creationId xmlns:a16="http://schemas.microsoft.com/office/drawing/2014/main" id="{D446320B-2FCE-38DD-BBD1-1943FD52EDB6}"/>
                </a:ext>
              </a:extLst>
            </p:cNvPr>
            <p:cNvPicPr>
              <a:picLocks noChangeAspect="1" noChangeArrowheads="1"/>
            </p:cNvPicPr>
            <p:nvPr/>
          </p:nvPicPr>
          <p:blipFill>
            <a:blip r:embed="rId2" cstate="email">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a:ext>
              </a:extLst>
            </a:blip>
            <a:srcRect/>
            <a:stretch>
              <a:fillRect/>
            </a:stretch>
          </p:blipFill>
          <p:spPr bwMode="auto">
            <a:xfrm>
              <a:off x="1326042" y="2629590"/>
              <a:ext cx="365705" cy="426668"/>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4524C829-1E8B-1B42-EE82-708FC54CE5DF}"/>
                </a:ext>
              </a:extLst>
            </p:cNvPr>
            <p:cNvSpPr txBox="1"/>
            <p:nvPr/>
          </p:nvSpPr>
          <p:spPr>
            <a:xfrm>
              <a:off x="721564" y="3184005"/>
              <a:ext cx="1566248" cy="580534"/>
            </a:xfrm>
            <a:prstGeom prst="rect">
              <a:avLst/>
            </a:prstGeom>
            <a:noFill/>
          </p:spPr>
          <p:txBody>
            <a:bodyPr wrap="square" lIns="36000" tIns="36000" rIns="36000" bIns="36000" rtlCol="0">
              <a:spAutoFit/>
            </a:bodyPr>
            <a:lstStyle/>
            <a:p>
              <a:pPr algn="ctr"/>
              <a:r>
                <a:rPr lang="en-US" sz="1100" dirty="0">
                  <a:solidFill>
                    <a:schemeClr val="accent6"/>
                  </a:solidFill>
                  <a:latin typeface="+mn-lt"/>
                  <a:cs typeface="Calibri" panose="020F0502020204030204" pitchFamily="34" charset="0"/>
                </a:rPr>
                <a:t>Business </a:t>
              </a:r>
            </a:p>
            <a:p>
              <a:pPr algn="ctr"/>
              <a:r>
                <a:rPr lang="en-US" sz="1100" dirty="0">
                  <a:solidFill>
                    <a:schemeClr val="accent6"/>
                  </a:solidFill>
                  <a:latin typeface="+mn-lt"/>
                  <a:cs typeface="Calibri" panose="020F0502020204030204" pitchFamily="34" charset="0"/>
                </a:rPr>
                <a:t>Process </a:t>
              </a:r>
            </a:p>
            <a:p>
              <a:pPr algn="ctr"/>
              <a:r>
                <a:rPr lang="en-US" sz="1100" dirty="0">
                  <a:solidFill>
                    <a:schemeClr val="accent6"/>
                  </a:solidFill>
                  <a:latin typeface="+mn-lt"/>
                  <a:cs typeface="Calibri" panose="020F0502020204030204" pitchFamily="34" charset="0"/>
                </a:rPr>
                <a:t>Descriptions</a:t>
              </a:r>
            </a:p>
          </p:txBody>
        </p:sp>
        <p:pic>
          <p:nvPicPr>
            <p:cNvPr id="38" name="Picture 20" descr="C:\Users\jsauvageau\Desktop\3.png">
              <a:extLst>
                <a:ext uri="{FF2B5EF4-FFF2-40B4-BE49-F238E27FC236}">
                  <a16:creationId xmlns:a16="http://schemas.microsoft.com/office/drawing/2014/main" id="{A4CF94A9-8F12-F8B6-CF3E-5E6C1A0A8D36}"/>
                </a:ext>
              </a:extLst>
            </p:cNvPr>
            <p:cNvPicPr>
              <a:picLocks noChangeAspect="1" noChangeArrowheads="1"/>
            </p:cNvPicPr>
            <p:nvPr/>
          </p:nvPicPr>
          <p:blipFill>
            <a:blip r:embed="rId4" cstate="email">
              <a:duotone>
                <a:prstClr val="black"/>
                <a:schemeClr val="accent1">
                  <a:tint val="45000"/>
                  <a:satMod val="400000"/>
                </a:schemeClr>
              </a:duotone>
              <a:extLst>
                <a:ext uri="{BEBA8EAE-BF5A-486C-A8C5-ECC9F3942E4B}">
                  <a14:imgProps xmlns:a14="http://schemas.microsoft.com/office/drawing/2010/main">
                    <a14:imgLayer r:embed="rId5">
                      <a14:imgEffect>
                        <a14:colorTemperature colorTemp="11200"/>
                      </a14:imgEffect>
                    </a14:imgLayer>
                  </a14:imgProps>
                </a:ext>
                <a:ext uri="{28A0092B-C50C-407E-A947-70E740481C1C}">
                  <a14:useLocalDpi xmlns:a14="http://schemas.microsoft.com/office/drawing/2010/main"/>
                </a:ext>
              </a:extLst>
            </a:blip>
            <a:srcRect/>
            <a:stretch>
              <a:fillRect/>
            </a:stretch>
          </p:blipFill>
          <p:spPr bwMode="auto">
            <a:xfrm>
              <a:off x="3393737" y="2629590"/>
              <a:ext cx="531853" cy="396136"/>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BD9D5484-FAA7-1EAA-AA93-40D46C55BB17}"/>
                </a:ext>
              </a:extLst>
            </p:cNvPr>
            <p:cNvSpPr txBox="1"/>
            <p:nvPr/>
          </p:nvSpPr>
          <p:spPr>
            <a:xfrm>
              <a:off x="3007563" y="3171527"/>
              <a:ext cx="1395923" cy="411257"/>
            </a:xfrm>
            <a:prstGeom prst="rect">
              <a:avLst/>
            </a:prstGeom>
            <a:noFill/>
          </p:spPr>
          <p:txBody>
            <a:bodyPr wrap="square" lIns="36000" tIns="36000" rIns="36000" bIns="36000" rtlCol="0">
              <a:spAutoFit/>
            </a:bodyPr>
            <a:lstStyle/>
            <a:p>
              <a:pPr algn="ctr"/>
              <a:r>
                <a:rPr lang="en-US" sz="1100">
                  <a:solidFill>
                    <a:schemeClr val="accent6"/>
                  </a:solidFill>
                  <a:latin typeface="+mn-lt"/>
                  <a:cs typeface="Calibri" panose="020F0502020204030204" pitchFamily="34" charset="0"/>
                </a:rPr>
                <a:t>Business </a:t>
              </a:r>
            </a:p>
            <a:p>
              <a:pPr algn="ctr"/>
              <a:r>
                <a:rPr lang="en-US" sz="1100">
                  <a:solidFill>
                    <a:schemeClr val="accent6"/>
                  </a:solidFill>
                  <a:latin typeface="+mn-lt"/>
                  <a:cs typeface="Calibri" panose="020F0502020204030204" pitchFamily="34" charset="0"/>
                </a:rPr>
                <a:t>Process Workarounds</a:t>
              </a:r>
            </a:p>
          </p:txBody>
        </p:sp>
        <p:pic>
          <p:nvPicPr>
            <p:cNvPr id="40" name="Picture 2" descr="\\Cagmasrv1\sso$\Gestion_Deloitte\Global_Brand\- Templates\Icons\Iconography Deloitte\Icon_Caution_Green.png">
              <a:extLst>
                <a:ext uri="{FF2B5EF4-FFF2-40B4-BE49-F238E27FC236}">
                  <a16:creationId xmlns:a16="http://schemas.microsoft.com/office/drawing/2014/main" id="{23FDEBB2-85D4-040C-BC04-9BFB1727A6FC}"/>
                </a:ext>
              </a:extLst>
            </p:cNvPr>
            <p:cNvPicPr>
              <a:picLocks noChangeAspect="1" noChangeArrowheads="1"/>
            </p:cNvPicPr>
            <p:nvPr/>
          </p:nvPicPr>
          <p:blipFill>
            <a:blip r:embed="rId6" cstate="email">
              <a:duotone>
                <a:prstClr val="black"/>
                <a:schemeClr val="tx2">
                  <a:lumMod val="60000"/>
                  <a:lumOff val="40000"/>
                  <a:tint val="45000"/>
                  <a:satMod val="400000"/>
                </a:schemeClr>
              </a:duotone>
              <a:extLst>
                <a:ext uri="{28A0092B-C50C-407E-A947-70E740481C1C}">
                  <a14:useLocalDpi xmlns:a14="http://schemas.microsoft.com/office/drawing/2010/main"/>
                </a:ext>
              </a:extLst>
            </a:blip>
            <a:srcRect/>
            <a:stretch>
              <a:fillRect/>
            </a:stretch>
          </p:blipFill>
          <p:spPr bwMode="auto">
            <a:xfrm>
              <a:off x="1296442" y="4081567"/>
              <a:ext cx="441077" cy="3810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86569FDC-11E2-EC61-8C91-9818DCFAB5D6}"/>
                </a:ext>
              </a:extLst>
            </p:cNvPr>
            <p:cNvSpPr txBox="1"/>
            <p:nvPr/>
          </p:nvSpPr>
          <p:spPr>
            <a:xfrm>
              <a:off x="7543393" y="3181075"/>
              <a:ext cx="1357360" cy="411257"/>
            </a:xfrm>
            <a:prstGeom prst="rect">
              <a:avLst/>
            </a:prstGeom>
            <a:noFill/>
          </p:spPr>
          <p:txBody>
            <a:bodyPr wrap="square" lIns="36000" tIns="36000" rIns="36000" bIns="36000" rtlCol="0">
              <a:spAutoFit/>
            </a:bodyPr>
            <a:lstStyle/>
            <a:p>
              <a:pPr algn="ctr"/>
              <a:r>
                <a:rPr lang="en-US" sz="1100" dirty="0">
                  <a:solidFill>
                    <a:schemeClr val="accent6"/>
                  </a:solidFill>
                  <a:latin typeface="+mn-lt"/>
                  <a:cs typeface="Calibri" panose="020F0502020204030204" pitchFamily="34" charset="0"/>
                </a:rPr>
                <a:t>Impacts of Business Process Disruption</a:t>
              </a:r>
            </a:p>
          </p:txBody>
        </p:sp>
        <p:sp>
          <p:nvSpPr>
            <p:cNvPr id="42" name="TextBox 41">
              <a:extLst>
                <a:ext uri="{FF2B5EF4-FFF2-40B4-BE49-F238E27FC236}">
                  <a16:creationId xmlns:a16="http://schemas.microsoft.com/office/drawing/2014/main" id="{DB7E60B6-51E1-D2A0-CFBE-AFC268588B87}"/>
                </a:ext>
              </a:extLst>
            </p:cNvPr>
            <p:cNvSpPr txBox="1"/>
            <p:nvPr/>
          </p:nvSpPr>
          <p:spPr>
            <a:xfrm>
              <a:off x="624018" y="4546473"/>
              <a:ext cx="1663794" cy="580534"/>
            </a:xfrm>
            <a:prstGeom prst="rect">
              <a:avLst/>
            </a:prstGeom>
            <a:noFill/>
          </p:spPr>
          <p:txBody>
            <a:bodyPr wrap="square" lIns="36000" tIns="36000" rIns="36000" bIns="36000" rtlCol="0">
              <a:spAutoFit/>
            </a:bodyPr>
            <a:lstStyle/>
            <a:p>
              <a:pPr algn="ctr"/>
              <a:r>
                <a:rPr lang="en-US" sz="1100" dirty="0">
                  <a:solidFill>
                    <a:schemeClr val="accent6"/>
                  </a:solidFill>
                  <a:latin typeface="+mn-lt"/>
                  <a:cs typeface="Calibri" panose="020F0502020204030204" pitchFamily="34" charset="0"/>
                </a:rPr>
                <a:t>Maximum Tolerable Period of Disruption (MTPD) for Business Processes</a:t>
              </a:r>
            </a:p>
          </p:txBody>
        </p:sp>
        <p:sp>
          <p:nvSpPr>
            <p:cNvPr id="43" name="TextBox 42">
              <a:extLst>
                <a:ext uri="{FF2B5EF4-FFF2-40B4-BE49-F238E27FC236}">
                  <a16:creationId xmlns:a16="http://schemas.microsoft.com/office/drawing/2014/main" id="{5073629A-FE05-3D5C-E004-1602A07DB8F7}"/>
                </a:ext>
              </a:extLst>
            </p:cNvPr>
            <p:cNvSpPr txBox="1"/>
            <p:nvPr/>
          </p:nvSpPr>
          <p:spPr>
            <a:xfrm>
              <a:off x="2994761" y="4562745"/>
              <a:ext cx="1395922" cy="580534"/>
            </a:xfrm>
            <a:prstGeom prst="rect">
              <a:avLst/>
            </a:prstGeom>
            <a:noFill/>
          </p:spPr>
          <p:txBody>
            <a:bodyPr wrap="square" lIns="36000" tIns="36000" rIns="36000" bIns="36000" rtlCol="0">
              <a:spAutoFit/>
            </a:bodyPr>
            <a:lstStyle/>
            <a:p>
              <a:pPr algn="ctr"/>
              <a:r>
                <a:rPr lang="en-US" sz="1100">
                  <a:solidFill>
                    <a:schemeClr val="accent6"/>
                  </a:solidFill>
                  <a:latin typeface="+mn-lt"/>
                  <a:cs typeface="Calibri" panose="020F0502020204030204" pitchFamily="34" charset="0"/>
                </a:rPr>
                <a:t>Business Process Recovery Time Objectives (RTOs)</a:t>
              </a:r>
            </a:p>
          </p:txBody>
        </p:sp>
        <p:pic>
          <p:nvPicPr>
            <p:cNvPr id="44" name="Picture 13" descr="C:\Users\jsauvageau\Desktop\1.png">
              <a:extLst>
                <a:ext uri="{FF2B5EF4-FFF2-40B4-BE49-F238E27FC236}">
                  <a16:creationId xmlns:a16="http://schemas.microsoft.com/office/drawing/2014/main" id="{CABB5A2F-2491-BEAD-C4A9-2F6A94DDCB87}"/>
                </a:ext>
              </a:extLst>
            </p:cNvPr>
            <p:cNvPicPr>
              <a:picLocks noChangeAspect="1" noChangeArrowheads="1"/>
            </p:cNvPicPr>
            <p:nvPr/>
          </p:nvPicPr>
          <p:blipFill>
            <a:blip r:embed="rId7" cstate="email">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5753357" y="4005367"/>
              <a:ext cx="540181" cy="457200"/>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FB1C151C-D23E-94A5-BC81-2787D9598B13}"/>
                </a:ext>
              </a:extLst>
            </p:cNvPr>
            <p:cNvSpPr txBox="1"/>
            <p:nvPr/>
          </p:nvSpPr>
          <p:spPr>
            <a:xfrm>
              <a:off x="5292663" y="4539232"/>
              <a:ext cx="1334147" cy="580534"/>
            </a:xfrm>
            <a:prstGeom prst="rect">
              <a:avLst/>
            </a:prstGeom>
            <a:noFill/>
          </p:spPr>
          <p:txBody>
            <a:bodyPr wrap="square" lIns="36000" tIns="36000" rIns="36000" bIns="36000" rtlCol="0">
              <a:spAutoFit/>
            </a:bodyPr>
            <a:lstStyle/>
            <a:p>
              <a:pPr algn="ctr"/>
              <a:r>
                <a:rPr lang="en-US" sz="1100" dirty="0">
                  <a:solidFill>
                    <a:schemeClr val="accent6"/>
                  </a:solidFill>
                  <a:latin typeface="+mn-lt"/>
                  <a:cs typeface="Calibri" panose="020F0502020204030204" pitchFamily="34" charset="0"/>
                </a:rPr>
                <a:t>IT Application Recovery Time Objectives (RTOs)</a:t>
              </a:r>
            </a:p>
          </p:txBody>
        </p:sp>
        <p:pic>
          <p:nvPicPr>
            <p:cNvPr id="46" name="Picture 13" descr="C:\Users\jsauvageau\Desktop\1.png">
              <a:extLst>
                <a:ext uri="{FF2B5EF4-FFF2-40B4-BE49-F238E27FC236}">
                  <a16:creationId xmlns:a16="http://schemas.microsoft.com/office/drawing/2014/main" id="{83BF4E95-2967-8E33-F0F8-86B2DA23A51C}"/>
                </a:ext>
              </a:extLst>
            </p:cNvPr>
            <p:cNvPicPr>
              <a:picLocks noChangeAspect="1" noChangeArrowheads="1"/>
            </p:cNvPicPr>
            <p:nvPr/>
          </p:nvPicPr>
          <p:blipFill>
            <a:blip r:embed="rId7"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715901" y="2583870"/>
              <a:ext cx="540181" cy="457200"/>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a:extLst>
                <a:ext uri="{FF2B5EF4-FFF2-40B4-BE49-F238E27FC236}">
                  <a16:creationId xmlns:a16="http://schemas.microsoft.com/office/drawing/2014/main" id="{C5CF8244-92B5-0AC1-D3A7-64551D419920}"/>
                </a:ext>
              </a:extLst>
            </p:cNvPr>
            <p:cNvSpPr txBox="1"/>
            <p:nvPr/>
          </p:nvSpPr>
          <p:spPr>
            <a:xfrm>
              <a:off x="5256959" y="3194868"/>
              <a:ext cx="1499939" cy="411257"/>
            </a:xfrm>
            <a:prstGeom prst="rect">
              <a:avLst/>
            </a:prstGeom>
            <a:noFill/>
          </p:spPr>
          <p:txBody>
            <a:bodyPr wrap="square" lIns="36000" tIns="36000" rIns="36000" bIns="36000" rtlCol="0">
              <a:spAutoFit/>
            </a:bodyPr>
            <a:lstStyle/>
            <a:p>
              <a:pPr algn="ctr"/>
              <a:r>
                <a:rPr lang="en-US" sz="1100">
                  <a:solidFill>
                    <a:schemeClr val="accent6"/>
                  </a:solidFill>
                  <a:latin typeface="+mn-lt"/>
                  <a:cs typeface="Calibri" panose="020F0502020204030204" pitchFamily="34" charset="0"/>
                </a:rPr>
                <a:t>IT Application Recovery Point Objectives (RPOs)</a:t>
              </a:r>
            </a:p>
          </p:txBody>
        </p:sp>
        <p:pic>
          <p:nvPicPr>
            <p:cNvPr id="48" name="Picture 10" descr="C:\Users\jsauvageau\Desktop\4.png">
              <a:extLst>
                <a:ext uri="{FF2B5EF4-FFF2-40B4-BE49-F238E27FC236}">
                  <a16:creationId xmlns:a16="http://schemas.microsoft.com/office/drawing/2014/main" id="{6B1A53DC-9F7C-641F-118F-BC106CB35BE2}"/>
                </a:ext>
              </a:extLst>
            </p:cNvPr>
            <p:cNvPicPr>
              <a:picLocks noChangeAspect="1" noChangeArrowheads="1"/>
            </p:cNvPicPr>
            <p:nvPr/>
          </p:nvPicPr>
          <p:blipFill>
            <a:blip r:embed="rId8" cstate="email">
              <a:duotone>
                <a:schemeClr val="accent4">
                  <a:shade val="45000"/>
                  <a:satMod val="135000"/>
                </a:schemeClr>
                <a:prstClr val="white"/>
              </a:duotone>
              <a:extLst>
                <a:ext uri="{BEBA8EAE-BF5A-486C-A8C5-ECC9F3942E4B}">
                  <a14:imgProps xmlns:a14="http://schemas.microsoft.com/office/drawing/2010/main">
                    <a14:imgLayer r:embed="rId9">
                      <a14:imgEffect>
                        <a14:saturation sat="0"/>
                      </a14:imgEffect>
                      <a14:imgEffect>
                        <a14:brightnessContrast bright="-40000" contrast="-20000"/>
                      </a14:imgEffect>
                    </a14:imgLayer>
                  </a14:imgProps>
                </a:ext>
                <a:ext uri="{28A0092B-C50C-407E-A947-70E740481C1C}">
                  <a14:useLocalDpi xmlns:a14="http://schemas.microsoft.com/office/drawing/2010/main"/>
                </a:ext>
              </a:extLst>
            </a:blip>
            <a:srcRect/>
            <a:stretch>
              <a:fillRect/>
            </a:stretch>
          </p:blipFill>
          <p:spPr bwMode="auto">
            <a:xfrm>
              <a:off x="3391878" y="4005367"/>
              <a:ext cx="502996" cy="45720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3" descr="\\Cagmasrv1\sso$\Gestion_Deloitte\Global_Brand\- Templates\Icons\Iconography Deloitte\Icon_Chain_MBlue.png">
              <a:extLst>
                <a:ext uri="{FF2B5EF4-FFF2-40B4-BE49-F238E27FC236}">
                  <a16:creationId xmlns:a16="http://schemas.microsoft.com/office/drawing/2014/main" id="{49FE7B71-AEAE-F4FE-9032-F2AF1F68A15E}"/>
                </a:ext>
              </a:extLst>
            </p:cNvPr>
            <p:cNvPicPr>
              <a:picLocks noChangeAspect="1" noChangeArrowheads="1"/>
            </p:cNvPicPr>
            <p:nvPr/>
          </p:nvPicPr>
          <p:blipFill>
            <a:blip r:embed="rId10" cstate="email">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7952853" y="4058109"/>
              <a:ext cx="453848" cy="457200"/>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1988083D-C6AE-FBDE-2FF6-7F0EF12C7609}"/>
                </a:ext>
              </a:extLst>
            </p:cNvPr>
            <p:cNvSpPr txBox="1"/>
            <p:nvPr/>
          </p:nvSpPr>
          <p:spPr>
            <a:xfrm>
              <a:off x="7466027" y="4551543"/>
              <a:ext cx="1534281" cy="411257"/>
            </a:xfrm>
            <a:prstGeom prst="rect">
              <a:avLst/>
            </a:prstGeom>
            <a:noFill/>
          </p:spPr>
          <p:txBody>
            <a:bodyPr wrap="square" lIns="36000" tIns="36000" rIns="36000" bIns="36000" rtlCol="0">
              <a:spAutoFit/>
            </a:bodyPr>
            <a:lstStyle/>
            <a:p>
              <a:pPr algn="ctr"/>
              <a:r>
                <a:rPr lang="en-US" sz="1100">
                  <a:solidFill>
                    <a:schemeClr val="accent6"/>
                  </a:solidFill>
                  <a:latin typeface="+mn-lt"/>
                  <a:cs typeface="Calibri" panose="020F0502020204030204" pitchFamily="34" charset="0"/>
                </a:rPr>
                <a:t>Critical Internal Process Interdependencies</a:t>
              </a:r>
            </a:p>
          </p:txBody>
        </p:sp>
        <p:pic>
          <p:nvPicPr>
            <p:cNvPr id="51" name="Picture 4" descr="C:\Users\jsauvageau\Desktop\1.png">
              <a:extLst>
                <a:ext uri="{FF2B5EF4-FFF2-40B4-BE49-F238E27FC236}">
                  <a16:creationId xmlns:a16="http://schemas.microsoft.com/office/drawing/2014/main" id="{651257C7-7FD0-2CBB-646D-62936D36D834}"/>
                </a:ext>
              </a:extLst>
            </p:cNvPr>
            <p:cNvPicPr>
              <a:picLocks noChangeAspect="1" noChangeArrowheads="1"/>
            </p:cNvPicPr>
            <p:nvPr/>
          </p:nvPicPr>
          <p:blipFill>
            <a:blip r:embed="rId11"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890649" y="2629590"/>
              <a:ext cx="568177" cy="365760"/>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a:extLst>
                <a:ext uri="{FF2B5EF4-FFF2-40B4-BE49-F238E27FC236}">
                  <a16:creationId xmlns:a16="http://schemas.microsoft.com/office/drawing/2014/main" id="{3683FC80-4A63-321B-2E1F-EDE47D3611DE}"/>
                </a:ext>
              </a:extLst>
            </p:cNvPr>
            <p:cNvSpPr txBox="1"/>
            <p:nvPr/>
          </p:nvSpPr>
          <p:spPr>
            <a:xfrm>
              <a:off x="9413729" y="4723897"/>
              <a:ext cx="2458973" cy="1334587"/>
            </a:xfrm>
            <a:prstGeom prst="rect">
              <a:avLst/>
            </a:prstGeom>
            <a:noFill/>
          </p:spPr>
          <p:txBody>
            <a:bodyPr wrap="square" lIns="36000" tIns="36000" rIns="36000" bIns="36000" rtlCol="0">
              <a:spAutoFit/>
            </a:bodyPr>
            <a:lstStyle/>
            <a:p>
              <a:pPr algn="ctr"/>
              <a:r>
                <a:rPr lang="en-US" sz="1100" dirty="0">
                  <a:solidFill>
                    <a:schemeClr val="accent6"/>
                  </a:solidFill>
                  <a:latin typeface="+mn-lt"/>
                  <a:cs typeface="Calibri" panose="020F0502020204030204" pitchFamily="34" charset="0"/>
                </a:rPr>
                <a:t>BETH3V Recovery </a:t>
              </a:r>
            </a:p>
            <a:p>
              <a:pPr algn="ctr"/>
              <a:r>
                <a:rPr lang="en-US" sz="1100" dirty="0">
                  <a:solidFill>
                    <a:schemeClr val="accent6"/>
                  </a:solidFill>
                  <a:latin typeface="+mn-lt"/>
                  <a:cs typeface="Calibri" panose="020F0502020204030204" pitchFamily="34" charset="0"/>
                </a:rPr>
                <a:t>Resource Requirements</a:t>
              </a:r>
            </a:p>
            <a:p>
              <a:pPr algn="ctr">
                <a:spcBef>
                  <a:spcPts val="600"/>
                </a:spcBef>
              </a:pPr>
              <a:r>
                <a:rPr lang="en-US" sz="1100" dirty="0">
                  <a:solidFill>
                    <a:schemeClr val="accent6"/>
                  </a:solidFill>
                  <a:latin typeface="+mn-lt"/>
                  <a:cs typeface="Calibri" panose="020F0502020204030204" pitchFamily="34" charset="0"/>
                </a:rPr>
                <a:t>Building, Equipment, Technology, Human Resources, 3rd Parties, Vital Records</a:t>
              </a:r>
            </a:p>
            <a:p>
              <a:pPr algn="ctr"/>
              <a:endParaRPr lang="en-US" sz="1100" dirty="0">
                <a:solidFill>
                  <a:schemeClr val="accent6"/>
                </a:solidFill>
                <a:latin typeface="+mn-lt"/>
                <a:cs typeface="Calibri" panose="020F0502020204030204" pitchFamily="34" charset="0"/>
              </a:endParaRPr>
            </a:p>
            <a:p>
              <a:pPr algn="ctr"/>
              <a:endParaRPr lang="en-US" sz="1100" dirty="0">
                <a:solidFill>
                  <a:schemeClr val="accent6"/>
                </a:solidFill>
                <a:latin typeface="+mn-lt"/>
                <a:cs typeface="Calibri" panose="020F0502020204030204" pitchFamily="34" charset="0"/>
              </a:endParaRPr>
            </a:p>
          </p:txBody>
        </p:sp>
        <p:grpSp>
          <p:nvGrpSpPr>
            <p:cNvPr id="53" name="Group 52">
              <a:extLst>
                <a:ext uri="{FF2B5EF4-FFF2-40B4-BE49-F238E27FC236}">
                  <a16:creationId xmlns:a16="http://schemas.microsoft.com/office/drawing/2014/main" id="{7C7128D0-906C-C4F3-C218-7AFCBA76D8FF}"/>
                </a:ext>
              </a:extLst>
            </p:cNvPr>
            <p:cNvGrpSpPr/>
            <p:nvPr/>
          </p:nvGrpSpPr>
          <p:grpSpPr>
            <a:xfrm>
              <a:off x="10001614" y="2746960"/>
              <a:ext cx="1147197" cy="918562"/>
              <a:chOff x="3310229" y="2769422"/>
              <a:chExt cx="2221341" cy="1787756"/>
            </a:xfrm>
            <a:effectLst/>
          </p:grpSpPr>
          <p:pic>
            <p:nvPicPr>
              <p:cNvPr id="70" name="Picture 4" descr="C:\Users\jsauvageau\Desktop\5.png">
                <a:extLst>
                  <a:ext uri="{FF2B5EF4-FFF2-40B4-BE49-F238E27FC236}">
                    <a16:creationId xmlns:a16="http://schemas.microsoft.com/office/drawing/2014/main" id="{46514D61-A97A-005F-F7C8-B5800AF652A1}"/>
                  </a:ext>
                </a:extLst>
              </p:cNvPr>
              <p:cNvPicPr>
                <a:picLocks noChangeAspect="1" noChangeArrowheads="1"/>
              </p:cNvPicPr>
              <p:nvPr/>
            </p:nvPicPr>
            <p:blipFill>
              <a:blip r:embed="rId12" cstate="email">
                <a:biLevel thresh="25000"/>
                <a:extLst>
                  <a:ext uri="{28A0092B-C50C-407E-A947-70E740481C1C}">
                    <a14:useLocalDpi xmlns:a14="http://schemas.microsoft.com/office/drawing/2010/main"/>
                  </a:ext>
                </a:extLst>
              </a:blip>
              <a:srcRect/>
              <a:stretch>
                <a:fillRect/>
              </a:stretch>
            </p:blipFill>
            <p:spPr bwMode="auto">
              <a:xfrm>
                <a:off x="4178384" y="2769422"/>
                <a:ext cx="477669" cy="360886"/>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descr="125.emf">
                <a:extLst>
                  <a:ext uri="{FF2B5EF4-FFF2-40B4-BE49-F238E27FC236}">
                    <a16:creationId xmlns:a16="http://schemas.microsoft.com/office/drawing/2014/main" id="{02820131-1569-47FB-8373-644246CFE6C2}"/>
                  </a:ext>
                </a:extLst>
              </p:cNvPr>
              <p:cNvPicPr>
                <a:picLocks noChangeAspect="1"/>
              </p:cNvPicPr>
              <p:nvPr/>
            </p:nvPicPr>
            <p:blipFill>
              <a:blip r:embed="rId13" cstate="email">
                <a:biLevel thresh="25000"/>
                <a:extLst>
                  <a:ext uri="{28A0092B-C50C-407E-A947-70E740481C1C}">
                    <a14:useLocalDpi xmlns:a14="http://schemas.microsoft.com/office/drawing/2010/main"/>
                  </a:ext>
                </a:extLst>
              </a:blip>
              <a:stretch>
                <a:fillRect/>
              </a:stretch>
            </p:blipFill>
            <p:spPr>
              <a:xfrm>
                <a:off x="5081126" y="3238235"/>
                <a:ext cx="450444" cy="414045"/>
              </a:xfrm>
              <a:prstGeom prst="rect">
                <a:avLst/>
              </a:prstGeom>
            </p:spPr>
          </p:pic>
          <p:pic>
            <p:nvPicPr>
              <p:cNvPr id="72" name="Picture 71" descr="52.emf">
                <a:extLst>
                  <a:ext uri="{FF2B5EF4-FFF2-40B4-BE49-F238E27FC236}">
                    <a16:creationId xmlns:a16="http://schemas.microsoft.com/office/drawing/2014/main" id="{65812510-39DC-26BF-3075-9CD7D78EB7C6}"/>
                  </a:ext>
                </a:extLst>
              </p:cNvPr>
              <p:cNvPicPr>
                <a:picLocks noChangeAspect="1"/>
              </p:cNvPicPr>
              <p:nvPr/>
            </p:nvPicPr>
            <p:blipFill>
              <a:blip r:embed="rId14" cstate="email">
                <a:biLevel thresh="25000"/>
                <a:extLst>
                  <a:ext uri="{28A0092B-C50C-407E-A947-70E740481C1C}">
                    <a14:useLocalDpi xmlns:a14="http://schemas.microsoft.com/office/drawing/2010/main"/>
                  </a:ext>
                </a:extLst>
              </a:blip>
              <a:stretch>
                <a:fillRect/>
              </a:stretch>
            </p:blipFill>
            <p:spPr>
              <a:xfrm>
                <a:off x="5090319" y="4106069"/>
                <a:ext cx="419845" cy="451109"/>
              </a:xfrm>
              <a:prstGeom prst="rect">
                <a:avLst/>
              </a:prstGeom>
            </p:spPr>
          </p:pic>
          <p:pic>
            <p:nvPicPr>
              <p:cNvPr id="73" name="Picture 27" descr="C:\Users\jsauvageau\Desktop\7.png">
                <a:extLst>
                  <a:ext uri="{FF2B5EF4-FFF2-40B4-BE49-F238E27FC236}">
                    <a16:creationId xmlns:a16="http://schemas.microsoft.com/office/drawing/2014/main" id="{719D4929-2036-6D44-F7ED-61C86011FA60}"/>
                  </a:ext>
                </a:extLst>
              </p:cNvPr>
              <p:cNvPicPr>
                <a:picLocks noChangeAspect="1" noChangeArrowheads="1"/>
              </p:cNvPicPr>
              <p:nvPr/>
            </p:nvPicPr>
            <p:blipFill>
              <a:blip r:embed="rId15" cstate="email">
                <a:biLevel thresh="25000"/>
                <a:extLst>
                  <a:ext uri="{28A0092B-C50C-407E-A947-70E740481C1C}">
                    <a14:useLocalDpi xmlns:a14="http://schemas.microsoft.com/office/drawing/2010/main"/>
                  </a:ext>
                </a:extLst>
              </a:blip>
              <a:srcRect/>
              <a:stretch>
                <a:fillRect/>
              </a:stretch>
            </p:blipFill>
            <p:spPr bwMode="auto">
              <a:xfrm>
                <a:off x="3310229" y="3207090"/>
                <a:ext cx="397709" cy="497212"/>
              </a:xfrm>
              <a:prstGeom prst="rect">
                <a:avLst/>
              </a:prstGeom>
              <a:noFill/>
              <a:extLst>
                <a:ext uri="{909E8E84-426E-40DD-AFC4-6F175D3DCCD1}">
                  <a14:hiddenFill xmlns:a14="http://schemas.microsoft.com/office/drawing/2010/main">
                    <a:solidFill>
                      <a:srgbClr val="FFFFFF"/>
                    </a:solidFill>
                  </a14:hiddenFill>
                </a:ext>
              </a:extLst>
            </p:spPr>
          </p:pic>
          <p:sp>
            <p:nvSpPr>
              <p:cNvPr id="74" name="TextBox 73">
                <a:extLst>
                  <a:ext uri="{FF2B5EF4-FFF2-40B4-BE49-F238E27FC236}">
                    <a16:creationId xmlns:a16="http://schemas.microsoft.com/office/drawing/2014/main" id="{9225B5E3-64B6-515F-7CB4-F9A59225FAA2}"/>
                  </a:ext>
                </a:extLst>
              </p:cNvPr>
              <p:cNvSpPr txBox="1"/>
              <p:nvPr/>
            </p:nvSpPr>
            <p:spPr>
              <a:xfrm>
                <a:off x="3974717" y="3792767"/>
                <a:ext cx="873868" cy="321202"/>
              </a:xfrm>
              <a:prstGeom prst="rect">
                <a:avLst/>
              </a:prstGeom>
              <a:noFill/>
            </p:spPr>
            <p:txBody>
              <a:bodyPr wrap="square" lIns="36000" tIns="36000" rIns="36000" bIns="36000" rtlCol="0">
                <a:spAutoFit/>
              </a:bodyPr>
              <a:lstStyle/>
              <a:p>
                <a:pPr algn="ctr"/>
                <a:r>
                  <a:rPr lang="en-US" sz="600" b="1">
                    <a:solidFill>
                      <a:schemeClr val="bg1"/>
                    </a:solidFill>
                    <a:latin typeface="Calibri" panose="020F0502020204030204" pitchFamily="34" charset="0"/>
                    <a:cs typeface="Calibri" panose="020F0502020204030204" pitchFamily="34" charset="0"/>
                  </a:rPr>
                  <a:t>BETH3V</a:t>
                </a:r>
                <a:endParaRPr lang="en-US" sz="1400" b="1">
                  <a:solidFill>
                    <a:schemeClr val="bg1"/>
                  </a:solidFill>
                  <a:latin typeface="Calibri" panose="020F0502020204030204" pitchFamily="34" charset="0"/>
                  <a:cs typeface="Calibri" panose="020F0502020204030204" pitchFamily="34" charset="0"/>
                </a:endParaRPr>
              </a:p>
            </p:txBody>
          </p:sp>
        </p:grpSp>
        <p:grpSp>
          <p:nvGrpSpPr>
            <p:cNvPr id="54" name="Group 53">
              <a:extLst>
                <a:ext uri="{FF2B5EF4-FFF2-40B4-BE49-F238E27FC236}">
                  <a16:creationId xmlns:a16="http://schemas.microsoft.com/office/drawing/2014/main" id="{7AD4F05C-3B14-B291-34FD-AF3B48BCA061}"/>
                </a:ext>
              </a:extLst>
            </p:cNvPr>
            <p:cNvGrpSpPr/>
            <p:nvPr/>
          </p:nvGrpSpPr>
          <p:grpSpPr>
            <a:xfrm>
              <a:off x="2507651" y="2279068"/>
              <a:ext cx="84842" cy="3250295"/>
              <a:chOff x="4843717" y="2110986"/>
              <a:chExt cx="84842" cy="4209388"/>
            </a:xfrm>
          </p:grpSpPr>
          <p:cxnSp>
            <p:nvCxnSpPr>
              <p:cNvPr id="67" name="Straight Connector 66">
                <a:extLst>
                  <a:ext uri="{FF2B5EF4-FFF2-40B4-BE49-F238E27FC236}">
                    <a16:creationId xmlns:a16="http://schemas.microsoft.com/office/drawing/2014/main" id="{86D4303C-045A-1402-B2CD-8D509A7846EE}"/>
                  </a:ext>
                </a:extLst>
              </p:cNvPr>
              <p:cNvCxnSpPr/>
              <p:nvPr/>
            </p:nvCxnSpPr>
            <p:spPr>
              <a:xfrm>
                <a:off x="4886138" y="2144902"/>
                <a:ext cx="0" cy="4156617"/>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4A85DEF0-8C1A-4A90-5496-72512079C34E}"/>
                  </a:ext>
                </a:extLst>
              </p:cNvPr>
              <p:cNvSpPr/>
              <p:nvPr/>
            </p:nvSpPr>
            <p:spPr>
              <a:xfrm>
                <a:off x="4843717" y="2110986"/>
                <a:ext cx="84842" cy="84842"/>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latin typeface="Calibri" panose="020F0502020204030204" pitchFamily="34" charset="0"/>
                  <a:cs typeface="Calibri" panose="020F0502020204030204" pitchFamily="34" charset="0"/>
                </a:endParaRPr>
              </a:p>
            </p:txBody>
          </p:sp>
          <p:sp>
            <p:nvSpPr>
              <p:cNvPr id="69" name="Rectangle 68">
                <a:extLst>
                  <a:ext uri="{FF2B5EF4-FFF2-40B4-BE49-F238E27FC236}">
                    <a16:creationId xmlns:a16="http://schemas.microsoft.com/office/drawing/2014/main" id="{F67E0FE7-4AC5-6302-AAAA-43777FCE3AC0}"/>
                  </a:ext>
                </a:extLst>
              </p:cNvPr>
              <p:cNvSpPr/>
              <p:nvPr/>
            </p:nvSpPr>
            <p:spPr>
              <a:xfrm>
                <a:off x="4843717" y="6235532"/>
                <a:ext cx="84842" cy="84842"/>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latin typeface="Calibri" panose="020F0502020204030204" pitchFamily="34" charset="0"/>
                  <a:cs typeface="Calibri" panose="020F0502020204030204" pitchFamily="34" charset="0"/>
                </a:endParaRPr>
              </a:p>
            </p:txBody>
          </p:sp>
        </p:grpSp>
        <p:grpSp>
          <p:nvGrpSpPr>
            <p:cNvPr id="55" name="Group 54">
              <a:extLst>
                <a:ext uri="{FF2B5EF4-FFF2-40B4-BE49-F238E27FC236}">
                  <a16:creationId xmlns:a16="http://schemas.microsoft.com/office/drawing/2014/main" id="{73C50EAB-DA07-E683-BDAF-4596F72C301F}"/>
                </a:ext>
              </a:extLst>
            </p:cNvPr>
            <p:cNvGrpSpPr/>
            <p:nvPr/>
          </p:nvGrpSpPr>
          <p:grpSpPr>
            <a:xfrm>
              <a:off x="4698402" y="2274300"/>
              <a:ext cx="84842" cy="3250295"/>
              <a:chOff x="4843717" y="2110986"/>
              <a:chExt cx="84842" cy="4209388"/>
            </a:xfrm>
          </p:grpSpPr>
          <p:cxnSp>
            <p:nvCxnSpPr>
              <p:cNvPr id="64" name="Straight Connector 63">
                <a:extLst>
                  <a:ext uri="{FF2B5EF4-FFF2-40B4-BE49-F238E27FC236}">
                    <a16:creationId xmlns:a16="http://schemas.microsoft.com/office/drawing/2014/main" id="{80A091CA-613A-1EFE-3B20-8D4EC8B57105}"/>
                  </a:ext>
                </a:extLst>
              </p:cNvPr>
              <p:cNvCxnSpPr/>
              <p:nvPr/>
            </p:nvCxnSpPr>
            <p:spPr>
              <a:xfrm>
                <a:off x="4886138" y="2144902"/>
                <a:ext cx="0" cy="4156617"/>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70026426-CDAC-6176-2925-139428869366}"/>
                  </a:ext>
                </a:extLst>
              </p:cNvPr>
              <p:cNvSpPr/>
              <p:nvPr/>
            </p:nvSpPr>
            <p:spPr>
              <a:xfrm>
                <a:off x="4843717" y="2110986"/>
                <a:ext cx="84842" cy="84842"/>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latin typeface="Calibri" panose="020F0502020204030204" pitchFamily="34" charset="0"/>
                  <a:cs typeface="Calibri" panose="020F0502020204030204" pitchFamily="34" charset="0"/>
                </a:endParaRPr>
              </a:p>
            </p:txBody>
          </p:sp>
          <p:sp>
            <p:nvSpPr>
              <p:cNvPr id="66" name="Rectangle 65">
                <a:extLst>
                  <a:ext uri="{FF2B5EF4-FFF2-40B4-BE49-F238E27FC236}">
                    <a16:creationId xmlns:a16="http://schemas.microsoft.com/office/drawing/2014/main" id="{2932FE50-2A41-C17C-73D8-FB7DD94000E9}"/>
                  </a:ext>
                </a:extLst>
              </p:cNvPr>
              <p:cNvSpPr/>
              <p:nvPr/>
            </p:nvSpPr>
            <p:spPr>
              <a:xfrm>
                <a:off x="4843717" y="6235532"/>
                <a:ext cx="84842" cy="84842"/>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latin typeface="Calibri" panose="020F0502020204030204" pitchFamily="34" charset="0"/>
                  <a:cs typeface="Calibri" panose="020F0502020204030204" pitchFamily="34" charset="0"/>
                </a:endParaRPr>
              </a:p>
            </p:txBody>
          </p:sp>
        </p:grpSp>
        <p:grpSp>
          <p:nvGrpSpPr>
            <p:cNvPr id="56" name="Group 55">
              <a:extLst>
                <a:ext uri="{FF2B5EF4-FFF2-40B4-BE49-F238E27FC236}">
                  <a16:creationId xmlns:a16="http://schemas.microsoft.com/office/drawing/2014/main" id="{5A8764AE-BB74-218F-5356-83CE6B82BBE5}"/>
                </a:ext>
              </a:extLst>
            </p:cNvPr>
            <p:cNvGrpSpPr/>
            <p:nvPr/>
          </p:nvGrpSpPr>
          <p:grpSpPr>
            <a:xfrm>
              <a:off x="6989162" y="2274300"/>
              <a:ext cx="84842" cy="3250295"/>
              <a:chOff x="4843717" y="2110986"/>
              <a:chExt cx="84842" cy="4209388"/>
            </a:xfrm>
          </p:grpSpPr>
          <p:cxnSp>
            <p:nvCxnSpPr>
              <p:cNvPr id="61" name="Straight Connector 60">
                <a:extLst>
                  <a:ext uri="{FF2B5EF4-FFF2-40B4-BE49-F238E27FC236}">
                    <a16:creationId xmlns:a16="http://schemas.microsoft.com/office/drawing/2014/main" id="{EEF01441-7B74-3090-6572-FF555EF4F6EA}"/>
                  </a:ext>
                </a:extLst>
              </p:cNvPr>
              <p:cNvCxnSpPr/>
              <p:nvPr/>
            </p:nvCxnSpPr>
            <p:spPr>
              <a:xfrm>
                <a:off x="4886138" y="2144902"/>
                <a:ext cx="0" cy="4156617"/>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55C79073-2980-6D2F-2731-A11A0469E055}"/>
                  </a:ext>
                </a:extLst>
              </p:cNvPr>
              <p:cNvSpPr/>
              <p:nvPr/>
            </p:nvSpPr>
            <p:spPr>
              <a:xfrm>
                <a:off x="4843717" y="2110986"/>
                <a:ext cx="84842" cy="84842"/>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latin typeface="Calibri" panose="020F0502020204030204" pitchFamily="34" charset="0"/>
                  <a:cs typeface="Calibri" panose="020F0502020204030204" pitchFamily="34" charset="0"/>
                </a:endParaRPr>
              </a:p>
            </p:txBody>
          </p:sp>
          <p:sp>
            <p:nvSpPr>
              <p:cNvPr id="63" name="Rectangle 62">
                <a:extLst>
                  <a:ext uri="{FF2B5EF4-FFF2-40B4-BE49-F238E27FC236}">
                    <a16:creationId xmlns:a16="http://schemas.microsoft.com/office/drawing/2014/main" id="{319CCBE9-8A7C-AC3E-C7AA-7C438D7E3D00}"/>
                  </a:ext>
                </a:extLst>
              </p:cNvPr>
              <p:cNvSpPr/>
              <p:nvPr/>
            </p:nvSpPr>
            <p:spPr>
              <a:xfrm>
                <a:off x="4843717" y="6235532"/>
                <a:ext cx="84842" cy="84842"/>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latin typeface="Calibri" panose="020F0502020204030204" pitchFamily="34" charset="0"/>
                  <a:cs typeface="Calibri" panose="020F0502020204030204" pitchFamily="34" charset="0"/>
                </a:endParaRPr>
              </a:p>
            </p:txBody>
          </p:sp>
        </p:grpSp>
        <p:grpSp>
          <p:nvGrpSpPr>
            <p:cNvPr id="57" name="Group 56">
              <a:extLst>
                <a:ext uri="{FF2B5EF4-FFF2-40B4-BE49-F238E27FC236}">
                  <a16:creationId xmlns:a16="http://schemas.microsoft.com/office/drawing/2014/main" id="{9EF5A73E-69B9-6F93-90AE-EAE56991FFCB}"/>
                </a:ext>
              </a:extLst>
            </p:cNvPr>
            <p:cNvGrpSpPr/>
            <p:nvPr/>
          </p:nvGrpSpPr>
          <p:grpSpPr>
            <a:xfrm>
              <a:off x="9218010" y="2274300"/>
              <a:ext cx="84842" cy="3250295"/>
              <a:chOff x="4843717" y="2110986"/>
              <a:chExt cx="84842" cy="4209388"/>
            </a:xfrm>
          </p:grpSpPr>
          <p:cxnSp>
            <p:nvCxnSpPr>
              <p:cNvPr id="58" name="Straight Connector 57">
                <a:extLst>
                  <a:ext uri="{FF2B5EF4-FFF2-40B4-BE49-F238E27FC236}">
                    <a16:creationId xmlns:a16="http://schemas.microsoft.com/office/drawing/2014/main" id="{328C2B99-4F4C-4F5E-CAA1-1F686B9EF3CB}"/>
                  </a:ext>
                </a:extLst>
              </p:cNvPr>
              <p:cNvCxnSpPr/>
              <p:nvPr/>
            </p:nvCxnSpPr>
            <p:spPr>
              <a:xfrm>
                <a:off x="4886131" y="2144902"/>
                <a:ext cx="0" cy="4156617"/>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40F43431-3F0A-420F-3763-D8C07814037C}"/>
                  </a:ext>
                </a:extLst>
              </p:cNvPr>
              <p:cNvSpPr/>
              <p:nvPr/>
            </p:nvSpPr>
            <p:spPr>
              <a:xfrm>
                <a:off x="4843717" y="2110986"/>
                <a:ext cx="84842" cy="84842"/>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latin typeface="Calibri" panose="020F0502020204030204" pitchFamily="34" charset="0"/>
                  <a:cs typeface="Calibri" panose="020F0502020204030204" pitchFamily="34" charset="0"/>
                </a:endParaRPr>
              </a:p>
            </p:txBody>
          </p:sp>
          <p:sp>
            <p:nvSpPr>
              <p:cNvPr id="60" name="Rectangle 59">
                <a:extLst>
                  <a:ext uri="{FF2B5EF4-FFF2-40B4-BE49-F238E27FC236}">
                    <a16:creationId xmlns:a16="http://schemas.microsoft.com/office/drawing/2014/main" id="{D2C2C922-ACE7-90D5-75A8-968AD5088A00}"/>
                  </a:ext>
                </a:extLst>
              </p:cNvPr>
              <p:cNvSpPr/>
              <p:nvPr/>
            </p:nvSpPr>
            <p:spPr>
              <a:xfrm>
                <a:off x="4843717" y="6235532"/>
                <a:ext cx="84842" cy="84842"/>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latin typeface="Calibri" panose="020F0502020204030204" pitchFamily="34" charset="0"/>
                  <a:cs typeface="Calibri" panose="020F0502020204030204" pitchFamily="34" charset="0"/>
                </a:endParaRPr>
              </a:p>
            </p:txBody>
          </p:sp>
        </p:grpSp>
      </p:grpSp>
      <p:grpSp>
        <p:nvGrpSpPr>
          <p:cNvPr id="75" name="Group 74">
            <a:extLst>
              <a:ext uri="{FF2B5EF4-FFF2-40B4-BE49-F238E27FC236}">
                <a16:creationId xmlns:a16="http://schemas.microsoft.com/office/drawing/2014/main" id="{161F0D60-CC05-E6F3-713C-7A0B8725BA8B}"/>
              </a:ext>
            </a:extLst>
          </p:cNvPr>
          <p:cNvGrpSpPr/>
          <p:nvPr/>
        </p:nvGrpSpPr>
        <p:grpSpPr>
          <a:xfrm>
            <a:off x="9259710" y="3017261"/>
            <a:ext cx="2205943" cy="1960187"/>
            <a:chOff x="9475335" y="3412710"/>
            <a:chExt cx="2065490" cy="1300693"/>
          </a:xfrm>
        </p:grpSpPr>
        <p:grpSp>
          <p:nvGrpSpPr>
            <p:cNvPr id="76" name="Group 75">
              <a:extLst>
                <a:ext uri="{FF2B5EF4-FFF2-40B4-BE49-F238E27FC236}">
                  <a16:creationId xmlns:a16="http://schemas.microsoft.com/office/drawing/2014/main" id="{FE102D4F-D39F-1319-E78E-84AAC2378937}"/>
                </a:ext>
              </a:extLst>
            </p:cNvPr>
            <p:cNvGrpSpPr>
              <a:grpSpLocks noChangeAspect="1"/>
            </p:cNvGrpSpPr>
            <p:nvPr/>
          </p:nvGrpSpPr>
          <p:grpSpPr>
            <a:xfrm>
              <a:off x="9475335" y="3412710"/>
              <a:ext cx="2065490" cy="1300693"/>
              <a:chOff x="2022937" y="1997879"/>
              <a:chExt cx="5596195" cy="3421655"/>
            </a:xfrm>
            <a:effectLst/>
          </p:grpSpPr>
          <p:sp>
            <p:nvSpPr>
              <p:cNvPr id="84" name="Hexagon 83">
                <a:extLst>
                  <a:ext uri="{FF2B5EF4-FFF2-40B4-BE49-F238E27FC236}">
                    <a16:creationId xmlns:a16="http://schemas.microsoft.com/office/drawing/2014/main" id="{D3AC6DCC-AE19-168B-1161-4E35088129E0}"/>
                  </a:ext>
                </a:extLst>
              </p:cNvPr>
              <p:cNvSpPr/>
              <p:nvPr/>
            </p:nvSpPr>
            <p:spPr>
              <a:xfrm>
                <a:off x="3780931" y="3157710"/>
                <a:ext cx="2100885" cy="1104210"/>
              </a:xfrm>
              <a:prstGeom prst="hexagon">
                <a:avLst/>
              </a:prstGeom>
              <a:solidFill>
                <a:srgbClr val="CA9D15"/>
              </a:solidFill>
              <a:ln w="12700">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a:solidFill>
                    <a:schemeClr val="tx2"/>
                  </a:solidFill>
                </a:endParaRPr>
              </a:p>
            </p:txBody>
          </p:sp>
          <p:sp>
            <p:nvSpPr>
              <p:cNvPr id="85" name="Hexagon 84">
                <a:extLst>
                  <a:ext uri="{FF2B5EF4-FFF2-40B4-BE49-F238E27FC236}">
                    <a16:creationId xmlns:a16="http://schemas.microsoft.com/office/drawing/2014/main" id="{472E607B-891C-586F-C7AE-9D9C79F2E208}"/>
                  </a:ext>
                </a:extLst>
              </p:cNvPr>
              <p:cNvSpPr/>
              <p:nvPr/>
            </p:nvSpPr>
            <p:spPr>
              <a:xfrm>
                <a:off x="2022937" y="2561172"/>
                <a:ext cx="2009043" cy="1104210"/>
              </a:xfrm>
              <a:prstGeom prst="hexagon">
                <a:avLst/>
              </a:prstGeom>
              <a:solidFill>
                <a:schemeClr val="accent6"/>
              </a:solidFill>
              <a:ln w="1270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a:solidFill>
                    <a:schemeClr val="tx2"/>
                  </a:solidFill>
                </a:endParaRPr>
              </a:p>
            </p:txBody>
          </p:sp>
          <p:sp>
            <p:nvSpPr>
              <p:cNvPr id="86" name="Hexagon 85">
                <a:extLst>
                  <a:ext uri="{FF2B5EF4-FFF2-40B4-BE49-F238E27FC236}">
                    <a16:creationId xmlns:a16="http://schemas.microsoft.com/office/drawing/2014/main" id="{4EFF67A7-EFE4-9981-3744-BE5190B7E997}"/>
                  </a:ext>
                </a:extLst>
              </p:cNvPr>
              <p:cNvSpPr/>
              <p:nvPr/>
            </p:nvSpPr>
            <p:spPr>
              <a:xfrm>
                <a:off x="2028561" y="3735390"/>
                <a:ext cx="2009043" cy="1104210"/>
              </a:xfrm>
              <a:prstGeom prst="hexagon">
                <a:avLst/>
              </a:prstGeom>
              <a:solidFill>
                <a:schemeClr val="accent6"/>
              </a:solidFill>
              <a:ln w="1270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a:solidFill>
                    <a:schemeClr val="tx2"/>
                  </a:solidFill>
                </a:endParaRPr>
              </a:p>
            </p:txBody>
          </p:sp>
          <p:sp>
            <p:nvSpPr>
              <p:cNvPr id="87" name="Hexagon 86">
                <a:extLst>
                  <a:ext uri="{FF2B5EF4-FFF2-40B4-BE49-F238E27FC236}">
                    <a16:creationId xmlns:a16="http://schemas.microsoft.com/office/drawing/2014/main" id="{6952C289-12BD-AEF5-F80B-BCEAAF8CB673}"/>
                  </a:ext>
                </a:extLst>
              </p:cNvPr>
              <p:cNvSpPr/>
              <p:nvPr/>
            </p:nvSpPr>
            <p:spPr>
              <a:xfrm>
                <a:off x="3829824" y="4315323"/>
                <a:ext cx="2009043" cy="1104211"/>
              </a:xfrm>
              <a:prstGeom prst="hexagon">
                <a:avLst/>
              </a:prstGeom>
              <a:solidFill>
                <a:schemeClr val="accent6"/>
              </a:solidFill>
              <a:ln w="1270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a:solidFill>
                    <a:schemeClr val="tx2"/>
                  </a:solidFill>
                </a:endParaRPr>
              </a:p>
            </p:txBody>
          </p:sp>
          <p:sp>
            <p:nvSpPr>
              <p:cNvPr id="88" name="Hexagon 87">
                <a:extLst>
                  <a:ext uri="{FF2B5EF4-FFF2-40B4-BE49-F238E27FC236}">
                    <a16:creationId xmlns:a16="http://schemas.microsoft.com/office/drawing/2014/main" id="{53D35C6E-43C2-CDAC-21B7-16E52DA7F846}"/>
                  </a:ext>
                </a:extLst>
              </p:cNvPr>
              <p:cNvSpPr/>
              <p:nvPr/>
            </p:nvSpPr>
            <p:spPr>
              <a:xfrm>
                <a:off x="5610089" y="3740005"/>
                <a:ext cx="2009043" cy="1104211"/>
              </a:xfrm>
              <a:prstGeom prst="hexagon">
                <a:avLst/>
              </a:prstGeom>
              <a:solidFill>
                <a:schemeClr val="accent6"/>
              </a:solidFill>
              <a:ln w="1270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a:solidFill>
                    <a:schemeClr val="tx2"/>
                  </a:solidFill>
                </a:endParaRPr>
              </a:p>
            </p:txBody>
          </p:sp>
          <p:sp>
            <p:nvSpPr>
              <p:cNvPr id="89" name="Hexagon 88">
                <a:extLst>
                  <a:ext uri="{FF2B5EF4-FFF2-40B4-BE49-F238E27FC236}">
                    <a16:creationId xmlns:a16="http://schemas.microsoft.com/office/drawing/2014/main" id="{ED905F9D-D656-5D16-B19D-1777CD243F7C}"/>
                  </a:ext>
                </a:extLst>
              </p:cNvPr>
              <p:cNvSpPr/>
              <p:nvPr/>
            </p:nvSpPr>
            <p:spPr>
              <a:xfrm>
                <a:off x="5610089" y="2534400"/>
                <a:ext cx="2009043" cy="1104211"/>
              </a:xfrm>
              <a:prstGeom prst="hexagon">
                <a:avLst/>
              </a:prstGeom>
              <a:solidFill>
                <a:schemeClr val="accent6"/>
              </a:solidFill>
              <a:ln w="1270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a:solidFill>
                    <a:schemeClr val="tx2"/>
                  </a:solidFill>
                </a:endParaRPr>
              </a:p>
            </p:txBody>
          </p:sp>
          <p:sp>
            <p:nvSpPr>
              <p:cNvPr id="90" name="Hexagon 89">
                <a:extLst>
                  <a:ext uri="{FF2B5EF4-FFF2-40B4-BE49-F238E27FC236}">
                    <a16:creationId xmlns:a16="http://schemas.microsoft.com/office/drawing/2014/main" id="{2B8939EF-AD71-C225-8832-77CF53C1769C}"/>
                  </a:ext>
                </a:extLst>
              </p:cNvPr>
              <p:cNvSpPr/>
              <p:nvPr/>
            </p:nvSpPr>
            <p:spPr>
              <a:xfrm>
                <a:off x="3820826" y="1997879"/>
                <a:ext cx="2009045" cy="1104210"/>
              </a:xfrm>
              <a:prstGeom prst="hexagon">
                <a:avLst/>
              </a:prstGeom>
              <a:solidFill>
                <a:schemeClr val="accent6"/>
              </a:solidFill>
              <a:ln w="1270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a:solidFill>
                    <a:schemeClr val="tx2"/>
                  </a:solidFill>
                </a:endParaRPr>
              </a:p>
            </p:txBody>
          </p:sp>
        </p:grpSp>
        <p:pic>
          <p:nvPicPr>
            <p:cNvPr id="77" name="Picture 4" descr="C:\Users\jsauvageau\Desktop\5.png">
              <a:extLst>
                <a:ext uri="{FF2B5EF4-FFF2-40B4-BE49-F238E27FC236}">
                  <a16:creationId xmlns:a16="http://schemas.microsoft.com/office/drawing/2014/main" id="{760F00DA-5262-3AD1-1AB8-DF3085D32C3B}"/>
                </a:ext>
              </a:extLst>
            </p:cNvPr>
            <p:cNvPicPr>
              <a:picLocks noChangeAspect="1" noChangeArrowheads="1"/>
            </p:cNvPicPr>
            <p:nvPr/>
          </p:nvPicPr>
          <p:blipFill>
            <a:blip r:embed="rId16" cstate="email">
              <a:biLevel thresh="25000"/>
              <a:extLst>
                <a:ext uri="{28A0092B-C50C-407E-A947-70E740481C1C}">
                  <a14:useLocalDpi xmlns:a14="http://schemas.microsoft.com/office/drawing/2010/main" val="0"/>
                </a:ext>
              </a:extLst>
            </a:blip>
            <a:srcRect/>
            <a:stretch>
              <a:fillRect/>
            </a:stretch>
          </p:blipFill>
          <p:spPr bwMode="auto">
            <a:xfrm>
              <a:off x="10359427" y="3492072"/>
              <a:ext cx="305274" cy="23754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8" name="Picture 77" descr="125.emf">
              <a:extLst>
                <a:ext uri="{FF2B5EF4-FFF2-40B4-BE49-F238E27FC236}">
                  <a16:creationId xmlns:a16="http://schemas.microsoft.com/office/drawing/2014/main" id="{76C47480-FE34-6EC7-2559-D8045C7E43BC}"/>
                </a:ext>
              </a:extLst>
            </p:cNvPr>
            <p:cNvPicPr>
              <a:picLocks noChangeAspect="1"/>
            </p:cNvPicPr>
            <p:nvPr/>
          </p:nvPicPr>
          <p:blipFill>
            <a:blip r:embed="rId13">
              <a:biLevel thresh="25000"/>
            </a:blip>
            <a:stretch>
              <a:fillRect/>
            </a:stretch>
          </p:blipFill>
          <p:spPr>
            <a:xfrm>
              <a:off x="11010018" y="3661517"/>
              <a:ext cx="287875" cy="272533"/>
            </a:xfrm>
            <a:prstGeom prst="rect">
              <a:avLst/>
            </a:prstGeom>
            <a:ln>
              <a:noFill/>
            </a:ln>
          </p:spPr>
        </p:pic>
        <p:pic>
          <p:nvPicPr>
            <p:cNvPr id="79" name="Picture 78" descr="52.emf">
              <a:extLst>
                <a:ext uri="{FF2B5EF4-FFF2-40B4-BE49-F238E27FC236}">
                  <a16:creationId xmlns:a16="http://schemas.microsoft.com/office/drawing/2014/main" id="{23B1B74E-84AC-1CC9-0E0D-954BE3ED2AF2}"/>
                </a:ext>
              </a:extLst>
            </p:cNvPr>
            <p:cNvPicPr>
              <a:picLocks noChangeAspect="1"/>
            </p:cNvPicPr>
            <p:nvPr/>
          </p:nvPicPr>
          <p:blipFill>
            <a:blip r:embed="rId14">
              <a:biLevel thresh="25000"/>
            </a:blip>
            <a:stretch>
              <a:fillRect/>
            </a:stretch>
          </p:blipFill>
          <p:spPr>
            <a:xfrm>
              <a:off x="11021589" y="4124867"/>
              <a:ext cx="268319" cy="296929"/>
            </a:xfrm>
            <a:prstGeom prst="rect">
              <a:avLst/>
            </a:prstGeom>
            <a:ln>
              <a:noFill/>
            </a:ln>
          </p:spPr>
        </p:pic>
        <p:pic>
          <p:nvPicPr>
            <p:cNvPr id="80" name="Picture 79" descr="1.emf">
              <a:extLst>
                <a:ext uri="{FF2B5EF4-FFF2-40B4-BE49-F238E27FC236}">
                  <a16:creationId xmlns:a16="http://schemas.microsoft.com/office/drawing/2014/main" id="{8640B62D-06AD-3184-2BAB-3277A3EB1877}"/>
                </a:ext>
              </a:extLst>
            </p:cNvPr>
            <p:cNvPicPr>
              <a:picLocks noChangeAspect="1"/>
            </p:cNvPicPr>
            <p:nvPr/>
          </p:nvPicPr>
          <p:blipFill>
            <a:blip r:embed="rId17">
              <a:lum bright="100000" contrast="-70000"/>
            </a:blip>
            <a:stretch>
              <a:fillRect/>
            </a:stretch>
          </p:blipFill>
          <p:spPr>
            <a:xfrm>
              <a:off x="10373130" y="4357766"/>
              <a:ext cx="280592" cy="269351"/>
            </a:xfrm>
            <a:prstGeom prst="rect">
              <a:avLst/>
            </a:prstGeom>
            <a:ln>
              <a:noFill/>
            </a:ln>
          </p:spPr>
        </p:pic>
        <p:pic>
          <p:nvPicPr>
            <p:cNvPr id="81" name="Picture 80" descr="6.emf">
              <a:extLst>
                <a:ext uri="{FF2B5EF4-FFF2-40B4-BE49-F238E27FC236}">
                  <a16:creationId xmlns:a16="http://schemas.microsoft.com/office/drawing/2014/main" id="{0974A6EA-44B6-A6D9-B99D-97CD4FDCA3B9}"/>
                </a:ext>
              </a:extLst>
            </p:cNvPr>
            <p:cNvPicPr>
              <a:picLocks noChangeAspect="1"/>
            </p:cNvPicPr>
            <p:nvPr/>
          </p:nvPicPr>
          <p:blipFill>
            <a:blip r:embed="rId18">
              <a:biLevel thresh="25000"/>
            </a:blip>
            <a:stretch>
              <a:fillRect/>
            </a:stretch>
          </p:blipFill>
          <p:spPr>
            <a:xfrm>
              <a:off x="9714242" y="4148585"/>
              <a:ext cx="266038" cy="240989"/>
            </a:xfrm>
            <a:prstGeom prst="rect">
              <a:avLst/>
            </a:prstGeom>
            <a:ln>
              <a:noFill/>
            </a:ln>
          </p:spPr>
        </p:pic>
        <p:pic>
          <p:nvPicPr>
            <p:cNvPr id="82" name="Picture 27" descr="C:\Users\jsauvageau\Desktop\7.png">
              <a:extLst>
                <a:ext uri="{FF2B5EF4-FFF2-40B4-BE49-F238E27FC236}">
                  <a16:creationId xmlns:a16="http://schemas.microsoft.com/office/drawing/2014/main" id="{47DCC8ED-44FB-F78E-7E15-9F628384AEE8}"/>
                </a:ext>
              </a:extLst>
            </p:cNvPr>
            <p:cNvPicPr>
              <a:picLocks noChangeAspect="1" noChangeArrowheads="1"/>
            </p:cNvPicPr>
            <p:nvPr/>
          </p:nvPicPr>
          <p:blipFill>
            <a:blip r:embed="rId19" cstate="email">
              <a:biLevel thresh="25000"/>
              <a:extLst>
                <a:ext uri="{28A0092B-C50C-407E-A947-70E740481C1C}">
                  <a14:useLocalDpi xmlns:a14="http://schemas.microsoft.com/office/drawing/2010/main" val="0"/>
                </a:ext>
              </a:extLst>
            </a:blip>
            <a:srcRect/>
            <a:stretch>
              <a:fillRect/>
            </a:stretch>
          </p:blipFill>
          <p:spPr bwMode="auto">
            <a:xfrm>
              <a:off x="9740597" y="3678123"/>
              <a:ext cx="254172" cy="30095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3" name="TextBox 82">
              <a:extLst>
                <a:ext uri="{FF2B5EF4-FFF2-40B4-BE49-F238E27FC236}">
                  <a16:creationId xmlns:a16="http://schemas.microsoft.com/office/drawing/2014/main" id="{8A309DDE-8252-F29F-249F-C2E2377C4FD5}"/>
                </a:ext>
              </a:extLst>
            </p:cNvPr>
            <p:cNvSpPr txBox="1"/>
            <p:nvPr/>
          </p:nvSpPr>
          <p:spPr>
            <a:xfrm>
              <a:off x="10173753" y="3989395"/>
              <a:ext cx="675761" cy="152897"/>
            </a:xfrm>
            <a:prstGeom prst="rect">
              <a:avLst/>
            </a:prstGeom>
            <a:noFill/>
            <a:ln>
              <a:noFill/>
            </a:ln>
          </p:spPr>
          <p:txBody>
            <a:bodyPr wrap="square" lIns="36000" tIns="36000" rIns="36000" bIns="36000" rtlCol="0">
              <a:spAutoFit/>
            </a:bodyPr>
            <a:lstStyle/>
            <a:p>
              <a:pPr algn="ctr"/>
              <a:r>
                <a:rPr lang="en-US" sz="900" b="1" dirty="0">
                  <a:solidFill>
                    <a:schemeClr val="bg1"/>
                  </a:solidFill>
                  <a:latin typeface="Calibri" panose="020F0502020204030204" pitchFamily="34" charset="0"/>
                  <a:cs typeface="Calibri" panose="020F0502020204030204" pitchFamily="34" charset="0"/>
                </a:rPr>
                <a:t>BETH3V</a:t>
              </a:r>
            </a:p>
          </p:txBody>
        </p:sp>
      </p:grpSp>
      <p:sp>
        <p:nvSpPr>
          <p:cNvPr id="2" name="Title 1">
            <a:extLst>
              <a:ext uri="{FF2B5EF4-FFF2-40B4-BE49-F238E27FC236}">
                <a16:creationId xmlns:a16="http://schemas.microsoft.com/office/drawing/2014/main" id="{20E168B3-F0FB-C0CF-E2B9-D2DD083BF250}"/>
              </a:ext>
            </a:extLst>
          </p:cNvPr>
          <p:cNvSpPr txBox="1">
            <a:spLocks/>
          </p:cNvSpPr>
          <p:nvPr/>
        </p:nvSpPr>
        <p:spPr>
          <a:xfrm>
            <a:off x="411480" y="402587"/>
            <a:ext cx="11252200" cy="334102"/>
          </a:xfrm>
          <a:prstGeom prst="rect">
            <a:avLst/>
          </a:prstGeom>
        </p:spPr>
        <p:txBody>
          <a:bodyPr vert="horz" wrap="square" lIns="0" tIns="0" rIns="0" bIns="0" rtlCol="0" anchor="t" anchorCtr="0">
            <a:noAutofit/>
          </a:bodyPr>
          <a:lstStyle>
            <a:lvl1pPr>
              <a:defRPr sz="2400" b="0" i="0">
                <a:solidFill>
                  <a:srgbClr val="86BC25"/>
                </a:solidFill>
                <a:latin typeface="Calibri" panose="020F0502020204030204" pitchFamily="34" charset="0"/>
                <a:ea typeface="Verdana" panose="020B0604030504040204" pitchFamily="34" charset="0"/>
                <a:cs typeface="Calibri" panose="020F0502020204030204" pitchFamily="34" charset="0"/>
              </a:defRPr>
            </a:lvl1pPr>
          </a:lstStyle>
          <a:p>
            <a:pPr hangingPunct="1">
              <a:spcBef>
                <a:spcPct val="0"/>
              </a:spcBef>
              <a:defRPr/>
            </a:pPr>
            <a:r>
              <a:rPr lang="en-US" sz="2000" dirty="0">
                <a:solidFill>
                  <a:schemeClr val="tx2">
                    <a:lumMod val="50000"/>
                  </a:schemeClr>
                </a:solidFill>
                <a:latin typeface="+mn-lt"/>
                <a:ea typeface="Open Sans Semibold" panose="020B0706030804020204" pitchFamily="34" charset="0"/>
                <a:cs typeface="Open Sans Semibold" panose="020B0706030804020204" pitchFamily="34" charset="0"/>
              </a:rPr>
              <a:t>Approach and Methodology</a:t>
            </a:r>
          </a:p>
        </p:txBody>
      </p:sp>
      <p:sp>
        <p:nvSpPr>
          <p:cNvPr id="7" name="Text Placeholder 20">
            <a:extLst>
              <a:ext uri="{FF2B5EF4-FFF2-40B4-BE49-F238E27FC236}">
                <a16:creationId xmlns:a16="http://schemas.microsoft.com/office/drawing/2014/main" id="{0704DC29-B884-43A3-79AE-673242987BFE}"/>
              </a:ext>
            </a:extLst>
          </p:cNvPr>
          <p:cNvSpPr txBox="1">
            <a:spLocks/>
          </p:cNvSpPr>
          <p:nvPr/>
        </p:nvSpPr>
        <p:spPr>
          <a:xfrm>
            <a:off x="411480"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lvl="0" indent="0">
              <a:spcBef>
                <a:spcPts val="0"/>
              </a:spcBef>
              <a:spcAft>
                <a:spcPts val="1333"/>
              </a:spcAft>
              <a:buNone/>
              <a:defRPr/>
            </a:pPr>
            <a:r>
              <a:rPr lang="en-US" sz="1400" b="1" dirty="0">
                <a:solidFill>
                  <a:srgbClr val="575757"/>
                </a:solidFill>
                <a:latin typeface="+mn-lt"/>
                <a:ea typeface="Open Sans Light" panose="020B0306030504020204" pitchFamily="34" charset="0"/>
                <a:cs typeface="Open Sans Light" panose="020B0306030504020204" pitchFamily="34" charset="0"/>
              </a:rPr>
              <a:t>Phase 4: Business Impact Analysis (2/2) </a:t>
            </a:r>
          </a:p>
        </p:txBody>
      </p:sp>
    </p:spTree>
    <p:extLst>
      <p:ext uri="{BB962C8B-B14F-4D97-AF65-F5344CB8AC3E}">
        <p14:creationId xmlns:p14="http://schemas.microsoft.com/office/powerpoint/2010/main" val="3367745848"/>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CDBCDB7-0C47-0730-B52E-E06CC3982093}"/>
              </a:ext>
            </a:extLst>
          </p:cNvPr>
          <p:cNvPicPr>
            <a:picLocks noChangeAspect="1"/>
          </p:cNvPicPr>
          <p:nvPr/>
        </p:nvPicPr>
        <p:blipFill rotWithShape="1">
          <a:blip r:embed="rId2"/>
          <a:srcRect t="5204"/>
          <a:stretch/>
        </p:blipFill>
        <p:spPr>
          <a:xfrm>
            <a:off x="7436915" y="4199998"/>
            <a:ext cx="3889080" cy="1903721"/>
          </a:xfrm>
          <a:prstGeom prst="rect">
            <a:avLst/>
          </a:prstGeom>
          <a:ln>
            <a:solidFill>
              <a:schemeClr val="bg2"/>
            </a:solidFill>
          </a:ln>
          <a:effectLst>
            <a:outerShdw blurRad="50800" dist="38100" dir="2700000" algn="tl" rotWithShape="0">
              <a:prstClr val="black">
                <a:alpha val="40000"/>
              </a:prstClr>
            </a:outerShdw>
          </a:effectLst>
        </p:spPr>
      </p:pic>
      <p:sp>
        <p:nvSpPr>
          <p:cNvPr id="4" name="Flowchart: Process 3">
            <a:extLst>
              <a:ext uri="{FF2B5EF4-FFF2-40B4-BE49-F238E27FC236}">
                <a16:creationId xmlns:a16="http://schemas.microsoft.com/office/drawing/2014/main" id="{873C97F0-8D13-A986-A6C1-1E668232133F}"/>
              </a:ext>
            </a:extLst>
          </p:cNvPr>
          <p:cNvSpPr/>
          <p:nvPr/>
        </p:nvSpPr>
        <p:spPr bwMode="gray">
          <a:xfrm>
            <a:off x="7337040" y="2018974"/>
            <a:ext cx="4226294" cy="4447309"/>
          </a:xfrm>
          <a:prstGeom prst="flowChartProcess">
            <a:avLst/>
          </a:prstGeom>
          <a:noFill/>
          <a:ln w="3810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sp>
        <p:nvSpPr>
          <p:cNvPr id="16" name="TextBox 15">
            <a:extLst>
              <a:ext uri="{FF2B5EF4-FFF2-40B4-BE49-F238E27FC236}">
                <a16:creationId xmlns:a16="http://schemas.microsoft.com/office/drawing/2014/main" id="{6A7DFD27-8E4F-E5EF-242F-04C919030649}"/>
              </a:ext>
            </a:extLst>
          </p:cNvPr>
          <p:cNvSpPr txBox="1"/>
          <p:nvPr/>
        </p:nvSpPr>
        <p:spPr>
          <a:xfrm>
            <a:off x="394109" y="1048757"/>
            <a:ext cx="11530798" cy="661667"/>
          </a:xfrm>
          <a:prstGeom prst="rect">
            <a:avLst/>
          </a:prstGeom>
          <a:noFill/>
          <a:ln w="9525" algn="ctr">
            <a:noFill/>
            <a:miter lim="800000"/>
            <a:headEnd/>
            <a:tailEnd/>
          </a:ln>
        </p:spPr>
        <p:txBody>
          <a:bodyPr wrap="square" lIns="91440" tIns="0" rIns="91440" bIns="0" rtlCol="0" anchor="t" anchorCtr="0">
            <a:noAutofit/>
          </a:bodyPr>
          <a:lstStyle/>
          <a:p>
            <a:pPr algn="just">
              <a:lnSpc>
                <a:spcPct val="120000"/>
              </a:lnSpc>
              <a:spcAft>
                <a:spcPts val="600"/>
              </a:spcAft>
              <a:buSzPct val="100000"/>
              <a:defRPr/>
            </a:pPr>
            <a:r>
              <a:rPr lang="en-US" sz="1100" dirty="0">
                <a:solidFill>
                  <a:srgbClr val="575757"/>
                </a:solidFill>
                <a:latin typeface="+mn-lt"/>
                <a:ea typeface="Open Sans Light" panose="020B0306030504020204" pitchFamily="34" charset="0"/>
                <a:cs typeface="Open Sans Light" panose="020B0306030504020204" pitchFamily="34" charset="0"/>
              </a:rPr>
              <a:t>Identify and assess threats to Salam's normal activities through questionnaires and workshops with stakeholders to gauge their likelihood, severity, and impact.</a:t>
            </a:r>
            <a:endParaRPr kumimoji="0" lang="en-US" sz="1100" b="0" i="0" u="none" strike="noStrike" kern="1200" cap="none" spc="0" normalizeH="0" baseline="0" noProof="0" dirty="0">
              <a:ln>
                <a:noFill/>
              </a:ln>
              <a:effectLst/>
              <a:uLnTx/>
              <a:uFillTx/>
              <a:latin typeface="+mn-lt"/>
              <a:ea typeface="+mn-ea"/>
              <a:cs typeface="+mn-cs"/>
            </a:endParaRPr>
          </a:p>
        </p:txBody>
      </p:sp>
      <p:pic>
        <p:nvPicPr>
          <p:cNvPr id="17" name="Picture 16">
            <a:extLst>
              <a:ext uri="{FF2B5EF4-FFF2-40B4-BE49-F238E27FC236}">
                <a16:creationId xmlns:a16="http://schemas.microsoft.com/office/drawing/2014/main" id="{384BA903-F2B3-F486-2C18-F347B187C9D7}"/>
              </a:ext>
            </a:extLst>
          </p:cNvPr>
          <p:cNvPicPr>
            <a:picLocks noChangeAspect="1"/>
          </p:cNvPicPr>
          <p:nvPr/>
        </p:nvPicPr>
        <p:blipFill>
          <a:blip r:embed="rId3"/>
          <a:stretch>
            <a:fillRect/>
          </a:stretch>
        </p:blipFill>
        <p:spPr>
          <a:xfrm>
            <a:off x="9185616" y="1535515"/>
            <a:ext cx="733646" cy="733646"/>
          </a:xfrm>
          <a:prstGeom prst="rect">
            <a:avLst/>
          </a:prstGeom>
        </p:spPr>
      </p:pic>
      <p:sp>
        <p:nvSpPr>
          <p:cNvPr id="18" name="TextBox 17">
            <a:extLst>
              <a:ext uri="{FF2B5EF4-FFF2-40B4-BE49-F238E27FC236}">
                <a16:creationId xmlns:a16="http://schemas.microsoft.com/office/drawing/2014/main" id="{4D73B83F-0107-A3D6-AF54-CE204E364A00}"/>
              </a:ext>
            </a:extLst>
          </p:cNvPr>
          <p:cNvSpPr txBox="1"/>
          <p:nvPr/>
        </p:nvSpPr>
        <p:spPr>
          <a:xfrm>
            <a:off x="7778883" y="2503883"/>
            <a:ext cx="3547112" cy="56015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285750" indent="-285750" algn="just">
              <a:lnSpc>
                <a:spcPct val="120000"/>
              </a:lnSpc>
              <a:spcAft>
                <a:spcPts val="600"/>
              </a:spcAft>
              <a:buSzPct val="100000"/>
              <a:buFont typeface="Wingdings" panose="05000000000000000000" pitchFamily="2" charset="2"/>
              <a:buChar char="ü"/>
              <a:defRPr/>
            </a:pPr>
            <a:r>
              <a:rPr lang="en-US" sz="1100" kern="1200" dirty="0">
                <a:solidFill>
                  <a:prstClr val="black"/>
                </a:solidFill>
                <a:latin typeface="+mn-lt"/>
                <a:ea typeface="Verdana" panose="020B0604030504040204" pitchFamily="34" charset="0"/>
                <a:cs typeface="Open Sans Light" panose="020B0306030504020204" pitchFamily="34" charset="0"/>
              </a:rPr>
              <a:t>Business continuity risk register</a:t>
            </a:r>
          </a:p>
          <a:p>
            <a:pPr marL="285750" indent="-285750" algn="just">
              <a:lnSpc>
                <a:spcPct val="120000"/>
              </a:lnSpc>
              <a:spcAft>
                <a:spcPts val="600"/>
              </a:spcAft>
              <a:buSzPct val="100000"/>
              <a:buFont typeface="Wingdings" panose="05000000000000000000" pitchFamily="2" charset="2"/>
              <a:buChar char="ü"/>
              <a:defRPr/>
            </a:pPr>
            <a:r>
              <a:rPr lang="en-US" sz="1100" kern="1200" dirty="0">
                <a:solidFill>
                  <a:prstClr val="black"/>
                </a:solidFill>
                <a:latin typeface="+mn-lt"/>
                <a:ea typeface="Verdana" panose="020B0604030504040204" pitchFamily="34" charset="0"/>
                <a:cs typeface="Open Sans Light" panose="020B0306030504020204" pitchFamily="34" charset="0"/>
              </a:rPr>
              <a:t>Mitigation plans (in coordination with ERM)</a:t>
            </a:r>
          </a:p>
        </p:txBody>
      </p:sp>
      <p:sp>
        <p:nvSpPr>
          <p:cNvPr id="19" name="Rectangle 18">
            <a:extLst>
              <a:ext uri="{FF2B5EF4-FFF2-40B4-BE49-F238E27FC236}">
                <a16:creationId xmlns:a16="http://schemas.microsoft.com/office/drawing/2014/main" id="{47499686-AF3A-D222-5D62-315A97C339D3}"/>
              </a:ext>
            </a:extLst>
          </p:cNvPr>
          <p:cNvSpPr/>
          <p:nvPr/>
        </p:nvSpPr>
        <p:spPr bwMode="gray">
          <a:xfrm>
            <a:off x="381970" y="1784252"/>
            <a:ext cx="11599333" cy="4834428"/>
          </a:xfrm>
          <a:prstGeom prst="rect">
            <a:avLst/>
          </a:prstGeom>
          <a:noFill/>
          <a:ln w="19050" algn="ctr">
            <a:solidFill>
              <a:schemeClr val="accent2"/>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sp>
        <p:nvSpPr>
          <p:cNvPr id="20" name="TextBox 19">
            <a:extLst>
              <a:ext uri="{FF2B5EF4-FFF2-40B4-BE49-F238E27FC236}">
                <a16:creationId xmlns:a16="http://schemas.microsoft.com/office/drawing/2014/main" id="{071650C5-E541-3BDA-444A-D2E1A781D34D}"/>
              </a:ext>
            </a:extLst>
          </p:cNvPr>
          <p:cNvSpPr txBox="1"/>
          <p:nvPr/>
        </p:nvSpPr>
        <p:spPr>
          <a:xfrm>
            <a:off x="628665" y="2228374"/>
            <a:ext cx="6290405" cy="225600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285750" indent="-285750">
              <a:lnSpc>
                <a:spcPct val="150000"/>
              </a:lnSpc>
              <a:buFont typeface="Wingdings" panose="05000000000000000000" pitchFamily="2" charset="2"/>
              <a:buChar char="ü"/>
              <a:defRPr sz="1800">
                <a:solidFill>
                  <a:schemeClr val="tx2"/>
                </a:solidFill>
                <a:latin typeface="+mn-lt"/>
              </a:defRPr>
            </a:lvl1pPr>
          </a:lstStyle>
          <a:p>
            <a:pPr marL="0" marR="0" lvl="0" indent="0" algn="l" defTabSz="914400" rtl="0" eaLnBrk="1" fontAlgn="auto" latinLnBrk="0" hangingPunct="1">
              <a:lnSpc>
                <a:spcPct val="100000"/>
              </a:lnSpc>
              <a:spcBef>
                <a:spcPts val="0"/>
              </a:spcBef>
              <a:spcAft>
                <a:spcPts val="600"/>
              </a:spcAft>
              <a:buClr>
                <a:srgbClr val="86BC25"/>
              </a:buClr>
              <a:buSzTx/>
              <a:buFontTx/>
              <a:buNone/>
              <a:tabLst/>
              <a:defRPr/>
            </a:pPr>
            <a:r>
              <a:rPr lang="en-US" sz="1100" kern="1200" dirty="0">
                <a:solidFill>
                  <a:prstClr val="black"/>
                </a:solidFill>
                <a:ea typeface="Verdana" panose="020B0604030504040204" pitchFamily="34" charset="0"/>
                <a:cs typeface="Open Sans Light" panose="020B0306030504020204" pitchFamily="34" charset="0"/>
              </a:rPr>
              <a:t>This activity will be conducted for the Riyadh HQ and Dubai offices. As part of this step, we will: </a:t>
            </a:r>
          </a:p>
          <a:p>
            <a:pPr algn="just" eaLnBrk="1">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Identify the threats, the possible likelihood, the probability of occurrence of the identified threats and the potential impact of the threat.</a:t>
            </a:r>
          </a:p>
          <a:p>
            <a:pPr algn="just" eaLnBrk="1">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Identify risks associated with various asset categories defined in BETH3V: Buildings, Equipment (hardware), Technology (software), Human Resources, 3rd parties (stakeholders), and Vital Records.</a:t>
            </a:r>
          </a:p>
          <a:p>
            <a:pPr algn="just" eaLnBrk="1">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Identify the existing physical and environmental mitigating controls / measures.</a:t>
            </a:r>
          </a:p>
          <a:p>
            <a:pPr algn="just" eaLnBrk="1">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Measure the risk exposure level before and after the recommended mitigating measures have been implemented using a qualitative approach (ranking method).</a:t>
            </a:r>
          </a:p>
          <a:p>
            <a:pPr algn="just" eaLnBrk="1">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Recommend additional mitigating controls/measures to bring down risks to an acceptable level.</a:t>
            </a:r>
          </a:p>
        </p:txBody>
      </p:sp>
      <p:sp>
        <p:nvSpPr>
          <p:cNvPr id="6" name="TextBox 5">
            <a:extLst>
              <a:ext uri="{FF2B5EF4-FFF2-40B4-BE49-F238E27FC236}">
                <a16:creationId xmlns:a16="http://schemas.microsoft.com/office/drawing/2014/main" id="{666704B9-75CD-4EBF-9099-30C6840C7E7E}"/>
              </a:ext>
            </a:extLst>
          </p:cNvPr>
          <p:cNvSpPr txBox="1"/>
          <p:nvPr/>
        </p:nvSpPr>
        <p:spPr>
          <a:xfrm rot="19785134">
            <a:off x="8538794" y="4738995"/>
            <a:ext cx="2041430" cy="261610"/>
          </a:xfrm>
          <a:prstGeom prst="rect">
            <a:avLst/>
          </a:prstGeom>
          <a:solidFill>
            <a:schemeClr val="tx1"/>
          </a:solidFill>
          <a:ln>
            <a:solidFill>
              <a:schemeClr val="accent2"/>
            </a:solid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or Illustration Purposes Only</a:t>
            </a:r>
          </a:p>
        </p:txBody>
      </p:sp>
      <p:sp>
        <p:nvSpPr>
          <p:cNvPr id="2" name="Title 1">
            <a:extLst>
              <a:ext uri="{FF2B5EF4-FFF2-40B4-BE49-F238E27FC236}">
                <a16:creationId xmlns:a16="http://schemas.microsoft.com/office/drawing/2014/main" id="{FA07A8D2-F927-3951-3546-AC0BDAAF35F7}"/>
              </a:ext>
            </a:extLst>
          </p:cNvPr>
          <p:cNvSpPr txBox="1">
            <a:spLocks/>
          </p:cNvSpPr>
          <p:nvPr/>
        </p:nvSpPr>
        <p:spPr>
          <a:xfrm>
            <a:off x="411480" y="402587"/>
            <a:ext cx="11252200" cy="334102"/>
          </a:xfrm>
          <a:prstGeom prst="rect">
            <a:avLst/>
          </a:prstGeom>
        </p:spPr>
        <p:txBody>
          <a:bodyPr vert="horz" wrap="square" lIns="0" tIns="0" rIns="0" bIns="0" rtlCol="0" anchor="t" anchorCtr="0">
            <a:noAutofit/>
          </a:bodyPr>
          <a:lstStyle>
            <a:lvl1pPr>
              <a:defRPr sz="2400" b="0" i="0">
                <a:solidFill>
                  <a:srgbClr val="86BC25"/>
                </a:solidFill>
                <a:latin typeface="Calibri" panose="020F0502020204030204" pitchFamily="34" charset="0"/>
                <a:ea typeface="Verdana" panose="020B0604030504040204" pitchFamily="34" charset="0"/>
                <a:cs typeface="Calibri" panose="020F0502020204030204" pitchFamily="34" charset="0"/>
              </a:defRPr>
            </a:lvl1pPr>
          </a:lstStyle>
          <a:p>
            <a:pPr hangingPunct="1">
              <a:spcBef>
                <a:spcPct val="0"/>
              </a:spcBef>
              <a:defRPr/>
            </a:pPr>
            <a:r>
              <a:rPr lang="en-US" sz="2000" dirty="0">
                <a:solidFill>
                  <a:schemeClr val="tx2">
                    <a:lumMod val="50000"/>
                  </a:schemeClr>
                </a:solidFill>
                <a:latin typeface="+mn-lt"/>
                <a:ea typeface="Open Sans Semibold" panose="020B0706030804020204" pitchFamily="34" charset="0"/>
                <a:cs typeface="Open Sans Semibold" panose="020B0706030804020204" pitchFamily="34" charset="0"/>
              </a:rPr>
              <a:t>Approach and Methodology</a:t>
            </a:r>
          </a:p>
        </p:txBody>
      </p:sp>
      <p:sp>
        <p:nvSpPr>
          <p:cNvPr id="3" name="TextBox 2">
            <a:extLst>
              <a:ext uri="{FF2B5EF4-FFF2-40B4-BE49-F238E27FC236}">
                <a16:creationId xmlns:a16="http://schemas.microsoft.com/office/drawing/2014/main" id="{D70AD67B-8F85-4FDD-4D49-AEDDEA7C81C0}"/>
              </a:ext>
            </a:extLst>
          </p:cNvPr>
          <p:cNvSpPr txBox="1"/>
          <p:nvPr/>
        </p:nvSpPr>
        <p:spPr>
          <a:xfrm>
            <a:off x="3132509" y="1647820"/>
            <a:ext cx="1542233" cy="246221"/>
          </a:xfrm>
          <a:prstGeom prst="rect">
            <a:avLst/>
          </a:prstGeom>
          <a:solidFill>
            <a:schemeClr val="bg1"/>
          </a:solidFill>
          <a:ln>
            <a:solidFill>
              <a:schemeClr val="accent2"/>
            </a:solidFill>
          </a:ln>
        </p:spPr>
        <p:txBody>
          <a:bodyPr wrap="square" lIns="0" tIns="0" rIns="0" bIns="0" rtlCol="0">
            <a:spAutoFit/>
          </a:bodyPr>
          <a:lstStyle/>
          <a:p>
            <a:pPr algn="ctr">
              <a:spcBef>
                <a:spcPts val="600"/>
              </a:spcBef>
              <a:buSzPct val="100000"/>
            </a:pPr>
            <a:r>
              <a:rPr lang="en-US" sz="1600" b="1" dirty="0">
                <a:solidFill>
                  <a:schemeClr val="accent2"/>
                </a:solidFill>
                <a:latin typeface="+mn-lt"/>
              </a:rPr>
              <a:t>Key Activities</a:t>
            </a:r>
            <a:endParaRPr lang="en-AE" sz="1600" b="1" dirty="0">
              <a:solidFill>
                <a:schemeClr val="accent2"/>
              </a:solidFill>
              <a:latin typeface="+mn-lt"/>
            </a:endParaRPr>
          </a:p>
        </p:txBody>
      </p:sp>
      <p:sp>
        <p:nvSpPr>
          <p:cNvPr id="7" name="TextBox 6">
            <a:extLst>
              <a:ext uri="{FF2B5EF4-FFF2-40B4-BE49-F238E27FC236}">
                <a16:creationId xmlns:a16="http://schemas.microsoft.com/office/drawing/2014/main" id="{3E815FC7-6872-9DEB-9D7E-B7E7D838C874}"/>
              </a:ext>
            </a:extLst>
          </p:cNvPr>
          <p:cNvSpPr txBox="1"/>
          <p:nvPr/>
        </p:nvSpPr>
        <p:spPr>
          <a:xfrm rot="5400000">
            <a:off x="11456364" y="3983555"/>
            <a:ext cx="1051570" cy="246221"/>
          </a:xfrm>
          <a:prstGeom prst="rect">
            <a:avLst/>
          </a:prstGeom>
          <a:solidFill>
            <a:schemeClr val="bg1"/>
          </a:solidFill>
          <a:ln>
            <a:solidFill>
              <a:schemeClr val="accent2"/>
            </a:solidFill>
          </a:ln>
        </p:spPr>
        <p:txBody>
          <a:bodyPr wrap="none" lIns="0" tIns="0" rIns="0" bIns="0" rtlCol="0">
            <a:spAutoFit/>
          </a:bodyPr>
          <a:lstStyle/>
          <a:p>
            <a:pPr algn="ctr">
              <a:spcBef>
                <a:spcPts val="600"/>
              </a:spcBef>
              <a:buSzPct val="100000"/>
            </a:pPr>
            <a:r>
              <a:rPr lang="en-US" sz="1600" b="1" dirty="0">
                <a:solidFill>
                  <a:schemeClr val="accent2"/>
                </a:solidFill>
                <a:latin typeface="+mn-lt"/>
              </a:rPr>
              <a:t>Deliverables</a:t>
            </a:r>
            <a:endParaRPr lang="en-AE" sz="1600" b="1" dirty="0">
              <a:solidFill>
                <a:schemeClr val="accent2"/>
              </a:solidFill>
              <a:latin typeface="+mn-lt"/>
            </a:endParaRPr>
          </a:p>
        </p:txBody>
      </p:sp>
      <p:sp>
        <p:nvSpPr>
          <p:cNvPr id="10" name="Text Placeholder 20">
            <a:extLst>
              <a:ext uri="{FF2B5EF4-FFF2-40B4-BE49-F238E27FC236}">
                <a16:creationId xmlns:a16="http://schemas.microsoft.com/office/drawing/2014/main" id="{ACC779CB-BE24-8DB1-A96E-728AAB57453B}"/>
              </a:ext>
            </a:extLst>
          </p:cNvPr>
          <p:cNvSpPr txBox="1">
            <a:spLocks/>
          </p:cNvSpPr>
          <p:nvPr/>
        </p:nvSpPr>
        <p:spPr>
          <a:xfrm>
            <a:off x="411480"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lvl="0" indent="0">
              <a:spcBef>
                <a:spcPts val="0"/>
              </a:spcBef>
              <a:spcAft>
                <a:spcPts val="1333"/>
              </a:spcAft>
              <a:buNone/>
              <a:defRPr/>
            </a:pPr>
            <a:r>
              <a:rPr lang="en-US" sz="1400" b="1" dirty="0">
                <a:solidFill>
                  <a:srgbClr val="575757"/>
                </a:solidFill>
                <a:latin typeface="+mn-lt"/>
                <a:ea typeface="Open Sans Light" panose="020B0306030504020204" pitchFamily="34" charset="0"/>
                <a:cs typeface="Open Sans Light" panose="020B0306030504020204" pitchFamily="34" charset="0"/>
              </a:rPr>
              <a:t>Phase 5: Business Continuity Risk Assessment</a:t>
            </a:r>
          </a:p>
        </p:txBody>
      </p:sp>
    </p:spTree>
    <p:extLst>
      <p:ext uri="{BB962C8B-B14F-4D97-AF65-F5344CB8AC3E}">
        <p14:creationId xmlns:p14="http://schemas.microsoft.com/office/powerpoint/2010/main" val="429018731"/>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95CA405-4107-35E3-E6DA-078DBC3AE13B}"/>
              </a:ext>
            </a:extLst>
          </p:cNvPr>
          <p:cNvSpPr/>
          <p:nvPr/>
        </p:nvSpPr>
        <p:spPr bwMode="gray">
          <a:xfrm>
            <a:off x="381970" y="1784252"/>
            <a:ext cx="11599333" cy="4834428"/>
          </a:xfrm>
          <a:prstGeom prst="rect">
            <a:avLst/>
          </a:prstGeom>
          <a:noFill/>
          <a:ln w="19050" algn="ctr">
            <a:solidFill>
              <a:schemeClr val="accent2"/>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sp>
        <p:nvSpPr>
          <p:cNvPr id="8" name="Flowchart: Process 7">
            <a:extLst>
              <a:ext uri="{FF2B5EF4-FFF2-40B4-BE49-F238E27FC236}">
                <a16:creationId xmlns:a16="http://schemas.microsoft.com/office/drawing/2014/main" id="{CBA2283B-8802-F93F-2F11-B7E7025C2892}"/>
              </a:ext>
            </a:extLst>
          </p:cNvPr>
          <p:cNvSpPr/>
          <p:nvPr/>
        </p:nvSpPr>
        <p:spPr bwMode="gray">
          <a:xfrm>
            <a:off x="7337040" y="2018974"/>
            <a:ext cx="4226294" cy="4447309"/>
          </a:xfrm>
          <a:prstGeom prst="flowChartProcess">
            <a:avLst/>
          </a:prstGeom>
          <a:noFill/>
          <a:ln w="3810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pic>
        <p:nvPicPr>
          <p:cNvPr id="17" name="Picture 16">
            <a:extLst>
              <a:ext uri="{FF2B5EF4-FFF2-40B4-BE49-F238E27FC236}">
                <a16:creationId xmlns:a16="http://schemas.microsoft.com/office/drawing/2014/main" id="{16F22E38-5F76-68E4-694E-AC834AE649AF}"/>
              </a:ext>
            </a:extLst>
          </p:cNvPr>
          <p:cNvPicPr>
            <a:picLocks noChangeAspect="1"/>
          </p:cNvPicPr>
          <p:nvPr/>
        </p:nvPicPr>
        <p:blipFill>
          <a:blip r:embed="rId2"/>
          <a:stretch>
            <a:fillRect/>
          </a:stretch>
        </p:blipFill>
        <p:spPr>
          <a:xfrm>
            <a:off x="9185616" y="1535515"/>
            <a:ext cx="733646" cy="733646"/>
          </a:xfrm>
          <a:prstGeom prst="rect">
            <a:avLst/>
          </a:prstGeom>
        </p:spPr>
      </p:pic>
      <p:sp>
        <p:nvSpPr>
          <p:cNvPr id="18" name="TextBox 17">
            <a:extLst>
              <a:ext uri="{FF2B5EF4-FFF2-40B4-BE49-F238E27FC236}">
                <a16:creationId xmlns:a16="http://schemas.microsoft.com/office/drawing/2014/main" id="{14C86E9B-D1A5-AFA2-682D-D010A63C7A75}"/>
              </a:ext>
            </a:extLst>
          </p:cNvPr>
          <p:cNvSpPr txBox="1"/>
          <p:nvPr/>
        </p:nvSpPr>
        <p:spPr>
          <a:xfrm>
            <a:off x="7778883" y="2503883"/>
            <a:ext cx="3547112" cy="7632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285750" lvl="0" indent="-285750" algn="just" eaLnBrk="1">
              <a:lnSpc>
                <a:spcPct val="120000"/>
              </a:lnSpc>
              <a:spcAft>
                <a:spcPts val="600"/>
              </a:spcAft>
              <a:buSzPct val="100000"/>
              <a:buFont typeface="Wingdings" panose="05000000000000000000" pitchFamily="2" charset="2"/>
              <a:buChar char="ü"/>
              <a:defRPr/>
            </a:pPr>
            <a:r>
              <a:rPr lang="en-US" sz="1100" kern="1200" dirty="0">
                <a:solidFill>
                  <a:prstClr val="black"/>
                </a:solidFill>
                <a:latin typeface="+mn-lt"/>
                <a:ea typeface="Verdana" panose="020B0604030504040204" pitchFamily="34" charset="0"/>
                <a:cs typeface="Open Sans Light" panose="020B0306030504020204" pitchFamily="34" charset="0"/>
              </a:rPr>
              <a:t>BCM recovery strategy and solutions report</a:t>
            </a:r>
          </a:p>
          <a:p>
            <a:pPr marL="285750" lvl="0" indent="-285750" algn="just" eaLnBrk="1">
              <a:lnSpc>
                <a:spcPct val="120000"/>
              </a:lnSpc>
              <a:spcAft>
                <a:spcPts val="600"/>
              </a:spcAft>
              <a:buSzPct val="100000"/>
              <a:buFont typeface="Wingdings" panose="05000000000000000000" pitchFamily="2" charset="2"/>
              <a:buChar char="ü"/>
              <a:defRPr/>
            </a:pPr>
            <a:r>
              <a:rPr lang="en-US" sz="1100" kern="1200" dirty="0">
                <a:solidFill>
                  <a:prstClr val="black"/>
                </a:solidFill>
                <a:latin typeface="+mn-lt"/>
                <a:ea typeface="Verdana" panose="020B0604030504040204" pitchFamily="34" charset="0"/>
                <a:cs typeface="Open Sans Light" panose="020B0306030504020204" pitchFamily="34" charset="0"/>
              </a:rPr>
              <a:t>Plan for effective implementation and continuous review of the identified BCM strategies</a:t>
            </a:r>
          </a:p>
        </p:txBody>
      </p:sp>
      <p:sp>
        <p:nvSpPr>
          <p:cNvPr id="21" name="TextBox 20">
            <a:extLst>
              <a:ext uri="{FF2B5EF4-FFF2-40B4-BE49-F238E27FC236}">
                <a16:creationId xmlns:a16="http://schemas.microsoft.com/office/drawing/2014/main" id="{C99EE3AD-0681-40D2-7FD6-3E5954772208}"/>
              </a:ext>
            </a:extLst>
          </p:cNvPr>
          <p:cNvSpPr txBox="1"/>
          <p:nvPr/>
        </p:nvSpPr>
        <p:spPr>
          <a:xfrm>
            <a:off x="394109" y="1048757"/>
            <a:ext cx="11530798" cy="661667"/>
          </a:xfrm>
          <a:prstGeom prst="rect">
            <a:avLst/>
          </a:prstGeom>
          <a:noFill/>
          <a:ln w="9525" algn="ctr">
            <a:noFill/>
            <a:miter lim="800000"/>
            <a:headEnd/>
            <a:tailEnd/>
          </a:ln>
        </p:spPr>
        <p:txBody>
          <a:bodyPr wrap="square" lIns="91440" tIns="0" rIns="91440" bIns="0" rtlCol="0" anchor="t" anchorCtr="0">
            <a:noAutofit/>
          </a:bodyPr>
          <a:lstStyle/>
          <a:p>
            <a:pPr algn="just">
              <a:lnSpc>
                <a:spcPct val="120000"/>
              </a:lnSpc>
              <a:spcAft>
                <a:spcPts val="600"/>
              </a:spcAft>
              <a:buSzPct val="100000"/>
              <a:defRPr/>
            </a:pPr>
            <a:r>
              <a:rPr lang="en-US" sz="1100" dirty="0">
                <a:solidFill>
                  <a:schemeClr val="tx2"/>
                </a:solidFill>
                <a:latin typeface="+mn-lt"/>
              </a:rPr>
              <a:t>Provide strategic options to recover Salam’s critical processes and services by identifying and evaluating the most cost-effective and appropriate strategies based on the outcomes of the Business Impact Analysis and the Threat Risk Assessment.</a:t>
            </a:r>
          </a:p>
        </p:txBody>
      </p:sp>
      <p:sp>
        <p:nvSpPr>
          <p:cNvPr id="22" name="TextBox 21">
            <a:extLst>
              <a:ext uri="{FF2B5EF4-FFF2-40B4-BE49-F238E27FC236}">
                <a16:creationId xmlns:a16="http://schemas.microsoft.com/office/drawing/2014/main" id="{E81AAF8B-CA6D-BA71-680D-9E0E2F0B4484}"/>
              </a:ext>
            </a:extLst>
          </p:cNvPr>
          <p:cNvSpPr txBox="1"/>
          <p:nvPr/>
        </p:nvSpPr>
        <p:spPr>
          <a:xfrm>
            <a:off x="628665" y="2228374"/>
            <a:ext cx="6290405" cy="33055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285750" indent="-285750">
              <a:lnSpc>
                <a:spcPct val="150000"/>
              </a:lnSpc>
              <a:buFont typeface="Wingdings" panose="05000000000000000000" pitchFamily="2" charset="2"/>
              <a:buChar char="ü"/>
              <a:defRPr sz="1800">
                <a:solidFill>
                  <a:schemeClr val="tx2"/>
                </a:solidFill>
                <a:latin typeface="+mn-lt"/>
              </a:defRPr>
            </a:lvl1pPr>
          </a:lstStyle>
          <a:p>
            <a:pPr marL="0" marR="0" lvl="0" indent="0" defTabSz="914400" rtl="0" eaLnBrk="1" fontAlgn="auto" latinLnBrk="0" hangingPunct="1">
              <a:lnSpc>
                <a:spcPct val="100000"/>
              </a:lnSpc>
              <a:spcBef>
                <a:spcPts val="0"/>
              </a:spcBef>
              <a:spcAft>
                <a:spcPts val="600"/>
              </a:spcAft>
              <a:buClr>
                <a:srgbClr val="86BC25"/>
              </a:buClr>
              <a:buSzTx/>
              <a:buFontTx/>
              <a:buNone/>
              <a:tabLst/>
              <a:defRPr/>
            </a:pPr>
            <a:r>
              <a:rPr lang="en-US" sz="1100" kern="1200" dirty="0">
                <a:solidFill>
                  <a:prstClr val="black"/>
                </a:solidFill>
                <a:ea typeface="Verdana" panose="020B0604030504040204" pitchFamily="34" charset="0"/>
                <a:cs typeface="Open Sans Light" panose="020B0306030504020204" pitchFamily="34" charset="0"/>
              </a:rPr>
              <a:t>Provide strategic options to recover the time-critical processes by identifying and evaluating the most cost-effective and appropriate strategies based on the outcomes of the Business Impact Analysis and the Threat Risk Assessment.</a:t>
            </a:r>
          </a:p>
          <a:p>
            <a:pPr marL="0" marR="0" lvl="0" indent="0" defTabSz="914400" rtl="0" eaLnBrk="1" fontAlgn="auto" latinLnBrk="0" hangingPunct="1">
              <a:lnSpc>
                <a:spcPct val="100000"/>
              </a:lnSpc>
              <a:spcBef>
                <a:spcPts val="0"/>
              </a:spcBef>
              <a:spcAft>
                <a:spcPts val="600"/>
              </a:spcAft>
              <a:buClr>
                <a:srgbClr val="86BC25"/>
              </a:buClr>
              <a:buSzTx/>
              <a:buFontTx/>
              <a:buNone/>
              <a:tabLst/>
              <a:defRPr/>
            </a:pPr>
            <a:r>
              <a:rPr lang="en-US" sz="1100" kern="1200" dirty="0">
                <a:solidFill>
                  <a:prstClr val="black"/>
                </a:solidFill>
                <a:ea typeface="Verdana" panose="020B0604030504040204" pitchFamily="34" charset="0"/>
                <a:cs typeface="Open Sans Light" panose="020B0306030504020204" pitchFamily="34" charset="0"/>
              </a:rPr>
              <a:t>To provide BCM recovery strategy options, we will do the following:</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Identify fit-for-purpose recovery strategies in case of unavailability of the BETH3V components; </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Evaluate the recovery options to ensure they provide the minimum acceptable level of service for key BCMS metrics – such as within the defined maximum tolerable period of disruption (MTPD) and recovery time objective (RTO) timeframe as well as recovery point objective (RPO);</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Present the recovery strategy options for the time-critical processes to the BCM Steering Committee; and</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Recommend, based on hierarchical tiers, the most cost-effective strategy option and obtain management approval of the selected options.</a:t>
            </a:r>
          </a:p>
          <a:p>
            <a:pPr algn="just">
              <a:lnSpc>
                <a:spcPct val="120000"/>
              </a:lnSpc>
              <a:spcAft>
                <a:spcPts val="600"/>
              </a:spcAft>
              <a:buSzPct val="100000"/>
              <a:buFont typeface="Wingdings" panose="05000000000000000000" pitchFamily="2" charset="2"/>
              <a:buChar char="Ø"/>
              <a:defRPr/>
            </a:pPr>
            <a:endParaRPr lang="en-US" sz="1600" dirty="0"/>
          </a:p>
          <a:p>
            <a:pPr algn="just">
              <a:lnSpc>
                <a:spcPct val="120000"/>
              </a:lnSpc>
              <a:spcAft>
                <a:spcPts val="600"/>
              </a:spcAft>
              <a:buSzPct val="100000"/>
              <a:buFont typeface="Wingdings" panose="05000000000000000000" pitchFamily="2" charset="2"/>
              <a:buChar char="Ø"/>
              <a:defRPr/>
            </a:pPr>
            <a:endParaRPr lang="en-US" sz="1600" dirty="0"/>
          </a:p>
        </p:txBody>
      </p:sp>
      <p:pic>
        <p:nvPicPr>
          <p:cNvPr id="5" name="Picture 4">
            <a:extLst>
              <a:ext uri="{FF2B5EF4-FFF2-40B4-BE49-F238E27FC236}">
                <a16:creationId xmlns:a16="http://schemas.microsoft.com/office/drawing/2014/main" id="{F3F95F72-8CD0-AD66-A181-906787B59588}"/>
              </a:ext>
            </a:extLst>
          </p:cNvPr>
          <p:cNvPicPr>
            <a:picLocks noChangeAspect="1"/>
          </p:cNvPicPr>
          <p:nvPr/>
        </p:nvPicPr>
        <p:blipFill>
          <a:blip r:embed="rId3"/>
          <a:stretch>
            <a:fillRect/>
          </a:stretch>
        </p:blipFill>
        <p:spPr>
          <a:xfrm>
            <a:off x="8211121" y="4445859"/>
            <a:ext cx="2592568" cy="1904924"/>
          </a:xfrm>
          <a:prstGeom prst="rect">
            <a:avLst/>
          </a:prstGeom>
        </p:spPr>
      </p:pic>
      <p:sp>
        <p:nvSpPr>
          <p:cNvPr id="6" name="TextBox 5">
            <a:extLst>
              <a:ext uri="{FF2B5EF4-FFF2-40B4-BE49-F238E27FC236}">
                <a16:creationId xmlns:a16="http://schemas.microsoft.com/office/drawing/2014/main" id="{D9D278D7-ADAE-82D0-A1FB-A746FA41E3C5}"/>
              </a:ext>
            </a:extLst>
          </p:cNvPr>
          <p:cNvSpPr txBox="1"/>
          <p:nvPr/>
        </p:nvSpPr>
        <p:spPr>
          <a:xfrm rot="19785134">
            <a:off x="8287772" y="5383015"/>
            <a:ext cx="2041430" cy="261610"/>
          </a:xfrm>
          <a:prstGeom prst="rect">
            <a:avLst/>
          </a:prstGeom>
          <a:solidFill>
            <a:schemeClr val="tx1"/>
          </a:solidFill>
          <a:ln>
            <a:solidFill>
              <a:schemeClr val="accent2"/>
            </a:solid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or Illustration Purposes Only</a:t>
            </a:r>
          </a:p>
        </p:txBody>
      </p:sp>
      <p:sp>
        <p:nvSpPr>
          <p:cNvPr id="2" name="Title 1">
            <a:extLst>
              <a:ext uri="{FF2B5EF4-FFF2-40B4-BE49-F238E27FC236}">
                <a16:creationId xmlns:a16="http://schemas.microsoft.com/office/drawing/2014/main" id="{40663522-81B7-5E2C-6B9C-D8FB77F357FC}"/>
              </a:ext>
            </a:extLst>
          </p:cNvPr>
          <p:cNvSpPr txBox="1">
            <a:spLocks/>
          </p:cNvSpPr>
          <p:nvPr/>
        </p:nvSpPr>
        <p:spPr>
          <a:xfrm>
            <a:off x="411480" y="402587"/>
            <a:ext cx="11252200" cy="334102"/>
          </a:xfrm>
          <a:prstGeom prst="rect">
            <a:avLst/>
          </a:prstGeom>
        </p:spPr>
        <p:txBody>
          <a:bodyPr vert="horz" wrap="square" lIns="0" tIns="0" rIns="0" bIns="0" rtlCol="0" anchor="t" anchorCtr="0">
            <a:noAutofit/>
          </a:bodyPr>
          <a:lstStyle>
            <a:lvl1pPr>
              <a:defRPr sz="2400" b="0" i="0">
                <a:solidFill>
                  <a:srgbClr val="86BC25"/>
                </a:solidFill>
                <a:latin typeface="Calibri" panose="020F0502020204030204" pitchFamily="34" charset="0"/>
                <a:ea typeface="Verdana" panose="020B0604030504040204" pitchFamily="34" charset="0"/>
                <a:cs typeface="Calibri" panose="020F0502020204030204" pitchFamily="34" charset="0"/>
              </a:defRPr>
            </a:lvl1pPr>
          </a:lstStyle>
          <a:p>
            <a:pPr hangingPunct="1">
              <a:spcBef>
                <a:spcPct val="0"/>
              </a:spcBef>
              <a:defRPr/>
            </a:pPr>
            <a:r>
              <a:rPr lang="en-US" sz="2000" dirty="0">
                <a:solidFill>
                  <a:schemeClr val="tx2">
                    <a:lumMod val="50000"/>
                  </a:schemeClr>
                </a:solidFill>
                <a:latin typeface="+mn-lt"/>
                <a:ea typeface="Open Sans Semibold" panose="020B0706030804020204" pitchFamily="34" charset="0"/>
                <a:cs typeface="Open Sans Semibold" panose="020B0706030804020204" pitchFamily="34" charset="0"/>
              </a:rPr>
              <a:t>Approach and Methodology</a:t>
            </a:r>
          </a:p>
        </p:txBody>
      </p:sp>
      <p:sp>
        <p:nvSpPr>
          <p:cNvPr id="3" name="TextBox 2">
            <a:extLst>
              <a:ext uri="{FF2B5EF4-FFF2-40B4-BE49-F238E27FC236}">
                <a16:creationId xmlns:a16="http://schemas.microsoft.com/office/drawing/2014/main" id="{3A78E369-E7BE-E9CE-7C8C-D38E48B8CEAB}"/>
              </a:ext>
            </a:extLst>
          </p:cNvPr>
          <p:cNvSpPr txBox="1"/>
          <p:nvPr/>
        </p:nvSpPr>
        <p:spPr>
          <a:xfrm>
            <a:off x="3132509" y="1647820"/>
            <a:ext cx="1542233" cy="246221"/>
          </a:xfrm>
          <a:prstGeom prst="rect">
            <a:avLst/>
          </a:prstGeom>
          <a:solidFill>
            <a:schemeClr val="bg1"/>
          </a:solidFill>
          <a:ln>
            <a:solidFill>
              <a:schemeClr val="accent2"/>
            </a:solidFill>
          </a:ln>
        </p:spPr>
        <p:txBody>
          <a:bodyPr wrap="square" lIns="0" tIns="0" rIns="0" bIns="0" rtlCol="0">
            <a:spAutoFit/>
          </a:bodyPr>
          <a:lstStyle/>
          <a:p>
            <a:pPr algn="ctr">
              <a:spcBef>
                <a:spcPts val="600"/>
              </a:spcBef>
              <a:buSzPct val="100000"/>
            </a:pPr>
            <a:r>
              <a:rPr lang="en-US" sz="1600" b="1" dirty="0">
                <a:solidFill>
                  <a:schemeClr val="accent2"/>
                </a:solidFill>
                <a:latin typeface="+mn-lt"/>
              </a:rPr>
              <a:t>Key Activities</a:t>
            </a:r>
            <a:endParaRPr lang="en-AE" sz="1600" b="1" dirty="0">
              <a:solidFill>
                <a:schemeClr val="accent2"/>
              </a:solidFill>
              <a:latin typeface="+mn-lt"/>
            </a:endParaRPr>
          </a:p>
        </p:txBody>
      </p:sp>
      <p:sp>
        <p:nvSpPr>
          <p:cNvPr id="7" name="TextBox 6">
            <a:extLst>
              <a:ext uri="{FF2B5EF4-FFF2-40B4-BE49-F238E27FC236}">
                <a16:creationId xmlns:a16="http://schemas.microsoft.com/office/drawing/2014/main" id="{93877A0F-F3C4-BD2B-4508-116ED684C4E6}"/>
              </a:ext>
            </a:extLst>
          </p:cNvPr>
          <p:cNvSpPr txBox="1"/>
          <p:nvPr/>
        </p:nvSpPr>
        <p:spPr>
          <a:xfrm rot="5400000">
            <a:off x="11456364" y="3983555"/>
            <a:ext cx="1051570" cy="246221"/>
          </a:xfrm>
          <a:prstGeom prst="rect">
            <a:avLst/>
          </a:prstGeom>
          <a:solidFill>
            <a:schemeClr val="bg1"/>
          </a:solidFill>
          <a:ln>
            <a:solidFill>
              <a:schemeClr val="accent2"/>
            </a:solidFill>
          </a:ln>
        </p:spPr>
        <p:txBody>
          <a:bodyPr wrap="none" lIns="0" tIns="0" rIns="0" bIns="0" rtlCol="0">
            <a:spAutoFit/>
          </a:bodyPr>
          <a:lstStyle/>
          <a:p>
            <a:pPr algn="ctr">
              <a:spcBef>
                <a:spcPts val="600"/>
              </a:spcBef>
              <a:buSzPct val="100000"/>
            </a:pPr>
            <a:r>
              <a:rPr lang="en-US" sz="1600" b="1" dirty="0">
                <a:solidFill>
                  <a:schemeClr val="accent2"/>
                </a:solidFill>
                <a:latin typeface="+mn-lt"/>
              </a:rPr>
              <a:t>Deliverables</a:t>
            </a:r>
            <a:endParaRPr lang="en-AE" sz="1600" b="1" dirty="0">
              <a:solidFill>
                <a:schemeClr val="accent2"/>
              </a:solidFill>
              <a:latin typeface="+mn-lt"/>
            </a:endParaRPr>
          </a:p>
        </p:txBody>
      </p:sp>
      <p:sp>
        <p:nvSpPr>
          <p:cNvPr id="10" name="Text Placeholder 20">
            <a:extLst>
              <a:ext uri="{FF2B5EF4-FFF2-40B4-BE49-F238E27FC236}">
                <a16:creationId xmlns:a16="http://schemas.microsoft.com/office/drawing/2014/main" id="{04BFCD0E-B27C-2E24-4F85-15FDF5B440ED}"/>
              </a:ext>
            </a:extLst>
          </p:cNvPr>
          <p:cNvSpPr txBox="1">
            <a:spLocks/>
          </p:cNvSpPr>
          <p:nvPr/>
        </p:nvSpPr>
        <p:spPr>
          <a:xfrm>
            <a:off x="411480"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lvl="0" indent="0">
              <a:spcBef>
                <a:spcPts val="0"/>
              </a:spcBef>
              <a:spcAft>
                <a:spcPts val="1333"/>
              </a:spcAft>
              <a:buNone/>
              <a:defRPr/>
            </a:pPr>
            <a:r>
              <a:rPr lang="en-US" sz="1400" b="1" dirty="0">
                <a:solidFill>
                  <a:srgbClr val="575757"/>
                </a:solidFill>
                <a:latin typeface="+mn-lt"/>
                <a:ea typeface="Open Sans Light" panose="020B0306030504020204" pitchFamily="34" charset="0"/>
                <a:cs typeface="Open Sans Light" panose="020B0306030504020204" pitchFamily="34" charset="0"/>
              </a:rPr>
              <a:t>Phase 6:  Business Continuity Recovery Strategy and Plans (1/5)</a:t>
            </a:r>
          </a:p>
        </p:txBody>
      </p:sp>
    </p:spTree>
    <p:extLst>
      <p:ext uri="{BB962C8B-B14F-4D97-AF65-F5344CB8AC3E}">
        <p14:creationId xmlns:p14="http://schemas.microsoft.com/office/powerpoint/2010/main" val="4014948116"/>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5269238A-786E-ACE8-7B80-CD9151A68517}"/>
              </a:ext>
            </a:extLst>
          </p:cNvPr>
          <p:cNvGrpSpPr/>
          <p:nvPr/>
        </p:nvGrpSpPr>
        <p:grpSpPr>
          <a:xfrm>
            <a:off x="7855150" y="3478012"/>
            <a:ext cx="2890092" cy="2209067"/>
            <a:chOff x="6802588" y="1705973"/>
            <a:chExt cx="5191174" cy="4383998"/>
          </a:xfrm>
        </p:grpSpPr>
        <p:pic>
          <p:nvPicPr>
            <p:cNvPr id="15" name="Picture 14">
              <a:extLst>
                <a:ext uri="{FF2B5EF4-FFF2-40B4-BE49-F238E27FC236}">
                  <a16:creationId xmlns:a16="http://schemas.microsoft.com/office/drawing/2014/main" id="{9EA1692C-4F6C-7DC4-9130-FABF8C8EF79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33107" y="3863449"/>
              <a:ext cx="4960655" cy="2226522"/>
            </a:xfrm>
            <a:prstGeom prst="rect">
              <a:avLst/>
            </a:prstGeom>
          </p:spPr>
        </p:pic>
        <p:pic>
          <p:nvPicPr>
            <p:cNvPr id="23" name="Picture 22">
              <a:extLst>
                <a:ext uri="{FF2B5EF4-FFF2-40B4-BE49-F238E27FC236}">
                  <a16:creationId xmlns:a16="http://schemas.microsoft.com/office/drawing/2014/main" id="{83F036C4-EA1A-005B-26AC-3EDBA64D133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802588" y="1710312"/>
              <a:ext cx="2706747" cy="1766807"/>
            </a:xfrm>
            <a:prstGeom prst="rect">
              <a:avLst/>
            </a:prstGeom>
          </p:spPr>
        </p:pic>
        <p:pic>
          <p:nvPicPr>
            <p:cNvPr id="24" name="Picture 23">
              <a:extLst>
                <a:ext uri="{FF2B5EF4-FFF2-40B4-BE49-F238E27FC236}">
                  <a16:creationId xmlns:a16="http://schemas.microsoft.com/office/drawing/2014/main" id="{ED31068D-3CC0-863F-1E87-92DAA0747C1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400391" y="1705973"/>
              <a:ext cx="2593371" cy="1793466"/>
            </a:xfrm>
            <a:prstGeom prst="rect">
              <a:avLst/>
            </a:prstGeom>
          </p:spPr>
        </p:pic>
      </p:grpSp>
      <p:sp>
        <p:nvSpPr>
          <p:cNvPr id="4" name="Rectangle 3">
            <a:extLst>
              <a:ext uri="{FF2B5EF4-FFF2-40B4-BE49-F238E27FC236}">
                <a16:creationId xmlns:a16="http://schemas.microsoft.com/office/drawing/2014/main" id="{695CA405-4107-35E3-E6DA-078DBC3AE13B}"/>
              </a:ext>
            </a:extLst>
          </p:cNvPr>
          <p:cNvSpPr/>
          <p:nvPr/>
        </p:nvSpPr>
        <p:spPr bwMode="gray">
          <a:xfrm>
            <a:off x="381970" y="1784252"/>
            <a:ext cx="11599333" cy="4834428"/>
          </a:xfrm>
          <a:prstGeom prst="rect">
            <a:avLst/>
          </a:prstGeom>
          <a:noFill/>
          <a:ln w="19050" algn="ctr">
            <a:solidFill>
              <a:schemeClr val="accent2"/>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sp>
        <p:nvSpPr>
          <p:cNvPr id="8" name="Flowchart: Process 7">
            <a:extLst>
              <a:ext uri="{FF2B5EF4-FFF2-40B4-BE49-F238E27FC236}">
                <a16:creationId xmlns:a16="http://schemas.microsoft.com/office/drawing/2014/main" id="{CBA2283B-8802-F93F-2F11-B7E7025C2892}"/>
              </a:ext>
            </a:extLst>
          </p:cNvPr>
          <p:cNvSpPr/>
          <p:nvPr/>
        </p:nvSpPr>
        <p:spPr bwMode="gray">
          <a:xfrm>
            <a:off x="7337040" y="2018974"/>
            <a:ext cx="4226294" cy="4447309"/>
          </a:xfrm>
          <a:prstGeom prst="flowChartProcess">
            <a:avLst/>
          </a:prstGeom>
          <a:noFill/>
          <a:ln w="3810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pic>
        <p:nvPicPr>
          <p:cNvPr id="17" name="Picture 16">
            <a:extLst>
              <a:ext uri="{FF2B5EF4-FFF2-40B4-BE49-F238E27FC236}">
                <a16:creationId xmlns:a16="http://schemas.microsoft.com/office/drawing/2014/main" id="{16F22E38-5F76-68E4-694E-AC834AE649AF}"/>
              </a:ext>
            </a:extLst>
          </p:cNvPr>
          <p:cNvPicPr>
            <a:picLocks noChangeAspect="1"/>
          </p:cNvPicPr>
          <p:nvPr/>
        </p:nvPicPr>
        <p:blipFill>
          <a:blip r:embed="rId5"/>
          <a:stretch>
            <a:fillRect/>
          </a:stretch>
        </p:blipFill>
        <p:spPr>
          <a:xfrm>
            <a:off x="9185616" y="1535515"/>
            <a:ext cx="733646" cy="733646"/>
          </a:xfrm>
          <a:prstGeom prst="rect">
            <a:avLst/>
          </a:prstGeom>
        </p:spPr>
      </p:pic>
      <p:sp>
        <p:nvSpPr>
          <p:cNvPr id="18" name="TextBox 17">
            <a:extLst>
              <a:ext uri="{FF2B5EF4-FFF2-40B4-BE49-F238E27FC236}">
                <a16:creationId xmlns:a16="http://schemas.microsoft.com/office/drawing/2014/main" id="{14C86E9B-D1A5-AFA2-682D-D010A63C7A75}"/>
              </a:ext>
            </a:extLst>
          </p:cNvPr>
          <p:cNvSpPr txBox="1"/>
          <p:nvPr/>
        </p:nvSpPr>
        <p:spPr>
          <a:xfrm>
            <a:off x="7778883" y="2503883"/>
            <a:ext cx="3547112" cy="2800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285750" lvl="0" indent="-285750" algn="just" eaLnBrk="1">
              <a:lnSpc>
                <a:spcPct val="120000"/>
              </a:lnSpc>
              <a:spcAft>
                <a:spcPts val="600"/>
              </a:spcAft>
              <a:buSzPct val="100000"/>
              <a:buFont typeface="Wingdings" panose="05000000000000000000" pitchFamily="2" charset="2"/>
              <a:buChar char="ü"/>
              <a:defRPr/>
            </a:pPr>
            <a:r>
              <a:rPr lang="en-US" sz="1100" kern="1200" dirty="0">
                <a:solidFill>
                  <a:prstClr val="black"/>
                </a:solidFill>
                <a:latin typeface="+mn-lt"/>
                <a:ea typeface="Verdana" panose="020B0604030504040204" pitchFamily="34" charset="0"/>
                <a:cs typeface="Open Sans Light" panose="020B0306030504020204" pitchFamily="34" charset="0"/>
              </a:rPr>
              <a:t>Incident Management Plan, Policy and procedures.</a:t>
            </a:r>
            <a:endParaRPr lang="en-AE" sz="1100" kern="1200" dirty="0">
              <a:solidFill>
                <a:prstClr val="black"/>
              </a:solidFill>
              <a:latin typeface="+mn-lt"/>
              <a:ea typeface="Verdana" panose="020B0604030504040204" pitchFamily="34" charset="0"/>
              <a:cs typeface="Open Sans Light" panose="020B0306030504020204" pitchFamily="34" charset="0"/>
            </a:endParaRPr>
          </a:p>
        </p:txBody>
      </p:sp>
      <p:sp>
        <p:nvSpPr>
          <p:cNvPr id="21" name="TextBox 20">
            <a:extLst>
              <a:ext uri="{FF2B5EF4-FFF2-40B4-BE49-F238E27FC236}">
                <a16:creationId xmlns:a16="http://schemas.microsoft.com/office/drawing/2014/main" id="{C99EE3AD-0681-40D2-7FD6-3E5954772208}"/>
              </a:ext>
            </a:extLst>
          </p:cNvPr>
          <p:cNvSpPr txBox="1"/>
          <p:nvPr/>
        </p:nvSpPr>
        <p:spPr>
          <a:xfrm>
            <a:off x="394109" y="1048757"/>
            <a:ext cx="11530798" cy="661667"/>
          </a:xfrm>
          <a:prstGeom prst="rect">
            <a:avLst/>
          </a:prstGeom>
          <a:noFill/>
          <a:ln w="9525" algn="ctr">
            <a:noFill/>
            <a:miter lim="800000"/>
            <a:headEnd/>
            <a:tailEnd/>
          </a:ln>
        </p:spPr>
        <p:txBody>
          <a:bodyPr wrap="square" lIns="91440" tIns="0" rIns="91440" bIns="0" rtlCol="0" anchor="t" anchorCtr="0">
            <a:noAutofit/>
          </a:bodyPr>
          <a:lstStyle/>
          <a:p>
            <a:pPr algn="just">
              <a:lnSpc>
                <a:spcPct val="120000"/>
              </a:lnSpc>
              <a:spcAft>
                <a:spcPts val="600"/>
              </a:spcAft>
              <a:buSzPct val="100000"/>
              <a:defRPr/>
            </a:pPr>
            <a:r>
              <a:rPr lang="en-US" sz="1100" dirty="0">
                <a:solidFill>
                  <a:schemeClr val="tx2"/>
                </a:solidFill>
                <a:latin typeface="+mn-lt"/>
              </a:rPr>
              <a:t>Develop an Incident Response Plan (IRP) to establish a structured and systematic process for responding to incidents of varying severity that may impact Salam at an operational and tactical layer. </a:t>
            </a:r>
          </a:p>
        </p:txBody>
      </p:sp>
      <p:sp>
        <p:nvSpPr>
          <p:cNvPr id="22" name="TextBox 21">
            <a:extLst>
              <a:ext uri="{FF2B5EF4-FFF2-40B4-BE49-F238E27FC236}">
                <a16:creationId xmlns:a16="http://schemas.microsoft.com/office/drawing/2014/main" id="{E81AAF8B-CA6D-BA71-680D-9E0E2F0B4484}"/>
              </a:ext>
            </a:extLst>
          </p:cNvPr>
          <p:cNvSpPr txBox="1"/>
          <p:nvPr/>
        </p:nvSpPr>
        <p:spPr>
          <a:xfrm>
            <a:off x="628665" y="2228374"/>
            <a:ext cx="6290405" cy="346094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285750" indent="-285750">
              <a:lnSpc>
                <a:spcPct val="150000"/>
              </a:lnSpc>
              <a:buFont typeface="Wingdings" panose="05000000000000000000" pitchFamily="2" charset="2"/>
              <a:buChar char="ü"/>
              <a:defRPr sz="1800">
                <a:solidFill>
                  <a:schemeClr val="tx2"/>
                </a:solidFill>
                <a:latin typeface="+mn-lt"/>
              </a:defRPr>
            </a:lvl1pPr>
          </a:lstStyle>
          <a:p>
            <a:pPr marL="0" indent="0" defTabSz="914400">
              <a:spcAft>
                <a:spcPts val="600"/>
              </a:spcAft>
              <a:buClr>
                <a:srgbClr val="86BC25"/>
              </a:buClr>
              <a:buNone/>
              <a:defRPr/>
            </a:pPr>
            <a:r>
              <a:rPr lang="en-US" sz="1100" kern="1200" dirty="0">
                <a:solidFill>
                  <a:prstClr val="black"/>
                </a:solidFill>
                <a:ea typeface="Verdana" panose="020B0604030504040204" pitchFamily="34" charset="0"/>
                <a:cs typeface="Open Sans Light" panose="020B0306030504020204" pitchFamily="34" charset="0"/>
              </a:rPr>
              <a:t>This step involves development of the Incident Management Policy and Plan, which will include the following :</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Understand the current Incident Response structure (if any) at Salam.</a:t>
            </a:r>
          </a:p>
          <a:p>
            <a:pPr algn="just">
              <a:lnSpc>
                <a:spcPct val="120000"/>
              </a:lnSpc>
              <a:spcAft>
                <a:spcPts val="600"/>
              </a:spcAft>
              <a:buSzPct val="100000"/>
              <a:buFont typeface="Wingdings" panose="05000000000000000000" pitchFamily="2" charset="2"/>
              <a:buChar char="Ø"/>
              <a:defRPr/>
            </a:pPr>
            <a:r>
              <a:rPr lang="en-US" sz="1100" dirty="0">
                <a:solidFill>
                  <a:prstClr val="black"/>
                </a:solidFill>
                <a:ea typeface="Verdana" panose="020B0604030504040204" pitchFamily="34" charset="0"/>
              </a:rPr>
              <a:t>Define the varying levels of severity for distinguished incidents and accordingly deploy the appropriate teams and resources to handle the situation by:</a:t>
            </a:r>
          </a:p>
          <a:p>
            <a:pPr marL="461963" lvl="1" indent="-230188" algn="just">
              <a:lnSpc>
                <a:spcPct val="120000"/>
              </a:lnSpc>
              <a:spcAft>
                <a:spcPts val="600"/>
              </a:spcAft>
              <a:buSzPct val="100000"/>
              <a:buFont typeface="Wingdings" panose="05000000000000000000" pitchFamily="2" charset="2"/>
              <a:buChar char="§"/>
              <a:defRPr/>
            </a:pPr>
            <a:r>
              <a:rPr lang="en-US" sz="1100" kern="1200" dirty="0">
                <a:solidFill>
                  <a:prstClr val="black"/>
                </a:solidFill>
                <a:latin typeface="+mn-lt"/>
                <a:ea typeface="Verdana" panose="020B0604030504040204" pitchFamily="34" charset="0"/>
                <a:cs typeface="Open Sans Light" panose="020B0306030504020204" pitchFamily="34" charset="0"/>
              </a:rPr>
              <a:t>Specifying the Incident Response Team (IRT) structure.</a:t>
            </a:r>
          </a:p>
          <a:p>
            <a:pPr marL="461963" lvl="1" indent="-230188" algn="just">
              <a:lnSpc>
                <a:spcPct val="120000"/>
              </a:lnSpc>
              <a:spcAft>
                <a:spcPts val="600"/>
              </a:spcAft>
              <a:buSzPct val="100000"/>
              <a:buFont typeface="Wingdings" panose="05000000000000000000" pitchFamily="2" charset="2"/>
              <a:buChar char="§"/>
              <a:defRPr/>
            </a:pPr>
            <a:r>
              <a:rPr lang="en-US" sz="1100" kern="1200" dirty="0">
                <a:solidFill>
                  <a:prstClr val="black"/>
                </a:solidFill>
                <a:latin typeface="+mn-lt"/>
                <a:ea typeface="Verdana" panose="020B0604030504040204" pitchFamily="34" charset="0"/>
                <a:cs typeface="Open Sans Light" panose="020B0306030504020204" pitchFamily="34" charset="0"/>
              </a:rPr>
              <a:t>Specifying the incident response procedures for detection, notification, assessing incident severity, escalation and deactivation.</a:t>
            </a:r>
          </a:p>
          <a:p>
            <a:pPr marL="461963" lvl="1" indent="-230188" algn="just">
              <a:lnSpc>
                <a:spcPct val="120000"/>
              </a:lnSpc>
              <a:spcAft>
                <a:spcPts val="600"/>
              </a:spcAft>
              <a:buSzPct val="100000"/>
              <a:buFont typeface="Wingdings" panose="05000000000000000000" pitchFamily="2" charset="2"/>
              <a:buChar char="§"/>
              <a:defRPr/>
            </a:pPr>
            <a:r>
              <a:rPr lang="en-US" sz="1100" kern="1200" dirty="0">
                <a:solidFill>
                  <a:prstClr val="black"/>
                </a:solidFill>
                <a:latin typeface="+mn-lt"/>
                <a:ea typeface="Verdana" panose="020B0604030504040204" pitchFamily="34" charset="0"/>
                <a:cs typeface="Open Sans Light" panose="020B0306030504020204" pitchFamily="34" charset="0"/>
              </a:rPr>
              <a:t>The document will:</a:t>
            </a:r>
          </a:p>
          <a:p>
            <a:pPr marL="461963" lvl="1" indent="-230188" algn="just">
              <a:lnSpc>
                <a:spcPct val="120000"/>
              </a:lnSpc>
              <a:spcAft>
                <a:spcPts val="600"/>
              </a:spcAft>
              <a:buSzPct val="100000"/>
              <a:buFont typeface="Wingdings" panose="05000000000000000000" pitchFamily="2" charset="2"/>
              <a:buChar char="§"/>
              <a:defRPr/>
            </a:pPr>
            <a:r>
              <a:rPr lang="en-US" sz="1100" kern="1200" dirty="0">
                <a:solidFill>
                  <a:prstClr val="black"/>
                </a:solidFill>
                <a:latin typeface="+mn-lt"/>
                <a:ea typeface="Verdana" panose="020B0604030504040204" pitchFamily="34" charset="0"/>
                <a:cs typeface="Open Sans Light" panose="020B0306030504020204" pitchFamily="34" charset="0"/>
              </a:rPr>
              <a:t>Contain procedures to mobilize and deploy internal and external resources.</a:t>
            </a:r>
          </a:p>
          <a:p>
            <a:pPr marL="461963" lvl="1" indent="-230188" algn="just">
              <a:lnSpc>
                <a:spcPct val="120000"/>
              </a:lnSpc>
              <a:spcAft>
                <a:spcPts val="600"/>
              </a:spcAft>
              <a:buSzPct val="100000"/>
              <a:buFont typeface="Wingdings" panose="05000000000000000000" pitchFamily="2" charset="2"/>
              <a:buChar char="§"/>
              <a:defRPr/>
            </a:pPr>
            <a:r>
              <a:rPr lang="en-US" sz="1100" kern="1200" dirty="0">
                <a:solidFill>
                  <a:prstClr val="black"/>
                </a:solidFill>
                <a:latin typeface="+mn-lt"/>
                <a:ea typeface="Verdana" panose="020B0604030504040204" pitchFamily="34" charset="0"/>
                <a:cs typeface="Open Sans Light" panose="020B0306030504020204" pitchFamily="34" charset="0"/>
              </a:rPr>
              <a:t>Provide guidance for the immediate response to incidents, prioritizing the safety and wellbeing of people.</a:t>
            </a:r>
          </a:p>
          <a:p>
            <a:pPr marL="461963" lvl="1" indent="-230188" algn="just">
              <a:lnSpc>
                <a:spcPct val="120000"/>
              </a:lnSpc>
              <a:spcAft>
                <a:spcPts val="600"/>
              </a:spcAft>
              <a:buSzPct val="100000"/>
              <a:buFont typeface="Wingdings" panose="05000000000000000000" pitchFamily="2" charset="2"/>
              <a:buChar char="§"/>
              <a:defRPr/>
            </a:pPr>
            <a:r>
              <a:rPr lang="en-US" sz="1100" kern="1200" dirty="0">
                <a:solidFill>
                  <a:prstClr val="black"/>
                </a:solidFill>
                <a:latin typeface="+mn-lt"/>
                <a:ea typeface="Verdana" panose="020B0604030504040204" pitchFamily="34" charset="0"/>
                <a:cs typeface="Open Sans Light" panose="020B0306030504020204" pitchFamily="34" charset="0"/>
              </a:rPr>
              <a:t>Oversee execution of response activities and provide guidance as appropriate.</a:t>
            </a:r>
          </a:p>
          <a:p>
            <a:pPr marL="461963" lvl="1" indent="-230188" algn="just">
              <a:lnSpc>
                <a:spcPct val="120000"/>
              </a:lnSpc>
              <a:spcAft>
                <a:spcPts val="600"/>
              </a:spcAft>
              <a:buSzPct val="100000"/>
              <a:buFont typeface="Wingdings" panose="05000000000000000000" pitchFamily="2" charset="2"/>
              <a:buChar char="§"/>
              <a:defRPr/>
            </a:pPr>
            <a:r>
              <a:rPr lang="en-US" sz="1100" kern="1200" dirty="0">
                <a:solidFill>
                  <a:prstClr val="black"/>
                </a:solidFill>
                <a:latin typeface="+mn-lt"/>
                <a:ea typeface="Verdana" panose="020B0604030504040204" pitchFamily="34" charset="0"/>
                <a:cs typeface="Open Sans Light" panose="020B0306030504020204" pitchFamily="34" charset="0"/>
              </a:rPr>
              <a:t>Document internal and external communication procedures and protocols.</a:t>
            </a:r>
          </a:p>
        </p:txBody>
      </p:sp>
      <p:sp>
        <p:nvSpPr>
          <p:cNvPr id="6" name="TextBox 5">
            <a:extLst>
              <a:ext uri="{FF2B5EF4-FFF2-40B4-BE49-F238E27FC236}">
                <a16:creationId xmlns:a16="http://schemas.microsoft.com/office/drawing/2014/main" id="{D9D278D7-ADAE-82D0-A1FB-A746FA41E3C5}"/>
              </a:ext>
            </a:extLst>
          </p:cNvPr>
          <p:cNvSpPr txBox="1"/>
          <p:nvPr/>
        </p:nvSpPr>
        <p:spPr>
          <a:xfrm rot="19785134">
            <a:off x="8341365" y="4329474"/>
            <a:ext cx="2041430" cy="261610"/>
          </a:xfrm>
          <a:prstGeom prst="rect">
            <a:avLst/>
          </a:prstGeom>
          <a:solidFill>
            <a:schemeClr val="tx1"/>
          </a:solidFill>
          <a:ln>
            <a:solidFill>
              <a:schemeClr val="accent2"/>
            </a:solid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or Illustration Purposes Only</a:t>
            </a:r>
          </a:p>
        </p:txBody>
      </p:sp>
      <p:sp>
        <p:nvSpPr>
          <p:cNvPr id="2" name="Title 1">
            <a:extLst>
              <a:ext uri="{FF2B5EF4-FFF2-40B4-BE49-F238E27FC236}">
                <a16:creationId xmlns:a16="http://schemas.microsoft.com/office/drawing/2014/main" id="{6B900698-6BD3-B2E1-227F-742002AC47D7}"/>
              </a:ext>
            </a:extLst>
          </p:cNvPr>
          <p:cNvSpPr txBox="1">
            <a:spLocks/>
          </p:cNvSpPr>
          <p:nvPr/>
        </p:nvSpPr>
        <p:spPr>
          <a:xfrm>
            <a:off x="411480" y="402587"/>
            <a:ext cx="11252200" cy="334102"/>
          </a:xfrm>
          <a:prstGeom prst="rect">
            <a:avLst/>
          </a:prstGeom>
        </p:spPr>
        <p:txBody>
          <a:bodyPr vert="horz" wrap="square" lIns="0" tIns="0" rIns="0" bIns="0" rtlCol="0" anchor="t" anchorCtr="0">
            <a:noAutofit/>
          </a:bodyPr>
          <a:lstStyle>
            <a:lvl1pPr>
              <a:defRPr sz="2400" b="0" i="0">
                <a:solidFill>
                  <a:srgbClr val="86BC25"/>
                </a:solidFill>
                <a:latin typeface="Calibri" panose="020F0502020204030204" pitchFamily="34" charset="0"/>
                <a:ea typeface="Verdana" panose="020B0604030504040204" pitchFamily="34" charset="0"/>
                <a:cs typeface="Calibri" panose="020F0502020204030204" pitchFamily="34" charset="0"/>
              </a:defRPr>
            </a:lvl1pPr>
          </a:lstStyle>
          <a:p>
            <a:pPr hangingPunct="1">
              <a:spcBef>
                <a:spcPct val="0"/>
              </a:spcBef>
              <a:defRPr/>
            </a:pPr>
            <a:r>
              <a:rPr lang="en-US" sz="2000" dirty="0">
                <a:solidFill>
                  <a:schemeClr val="tx2">
                    <a:lumMod val="50000"/>
                  </a:schemeClr>
                </a:solidFill>
                <a:latin typeface="+mn-lt"/>
                <a:ea typeface="Open Sans Semibold" panose="020B0706030804020204" pitchFamily="34" charset="0"/>
                <a:cs typeface="Open Sans Semibold" panose="020B0706030804020204" pitchFamily="34" charset="0"/>
              </a:rPr>
              <a:t>Approach and Methodology</a:t>
            </a:r>
          </a:p>
        </p:txBody>
      </p:sp>
      <p:sp>
        <p:nvSpPr>
          <p:cNvPr id="3" name="TextBox 2">
            <a:extLst>
              <a:ext uri="{FF2B5EF4-FFF2-40B4-BE49-F238E27FC236}">
                <a16:creationId xmlns:a16="http://schemas.microsoft.com/office/drawing/2014/main" id="{CA1E81FE-7EEB-B16B-1699-5642085FBE30}"/>
              </a:ext>
            </a:extLst>
          </p:cNvPr>
          <p:cNvSpPr txBox="1"/>
          <p:nvPr/>
        </p:nvSpPr>
        <p:spPr>
          <a:xfrm>
            <a:off x="3132509" y="1647820"/>
            <a:ext cx="1542233" cy="246221"/>
          </a:xfrm>
          <a:prstGeom prst="rect">
            <a:avLst/>
          </a:prstGeom>
          <a:solidFill>
            <a:schemeClr val="bg1"/>
          </a:solidFill>
          <a:ln>
            <a:solidFill>
              <a:schemeClr val="accent2"/>
            </a:solidFill>
          </a:ln>
        </p:spPr>
        <p:txBody>
          <a:bodyPr wrap="square" lIns="0" tIns="0" rIns="0" bIns="0" rtlCol="0">
            <a:spAutoFit/>
          </a:bodyPr>
          <a:lstStyle/>
          <a:p>
            <a:pPr algn="ctr">
              <a:spcBef>
                <a:spcPts val="600"/>
              </a:spcBef>
              <a:buSzPct val="100000"/>
            </a:pPr>
            <a:r>
              <a:rPr lang="en-US" sz="1600" b="1" dirty="0">
                <a:solidFill>
                  <a:schemeClr val="accent2"/>
                </a:solidFill>
                <a:latin typeface="+mn-lt"/>
              </a:rPr>
              <a:t>Key Activities</a:t>
            </a:r>
            <a:endParaRPr lang="en-AE" sz="1600" b="1" dirty="0">
              <a:solidFill>
                <a:schemeClr val="accent2"/>
              </a:solidFill>
              <a:latin typeface="+mn-lt"/>
            </a:endParaRPr>
          </a:p>
        </p:txBody>
      </p:sp>
      <p:sp>
        <p:nvSpPr>
          <p:cNvPr id="5" name="TextBox 4">
            <a:extLst>
              <a:ext uri="{FF2B5EF4-FFF2-40B4-BE49-F238E27FC236}">
                <a16:creationId xmlns:a16="http://schemas.microsoft.com/office/drawing/2014/main" id="{202448A3-9C54-1F8F-81E0-183A0D0352D6}"/>
              </a:ext>
            </a:extLst>
          </p:cNvPr>
          <p:cNvSpPr txBox="1"/>
          <p:nvPr/>
        </p:nvSpPr>
        <p:spPr>
          <a:xfrm rot="5400000">
            <a:off x="11456364" y="3983555"/>
            <a:ext cx="1051570" cy="246221"/>
          </a:xfrm>
          <a:prstGeom prst="rect">
            <a:avLst/>
          </a:prstGeom>
          <a:solidFill>
            <a:schemeClr val="bg1"/>
          </a:solidFill>
          <a:ln>
            <a:solidFill>
              <a:schemeClr val="accent2"/>
            </a:solidFill>
          </a:ln>
        </p:spPr>
        <p:txBody>
          <a:bodyPr wrap="none" lIns="0" tIns="0" rIns="0" bIns="0" rtlCol="0">
            <a:spAutoFit/>
          </a:bodyPr>
          <a:lstStyle/>
          <a:p>
            <a:pPr algn="ctr">
              <a:spcBef>
                <a:spcPts val="600"/>
              </a:spcBef>
              <a:buSzPct val="100000"/>
            </a:pPr>
            <a:r>
              <a:rPr lang="en-US" sz="1600" b="1" dirty="0">
                <a:solidFill>
                  <a:schemeClr val="accent2"/>
                </a:solidFill>
                <a:latin typeface="+mn-lt"/>
              </a:rPr>
              <a:t>Deliverables</a:t>
            </a:r>
            <a:endParaRPr lang="en-AE" sz="1600" b="1" dirty="0">
              <a:solidFill>
                <a:schemeClr val="accent2"/>
              </a:solidFill>
              <a:latin typeface="+mn-lt"/>
            </a:endParaRPr>
          </a:p>
        </p:txBody>
      </p:sp>
      <p:sp>
        <p:nvSpPr>
          <p:cNvPr id="10" name="Text Placeholder 20">
            <a:extLst>
              <a:ext uri="{FF2B5EF4-FFF2-40B4-BE49-F238E27FC236}">
                <a16:creationId xmlns:a16="http://schemas.microsoft.com/office/drawing/2014/main" id="{DD55C087-A6A4-8D79-DDAE-0A63AF1B3B18}"/>
              </a:ext>
            </a:extLst>
          </p:cNvPr>
          <p:cNvSpPr txBox="1">
            <a:spLocks/>
          </p:cNvSpPr>
          <p:nvPr/>
        </p:nvSpPr>
        <p:spPr>
          <a:xfrm>
            <a:off x="411480"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lvl="0" indent="0">
              <a:spcBef>
                <a:spcPts val="0"/>
              </a:spcBef>
              <a:spcAft>
                <a:spcPts val="1333"/>
              </a:spcAft>
              <a:buNone/>
              <a:defRPr/>
            </a:pPr>
            <a:r>
              <a:rPr lang="en-US" sz="1400" b="1" dirty="0">
                <a:solidFill>
                  <a:srgbClr val="575757"/>
                </a:solidFill>
                <a:latin typeface="+mn-lt"/>
                <a:ea typeface="Open Sans Light" panose="020B0306030504020204" pitchFamily="34" charset="0"/>
                <a:cs typeface="Open Sans Light" panose="020B0306030504020204" pitchFamily="34" charset="0"/>
              </a:rPr>
              <a:t>Phase 6:  Business Continuity Recovery Strategy and Plans (2/5)</a:t>
            </a:r>
          </a:p>
        </p:txBody>
      </p:sp>
    </p:spTree>
    <p:extLst>
      <p:ext uri="{BB962C8B-B14F-4D97-AF65-F5344CB8AC3E}">
        <p14:creationId xmlns:p14="http://schemas.microsoft.com/office/powerpoint/2010/main" val="3468693418"/>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95CA405-4107-35E3-E6DA-078DBC3AE13B}"/>
              </a:ext>
            </a:extLst>
          </p:cNvPr>
          <p:cNvSpPr/>
          <p:nvPr/>
        </p:nvSpPr>
        <p:spPr bwMode="gray">
          <a:xfrm>
            <a:off x="381970" y="1784252"/>
            <a:ext cx="11599333" cy="4834428"/>
          </a:xfrm>
          <a:prstGeom prst="rect">
            <a:avLst/>
          </a:prstGeom>
          <a:noFill/>
          <a:ln w="19050" algn="ctr">
            <a:solidFill>
              <a:schemeClr val="accent2"/>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sp>
        <p:nvSpPr>
          <p:cNvPr id="8" name="Flowchart: Process 7">
            <a:extLst>
              <a:ext uri="{FF2B5EF4-FFF2-40B4-BE49-F238E27FC236}">
                <a16:creationId xmlns:a16="http://schemas.microsoft.com/office/drawing/2014/main" id="{CBA2283B-8802-F93F-2F11-B7E7025C2892}"/>
              </a:ext>
            </a:extLst>
          </p:cNvPr>
          <p:cNvSpPr/>
          <p:nvPr/>
        </p:nvSpPr>
        <p:spPr bwMode="gray">
          <a:xfrm>
            <a:off x="7337040" y="2018974"/>
            <a:ext cx="4226294" cy="4447309"/>
          </a:xfrm>
          <a:prstGeom prst="flowChartProcess">
            <a:avLst/>
          </a:prstGeom>
          <a:noFill/>
          <a:ln w="3810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pic>
        <p:nvPicPr>
          <p:cNvPr id="17" name="Picture 16">
            <a:extLst>
              <a:ext uri="{FF2B5EF4-FFF2-40B4-BE49-F238E27FC236}">
                <a16:creationId xmlns:a16="http://schemas.microsoft.com/office/drawing/2014/main" id="{16F22E38-5F76-68E4-694E-AC834AE649AF}"/>
              </a:ext>
            </a:extLst>
          </p:cNvPr>
          <p:cNvPicPr>
            <a:picLocks noChangeAspect="1"/>
          </p:cNvPicPr>
          <p:nvPr/>
        </p:nvPicPr>
        <p:blipFill>
          <a:blip r:embed="rId2"/>
          <a:stretch>
            <a:fillRect/>
          </a:stretch>
        </p:blipFill>
        <p:spPr>
          <a:xfrm>
            <a:off x="9185616" y="1535515"/>
            <a:ext cx="733646" cy="733646"/>
          </a:xfrm>
          <a:prstGeom prst="rect">
            <a:avLst/>
          </a:prstGeom>
        </p:spPr>
      </p:pic>
      <p:sp>
        <p:nvSpPr>
          <p:cNvPr id="18" name="TextBox 17">
            <a:extLst>
              <a:ext uri="{FF2B5EF4-FFF2-40B4-BE49-F238E27FC236}">
                <a16:creationId xmlns:a16="http://schemas.microsoft.com/office/drawing/2014/main" id="{14C86E9B-D1A5-AFA2-682D-D010A63C7A75}"/>
              </a:ext>
            </a:extLst>
          </p:cNvPr>
          <p:cNvSpPr txBox="1"/>
          <p:nvPr/>
        </p:nvSpPr>
        <p:spPr>
          <a:xfrm>
            <a:off x="7778883" y="2503883"/>
            <a:ext cx="3547112" cy="48320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285750" lvl="0" indent="-285750" algn="just" eaLnBrk="1">
              <a:lnSpc>
                <a:spcPct val="120000"/>
              </a:lnSpc>
              <a:spcAft>
                <a:spcPts val="600"/>
              </a:spcAft>
              <a:buSzPct val="100000"/>
              <a:buFont typeface="Wingdings" panose="05000000000000000000" pitchFamily="2" charset="2"/>
              <a:buChar char="ü"/>
              <a:defRPr/>
            </a:pPr>
            <a:r>
              <a:rPr lang="en-US" sz="1100" kern="1200" dirty="0">
                <a:solidFill>
                  <a:prstClr val="black"/>
                </a:solidFill>
                <a:latin typeface="+mn-lt"/>
                <a:ea typeface="Verdana" panose="020B0604030504040204" pitchFamily="34" charset="0"/>
                <a:cs typeface="Open Sans Light" panose="020B0306030504020204" pitchFamily="34" charset="0"/>
              </a:rPr>
              <a:t>Crisis Management and Communication Plan, sample transcripts, related policy and procedures</a:t>
            </a:r>
            <a:endParaRPr lang="en-AE" sz="1100" kern="1200" dirty="0">
              <a:solidFill>
                <a:prstClr val="black"/>
              </a:solidFill>
              <a:latin typeface="+mn-lt"/>
              <a:ea typeface="Verdana" panose="020B0604030504040204" pitchFamily="34" charset="0"/>
              <a:cs typeface="Open Sans Light" panose="020B0306030504020204" pitchFamily="34" charset="0"/>
            </a:endParaRPr>
          </a:p>
        </p:txBody>
      </p:sp>
      <p:sp>
        <p:nvSpPr>
          <p:cNvPr id="21" name="TextBox 20">
            <a:extLst>
              <a:ext uri="{FF2B5EF4-FFF2-40B4-BE49-F238E27FC236}">
                <a16:creationId xmlns:a16="http://schemas.microsoft.com/office/drawing/2014/main" id="{C99EE3AD-0681-40D2-7FD6-3E5954772208}"/>
              </a:ext>
            </a:extLst>
          </p:cNvPr>
          <p:cNvSpPr txBox="1"/>
          <p:nvPr/>
        </p:nvSpPr>
        <p:spPr>
          <a:xfrm>
            <a:off x="394109" y="1048757"/>
            <a:ext cx="11530798" cy="661667"/>
          </a:xfrm>
          <a:prstGeom prst="rect">
            <a:avLst/>
          </a:prstGeom>
          <a:noFill/>
          <a:ln w="9525" algn="ctr">
            <a:noFill/>
            <a:miter lim="800000"/>
            <a:headEnd/>
            <a:tailEnd/>
          </a:ln>
        </p:spPr>
        <p:txBody>
          <a:bodyPr wrap="square" lIns="91440" tIns="0" rIns="91440" bIns="0" rtlCol="0" anchor="t" anchorCtr="0">
            <a:noAutofit/>
          </a:bodyPr>
          <a:lstStyle/>
          <a:p>
            <a:pPr algn="just">
              <a:lnSpc>
                <a:spcPct val="120000"/>
              </a:lnSpc>
              <a:spcAft>
                <a:spcPts val="600"/>
              </a:spcAft>
              <a:buSzPct val="100000"/>
              <a:defRPr/>
            </a:pPr>
            <a:r>
              <a:rPr lang="en-US" sz="1100" dirty="0">
                <a:solidFill>
                  <a:schemeClr val="tx2"/>
                </a:solidFill>
                <a:latin typeface="+mn-lt"/>
              </a:rPr>
              <a:t>Develop a Crisis Management &amp; Communication Plan to establish a structured and systematic process for responding to incidents of varying severity that may significantly or strategically impact Salam.</a:t>
            </a:r>
          </a:p>
        </p:txBody>
      </p:sp>
      <p:sp>
        <p:nvSpPr>
          <p:cNvPr id="22" name="TextBox 21">
            <a:extLst>
              <a:ext uri="{FF2B5EF4-FFF2-40B4-BE49-F238E27FC236}">
                <a16:creationId xmlns:a16="http://schemas.microsoft.com/office/drawing/2014/main" id="{E81AAF8B-CA6D-BA71-680D-9E0E2F0B4484}"/>
              </a:ext>
            </a:extLst>
          </p:cNvPr>
          <p:cNvSpPr txBox="1"/>
          <p:nvPr/>
        </p:nvSpPr>
        <p:spPr>
          <a:xfrm>
            <a:off x="639774" y="2140773"/>
            <a:ext cx="6290405" cy="268996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285750" indent="-285750">
              <a:lnSpc>
                <a:spcPct val="150000"/>
              </a:lnSpc>
              <a:buFont typeface="Wingdings" panose="05000000000000000000" pitchFamily="2" charset="2"/>
              <a:buChar char="ü"/>
              <a:defRPr sz="1800">
                <a:solidFill>
                  <a:schemeClr val="tx2"/>
                </a:solidFill>
                <a:latin typeface="+mn-lt"/>
              </a:defRPr>
            </a:lvl1pPr>
          </a:lstStyle>
          <a:p>
            <a:pPr marL="0" marR="0" lvl="0" indent="0" defTabSz="914400" fontAlgn="auto">
              <a:lnSpc>
                <a:spcPct val="100000"/>
              </a:lnSpc>
              <a:spcBef>
                <a:spcPts val="0"/>
              </a:spcBef>
              <a:spcAft>
                <a:spcPts val="600"/>
              </a:spcAft>
              <a:buClr>
                <a:srgbClr val="007680"/>
              </a:buClr>
              <a:buSzTx/>
              <a:buNone/>
              <a:tabLst/>
              <a:defRPr/>
            </a:pPr>
            <a:r>
              <a:rPr lang="en-US" sz="1100" kern="1200" dirty="0">
                <a:solidFill>
                  <a:prstClr val="black"/>
                </a:solidFill>
                <a:ea typeface="Verdana" panose="020B0604030504040204" pitchFamily="34" charset="0"/>
                <a:cs typeface="Open Sans Light" panose="020B0306030504020204" pitchFamily="34" charset="0"/>
              </a:rPr>
              <a:t>The Crisis Management &amp; Communication Plan will:</a:t>
            </a:r>
          </a:p>
          <a:p>
            <a:pPr marL="285750" lvl="1" indent="-285750" algn="just">
              <a:lnSpc>
                <a:spcPct val="120000"/>
              </a:lnSpc>
              <a:spcAft>
                <a:spcPts val="600"/>
              </a:spcAft>
              <a:buSzPct val="100000"/>
              <a:buFont typeface="Wingdings" panose="05000000000000000000" pitchFamily="2" charset="2"/>
              <a:buChar char="Ø"/>
              <a:defRPr/>
            </a:pPr>
            <a:r>
              <a:rPr lang="en-US" sz="1100" kern="1200" dirty="0">
                <a:solidFill>
                  <a:prstClr val="black"/>
                </a:solidFill>
                <a:latin typeface="+mn-lt"/>
                <a:ea typeface="Verdana" panose="020B0604030504040204" pitchFamily="34" charset="0"/>
                <a:cs typeface="Open Sans Light" panose="020B0306030504020204" pitchFamily="34" charset="0"/>
              </a:rPr>
              <a:t>Develop Crisis Management structures with roles and responsibilities.</a:t>
            </a:r>
          </a:p>
          <a:p>
            <a:pPr marL="285750" lvl="1" indent="-285750" algn="just">
              <a:lnSpc>
                <a:spcPct val="120000"/>
              </a:lnSpc>
              <a:spcAft>
                <a:spcPts val="600"/>
              </a:spcAft>
              <a:buSzPct val="100000"/>
              <a:buFont typeface="Wingdings" panose="05000000000000000000" pitchFamily="2" charset="2"/>
              <a:buChar char="Ø"/>
              <a:defRPr/>
            </a:pPr>
            <a:r>
              <a:rPr lang="en-US" sz="1100" kern="1200" dirty="0">
                <a:solidFill>
                  <a:prstClr val="black"/>
                </a:solidFill>
                <a:latin typeface="+mn-lt"/>
                <a:ea typeface="Verdana" panose="020B0604030504040204" pitchFamily="34" charset="0"/>
                <a:cs typeface="Open Sans Light" panose="020B0306030504020204" pitchFamily="34" charset="0"/>
              </a:rPr>
              <a:t>Specify response procedures including declaration of crisis, activation of crisis command center and relationship between departments on crisis management.</a:t>
            </a:r>
          </a:p>
          <a:p>
            <a:pPr marL="285750" lvl="1" indent="-285750" algn="just">
              <a:lnSpc>
                <a:spcPct val="120000"/>
              </a:lnSpc>
              <a:spcAft>
                <a:spcPts val="600"/>
              </a:spcAft>
              <a:buSzPct val="100000"/>
              <a:buFont typeface="Wingdings" panose="05000000000000000000" pitchFamily="2" charset="2"/>
              <a:buChar char="Ø"/>
              <a:defRPr/>
            </a:pPr>
            <a:r>
              <a:rPr lang="en-US" sz="1100" kern="1200" dirty="0">
                <a:solidFill>
                  <a:prstClr val="black"/>
                </a:solidFill>
                <a:latin typeface="+mn-lt"/>
                <a:ea typeface="Verdana" panose="020B0604030504040204" pitchFamily="34" charset="0"/>
                <a:cs typeface="Open Sans Light" panose="020B0306030504020204" pitchFamily="34" charset="0"/>
              </a:rPr>
              <a:t>Contain procedures to mobilize and deploy internal and external resources.</a:t>
            </a:r>
          </a:p>
          <a:p>
            <a:pPr marL="285750" lvl="1" indent="-285750" algn="just">
              <a:lnSpc>
                <a:spcPct val="120000"/>
              </a:lnSpc>
              <a:spcAft>
                <a:spcPts val="600"/>
              </a:spcAft>
              <a:buSzPct val="100000"/>
              <a:buFont typeface="Wingdings" panose="05000000000000000000" pitchFamily="2" charset="2"/>
              <a:buChar char="Ø"/>
              <a:defRPr/>
            </a:pPr>
            <a:r>
              <a:rPr lang="en-US" sz="1100" kern="1200" dirty="0">
                <a:solidFill>
                  <a:prstClr val="black"/>
                </a:solidFill>
                <a:latin typeface="+mn-lt"/>
                <a:ea typeface="Verdana" panose="020B0604030504040204" pitchFamily="34" charset="0"/>
                <a:cs typeface="Open Sans Light" panose="020B0306030504020204" pitchFamily="34" charset="0"/>
              </a:rPr>
              <a:t>Include guidelines for overseeing execution of response activities and providing guidance as appropriate.</a:t>
            </a:r>
          </a:p>
          <a:p>
            <a:pPr marL="285750" lvl="1" indent="-285750" algn="just">
              <a:lnSpc>
                <a:spcPct val="120000"/>
              </a:lnSpc>
              <a:spcAft>
                <a:spcPts val="600"/>
              </a:spcAft>
              <a:buSzPct val="100000"/>
              <a:buFont typeface="Wingdings" panose="05000000000000000000" pitchFamily="2" charset="2"/>
              <a:buChar char="Ø"/>
              <a:defRPr/>
            </a:pPr>
            <a:r>
              <a:rPr lang="en-US" sz="1100" kern="1200" dirty="0">
                <a:solidFill>
                  <a:prstClr val="black"/>
                </a:solidFill>
                <a:latin typeface="+mn-lt"/>
                <a:ea typeface="Verdana" panose="020B0604030504040204" pitchFamily="34" charset="0"/>
                <a:cs typeface="Open Sans Light" panose="020B0306030504020204" pitchFamily="34" charset="0"/>
              </a:rPr>
              <a:t>Outline the approval process for sending messages to external parties concerning the crisis.</a:t>
            </a:r>
          </a:p>
          <a:p>
            <a:pPr marL="285750" lvl="1" indent="-285750" algn="just">
              <a:lnSpc>
                <a:spcPct val="120000"/>
              </a:lnSpc>
              <a:spcAft>
                <a:spcPts val="600"/>
              </a:spcAft>
              <a:buSzPct val="100000"/>
              <a:buFont typeface="Wingdings" panose="05000000000000000000" pitchFamily="2" charset="2"/>
              <a:buChar char="Ø"/>
              <a:defRPr/>
            </a:pPr>
            <a:r>
              <a:rPr lang="en-US" sz="1100" kern="1200" dirty="0">
                <a:solidFill>
                  <a:prstClr val="black"/>
                </a:solidFill>
                <a:latin typeface="+mn-lt"/>
                <a:ea typeface="Verdana" panose="020B0604030504040204" pitchFamily="34" charset="0"/>
                <a:cs typeface="Open Sans Light" panose="020B0306030504020204" pitchFamily="34" charset="0"/>
              </a:rPr>
              <a:t>Document internal and external communication procedures and protocols.</a:t>
            </a:r>
          </a:p>
          <a:p>
            <a:pPr marL="285750" lvl="1" indent="-285750" algn="just">
              <a:lnSpc>
                <a:spcPct val="120000"/>
              </a:lnSpc>
              <a:spcAft>
                <a:spcPts val="600"/>
              </a:spcAft>
              <a:buSzPct val="100000"/>
              <a:buFont typeface="Wingdings" panose="05000000000000000000" pitchFamily="2" charset="2"/>
              <a:buChar char="Ø"/>
              <a:defRPr/>
            </a:pPr>
            <a:r>
              <a:rPr lang="en-US" sz="1100" kern="1200" dirty="0">
                <a:solidFill>
                  <a:prstClr val="black"/>
                </a:solidFill>
                <a:latin typeface="+mn-lt"/>
                <a:ea typeface="Verdana" panose="020B0604030504040204" pitchFamily="34" charset="0"/>
                <a:cs typeface="Open Sans Light" panose="020B0306030504020204" pitchFamily="34" charset="0"/>
              </a:rPr>
              <a:t>Identify appropriate channels for communication.</a:t>
            </a:r>
          </a:p>
          <a:p>
            <a:pPr marL="285750" lvl="1" indent="-285750" algn="just">
              <a:lnSpc>
                <a:spcPct val="120000"/>
              </a:lnSpc>
              <a:spcAft>
                <a:spcPts val="600"/>
              </a:spcAft>
              <a:buSzPct val="100000"/>
              <a:buFont typeface="Wingdings" panose="05000000000000000000" pitchFamily="2" charset="2"/>
              <a:buChar char="Ø"/>
              <a:defRPr/>
            </a:pPr>
            <a:r>
              <a:rPr lang="en-US" sz="1100" kern="1200" dirty="0">
                <a:solidFill>
                  <a:prstClr val="black"/>
                </a:solidFill>
                <a:latin typeface="+mn-lt"/>
                <a:ea typeface="Verdana" panose="020B0604030504040204" pitchFamily="34" charset="0"/>
                <a:cs typeface="Open Sans Light" panose="020B0306030504020204" pitchFamily="34" charset="0"/>
              </a:rPr>
              <a:t>Contain procedures for invoking and deactivating the BCPs, as necessary.</a:t>
            </a:r>
          </a:p>
        </p:txBody>
      </p:sp>
      <p:sp>
        <p:nvSpPr>
          <p:cNvPr id="6" name="TextBox 5">
            <a:extLst>
              <a:ext uri="{FF2B5EF4-FFF2-40B4-BE49-F238E27FC236}">
                <a16:creationId xmlns:a16="http://schemas.microsoft.com/office/drawing/2014/main" id="{D9D278D7-ADAE-82D0-A1FB-A746FA41E3C5}"/>
              </a:ext>
            </a:extLst>
          </p:cNvPr>
          <p:cNvSpPr txBox="1"/>
          <p:nvPr/>
        </p:nvSpPr>
        <p:spPr>
          <a:xfrm rot="19785134">
            <a:off x="8429471" y="4674795"/>
            <a:ext cx="2041430" cy="261610"/>
          </a:xfrm>
          <a:prstGeom prst="rect">
            <a:avLst/>
          </a:prstGeom>
          <a:solidFill>
            <a:schemeClr val="tx1"/>
          </a:solidFill>
          <a:ln>
            <a:solidFill>
              <a:schemeClr val="accent2"/>
            </a:solid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or Illustration Purposes Only</a:t>
            </a:r>
          </a:p>
        </p:txBody>
      </p:sp>
      <p:sp>
        <p:nvSpPr>
          <p:cNvPr id="2" name="Title 1">
            <a:extLst>
              <a:ext uri="{FF2B5EF4-FFF2-40B4-BE49-F238E27FC236}">
                <a16:creationId xmlns:a16="http://schemas.microsoft.com/office/drawing/2014/main" id="{02CB1298-E088-0260-1193-1C86FD4D2473}"/>
              </a:ext>
            </a:extLst>
          </p:cNvPr>
          <p:cNvSpPr txBox="1">
            <a:spLocks/>
          </p:cNvSpPr>
          <p:nvPr/>
        </p:nvSpPr>
        <p:spPr>
          <a:xfrm>
            <a:off x="411480" y="402587"/>
            <a:ext cx="11252200" cy="334102"/>
          </a:xfrm>
          <a:prstGeom prst="rect">
            <a:avLst/>
          </a:prstGeom>
        </p:spPr>
        <p:txBody>
          <a:bodyPr vert="horz" wrap="square" lIns="0" tIns="0" rIns="0" bIns="0" rtlCol="0" anchor="t" anchorCtr="0">
            <a:noAutofit/>
          </a:bodyPr>
          <a:lstStyle>
            <a:lvl1pPr>
              <a:defRPr sz="2400" b="0" i="0">
                <a:solidFill>
                  <a:srgbClr val="86BC25"/>
                </a:solidFill>
                <a:latin typeface="Calibri" panose="020F0502020204030204" pitchFamily="34" charset="0"/>
                <a:ea typeface="Verdana" panose="020B0604030504040204" pitchFamily="34" charset="0"/>
                <a:cs typeface="Calibri" panose="020F0502020204030204" pitchFamily="34" charset="0"/>
              </a:defRPr>
            </a:lvl1pPr>
          </a:lstStyle>
          <a:p>
            <a:pPr hangingPunct="1">
              <a:spcBef>
                <a:spcPct val="0"/>
              </a:spcBef>
              <a:defRPr/>
            </a:pPr>
            <a:r>
              <a:rPr lang="en-US" sz="2000" dirty="0">
                <a:solidFill>
                  <a:schemeClr val="tx2">
                    <a:lumMod val="50000"/>
                  </a:schemeClr>
                </a:solidFill>
                <a:latin typeface="+mn-lt"/>
                <a:ea typeface="Open Sans Semibold" panose="020B0706030804020204" pitchFamily="34" charset="0"/>
                <a:cs typeface="Open Sans Semibold" panose="020B0706030804020204" pitchFamily="34" charset="0"/>
              </a:rPr>
              <a:t>Approach and Methodology</a:t>
            </a:r>
          </a:p>
        </p:txBody>
      </p:sp>
      <p:sp>
        <p:nvSpPr>
          <p:cNvPr id="3" name="TextBox 2">
            <a:extLst>
              <a:ext uri="{FF2B5EF4-FFF2-40B4-BE49-F238E27FC236}">
                <a16:creationId xmlns:a16="http://schemas.microsoft.com/office/drawing/2014/main" id="{8BE2B6AB-F166-0B85-ABE7-2BB27DDB5B8D}"/>
              </a:ext>
            </a:extLst>
          </p:cNvPr>
          <p:cNvSpPr txBox="1"/>
          <p:nvPr/>
        </p:nvSpPr>
        <p:spPr>
          <a:xfrm>
            <a:off x="3132509" y="1647820"/>
            <a:ext cx="1542233" cy="246221"/>
          </a:xfrm>
          <a:prstGeom prst="rect">
            <a:avLst/>
          </a:prstGeom>
          <a:solidFill>
            <a:schemeClr val="bg1"/>
          </a:solidFill>
          <a:ln>
            <a:solidFill>
              <a:schemeClr val="accent2"/>
            </a:solidFill>
          </a:ln>
        </p:spPr>
        <p:txBody>
          <a:bodyPr wrap="square" lIns="0" tIns="0" rIns="0" bIns="0" rtlCol="0">
            <a:spAutoFit/>
          </a:bodyPr>
          <a:lstStyle/>
          <a:p>
            <a:pPr algn="ctr">
              <a:spcBef>
                <a:spcPts val="600"/>
              </a:spcBef>
              <a:buSzPct val="100000"/>
            </a:pPr>
            <a:r>
              <a:rPr lang="en-US" sz="1600" b="1" dirty="0">
                <a:solidFill>
                  <a:schemeClr val="accent2"/>
                </a:solidFill>
                <a:latin typeface="+mn-lt"/>
              </a:rPr>
              <a:t>Key Activities</a:t>
            </a:r>
            <a:endParaRPr lang="en-AE" sz="1600" b="1" dirty="0">
              <a:solidFill>
                <a:schemeClr val="accent2"/>
              </a:solidFill>
              <a:latin typeface="+mn-lt"/>
            </a:endParaRPr>
          </a:p>
        </p:txBody>
      </p:sp>
      <p:sp>
        <p:nvSpPr>
          <p:cNvPr id="5" name="TextBox 4">
            <a:extLst>
              <a:ext uri="{FF2B5EF4-FFF2-40B4-BE49-F238E27FC236}">
                <a16:creationId xmlns:a16="http://schemas.microsoft.com/office/drawing/2014/main" id="{5F2F4FBA-3DC8-9D17-0813-52D2CAEC0349}"/>
              </a:ext>
            </a:extLst>
          </p:cNvPr>
          <p:cNvSpPr txBox="1"/>
          <p:nvPr/>
        </p:nvSpPr>
        <p:spPr>
          <a:xfrm rot="5400000">
            <a:off x="11456364" y="3983555"/>
            <a:ext cx="1051570" cy="246221"/>
          </a:xfrm>
          <a:prstGeom prst="rect">
            <a:avLst/>
          </a:prstGeom>
          <a:solidFill>
            <a:schemeClr val="bg1"/>
          </a:solidFill>
          <a:ln>
            <a:solidFill>
              <a:schemeClr val="accent2"/>
            </a:solidFill>
          </a:ln>
        </p:spPr>
        <p:txBody>
          <a:bodyPr wrap="none" lIns="0" tIns="0" rIns="0" bIns="0" rtlCol="0">
            <a:spAutoFit/>
          </a:bodyPr>
          <a:lstStyle/>
          <a:p>
            <a:pPr algn="ctr">
              <a:spcBef>
                <a:spcPts val="600"/>
              </a:spcBef>
              <a:buSzPct val="100000"/>
            </a:pPr>
            <a:r>
              <a:rPr lang="en-US" sz="1600" b="1" dirty="0">
                <a:solidFill>
                  <a:schemeClr val="accent2"/>
                </a:solidFill>
                <a:latin typeface="+mn-lt"/>
              </a:rPr>
              <a:t>Deliverables</a:t>
            </a:r>
            <a:endParaRPr lang="en-AE" sz="1600" b="1" dirty="0">
              <a:solidFill>
                <a:schemeClr val="accent2"/>
              </a:solidFill>
              <a:latin typeface="+mn-lt"/>
            </a:endParaRPr>
          </a:p>
        </p:txBody>
      </p:sp>
      <p:sp>
        <p:nvSpPr>
          <p:cNvPr id="27" name="Text Placeholder 20">
            <a:extLst>
              <a:ext uri="{FF2B5EF4-FFF2-40B4-BE49-F238E27FC236}">
                <a16:creationId xmlns:a16="http://schemas.microsoft.com/office/drawing/2014/main" id="{036705BD-0872-ABC5-10FB-FB0B88E188F9}"/>
              </a:ext>
            </a:extLst>
          </p:cNvPr>
          <p:cNvSpPr txBox="1">
            <a:spLocks/>
          </p:cNvSpPr>
          <p:nvPr/>
        </p:nvSpPr>
        <p:spPr>
          <a:xfrm>
            <a:off x="411480"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lvl="0" indent="0">
              <a:spcBef>
                <a:spcPts val="0"/>
              </a:spcBef>
              <a:spcAft>
                <a:spcPts val="1333"/>
              </a:spcAft>
              <a:buNone/>
              <a:defRPr/>
            </a:pPr>
            <a:r>
              <a:rPr lang="en-US" sz="1400" b="1" dirty="0">
                <a:solidFill>
                  <a:srgbClr val="575757"/>
                </a:solidFill>
                <a:latin typeface="+mn-lt"/>
                <a:ea typeface="Open Sans Light" panose="020B0306030504020204" pitchFamily="34" charset="0"/>
                <a:cs typeface="Open Sans Light" panose="020B0306030504020204" pitchFamily="34" charset="0"/>
              </a:rPr>
              <a:t>Phase 6:  Business Continuity Recovery Strategy and Plans (3/5)</a:t>
            </a:r>
          </a:p>
        </p:txBody>
      </p:sp>
      <p:pic>
        <p:nvPicPr>
          <p:cNvPr id="28" name="Picture 27">
            <a:extLst>
              <a:ext uri="{FF2B5EF4-FFF2-40B4-BE49-F238E27FC236}">
                <a16:creationId xmlns:a16="http://schemas.microsoft.com/office/drawing/2014/main" id="{3248C5B3-25A5-2E51-EC0A-B7DD7E9AAB8C}"/>
              </a:ext>
            </a:extLst>
          </p:cNvPr>
          <p:cNvPicPr>
            <a:picLocks noChangeAspect="1"/>
          </p:cNvPicPr>
          <p:nvPr/>
        </p:nvPicPr>
        <p:blipFill>
          <a:blip r:embed="rId3">
            <a:grayscl/>
          </a:blip>
          <a:stretch>
            <a:fillRect/>
          </a:stretch>
        </p:blipFill>
        <p:spPr>
          <a:xfrm>
            <a:off x="7991971" y="3161034"/>
            <a:ext cx="2905937" cy="1514726"/>
          </a:xfrm>
          <a:prstGeom prst="rect">
            <a:avLst/>
          </a:prstGeom>
        </p:spPr>
      </p:pic>
      <p:pic>
        <p:nvPicPr>
          <p:cNvPr id="29" name="Picture 28">
            <a:extLst>
              <a:ext uri="{FF2B5EF4-FFF2-40B4-BE49-F238E27FC236}">
                <a16:creationId xmlns:a16="http://schemas.microsoft.com/office/drawing/2014/main" id="{2C1D7BB1-2E49-DD9E-80CF-33DA716472CF}"/>
              </a:ext>
            </a:extLst>
          </p:cNvPr>
          <p:cNvPicPr>
            <a:picLocks noChangeAspect="1"/>
          </p:cNvPicPr>
          <p:nvPr/>
        </p:nvPicPr>
        <p:blipFill>
          <a:blip r:embed="rId4">
            <a:grayscl/>
          </a:blip>
          <a:stretch>
            <a:fillRect/>
          </a:stretch>
        </p:blipFill>
        <p:spPr>
          <a:xfrm>
            <a:off x="7954159" y="4944396"/>
            <a:ext cx="2732071" cy="1228937"/>
          </a:xfrm>
          <a:prstGeom prst="rect">
            <a:avLst/>
          </a:prstGeom>
        </p:spPr>
      </p:pic>
    </p:spTree>
    <p:extLst>
      <p:ext uri="{BB962C8B-B14F-4D97-AF65-F5344CB8AC3E}">
        <p14:creationId xmlns:p14="http://schemas.microsoft.com/office/powerpoint/2010/main" val="1843332973"/>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95CA405-4107-35E3-E6DA-078DBC3AE13B}"/>
              </a:ext>
            </a:extLst>
          </p:cNvPr>
          <p:cNvSpPr/>
          <p:nvPr/>
        </p:nvSpPr>
        <p:spPr bwMode="gray">
          <a:xfrm>
            <a:off x="381970" y="1784252"/>
            <a:ext cx="11599333" cy="4834428"/>
          </a:xfrm>
          <a:prstGeom prst="rect">
            <a:avLst/>
          </a:prstGeom>
          <a:noFill/>
          <a:ln w="19050" algn="ctr">
            <a:solidFill>
              <a:schemeClr val="accent2"/>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sp>
        <p:nvSpPr>
          <p:cNvPr id="8" name="Flowchart: Process 7">
            <a:extLst>
              <a:ext uri="{FF2B5EF4-FFF2-40B4-BE49-F238E27FC236}">
                <a16:creationId xmlns:a16="http://schemas.microsoft.com/office/drawing/2014/main" id="{CBA2283B-8802-F93F-2F11-B7E7025C2892}"/>
              </a:ext>
            </a:extLst>
          </p:cNvPr>
          <p:cNvSpPr/>
          <p:nvPr/>
        </p:nvSpPr>
        <p:spPr bwMode="gray">
          <a:xfrm>
            <a:off x="7337040" y="2018974"/>
            <a:ext cx="4226294" cy="4447309"/>
          </a:xfrm>
          <a:prstGeom prst="flowChartProcess">
            <a:avLst/>
          </a:prstGeom>
          <a:noFill/>
          <a:ln w="3810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pic>
        <p:nvPicPr>
          <p:cNvPr id="17" name="Picture 16">
            <a:extLst>
              <a:ext uri="{FF2B5EF4-FFF2-40B4-BE49-F238E27FC236}">
                <a16:creationId xmlns:a16="http://schemas.microsoft.com/office/drawing/2014/main" id="{16F22E38-5F76-68E4-694E-AC834AE649AF}"/>
              </a:ext>
            </a:extLst>
          </p:cNvPr>
          <p:cNvPicPr>
            <a:picLocks noChangeAspect="1"/>
          </p:cNvPicPr>
          <p:nvPr/>
        </p:nvPicPr>
        <p:blipFill>
          <a:blip r:embed="rId2"/>
          <a:stretch>
            <a:fillRect/>
          </a:stretch>
        </p:blipFill>
        <p:spPr>
          <a:xfrm>
            <a:off x="9185616" y="1535515"/>
            <a:ext cx="733646" cy="733646"/>
          </a:xfrm>
          <a:prstGeom prst="rect">
            <a:avLst/>
          </a:prstGeom>
        </p:spPr>
      </p:pic>
      <p:sp>
        <p:nvSpPr>
          <p:cNvPr id="18" name="TextBox 17">
            <a:extLst>
              <a:ext uri="{FF2B5EF4-FFF2-40B4-BE49-F238E27FC236}">
                <a16:creationId xmlns:a16="http://schemas.microsoft.com/office/drawing/2014/main" id="{14C86E9B-D1A5-AFA2-682D-D010A63C7A75}"/>
              </a:ext>
            </a:extLst>
          </p:cNvPr>
          <p:cNvSpPr txBox="1"/>
          <p:nvPr/>
        </p:nvSpPr>
        <p:spPr>
          <a:xfrm>
            <a:off x="7778883" y="2503883"/>
            <a:ext cx="3547112" cy="48320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285750" lvl="0" indent="-285750" algn="just" eaLnBrk="1">
              <a:lnSpc>
                <a:spcPct val="120000"/>
              </a:lnSpc>
              <a:spcAft>
                <a:spcPts val="600"/>
              </a:spcAft>
              <a:buSzPct val="100000"/>
              <a:buFont typeface="Wingdings" panose="05000000000000000000" pitchFamily="2" charset="2"/>
              <a:buChar char="ü"/>
              <a:defRPr/>
            </a:pPr>
            <a:r>
              <a:rPr lang="en-US" sz="1100" kern="1200" dirty="0">
                <a:solidFill>
                  <a:prstClr val="black"/>
                </a:solidFill>
                <a:latin typeface="+mn-lt"/>
                <a:ea typeface="Verdana" panose="020B0604030504040204" pitchFamily="34" charset="0"/>
                <a:cs typeface="Open Sans Light" panose="020B0306030504020204" pitchFamily="34" charset="0"/>
              </a:rPr>
              <a:t>Business Continuity Recovery Plans (BCPs) for time-critical departments (max. 12)</a:t>
            </a:r>
            <a:endParaRPr lang="en-AE" sz="1100" kern="1200" dirty="0">
              <a:solidFill>
                <a:prstClr val="black"/>
              </a:solidFill>
              <a:latin typeface="+mn-lt"/>
              <a:ea typeface="Verdana" panose="020B0604030504040204" pitchFamily="34" charset="0"/>
              <a:cs typeface="Open Sans Light" panose="020B0306030504020204" pitchFamily="34" charset="0"/>
            </a:endParaRPr>
          </a:p>
        </p:txBody>
      </p:sp>
      <p:sp>
        <p:nvSpPr>
          <p:cNvPr id="21" name="TextBox 20">
            <a:extLst>
              <a:ext uri="{FF2B5EF4-FFF2-40B4-BE49-F238E27FC236}">
                <a16:creationId xmlns:a16="http://schemas.microsoft.com/office/drawing/2014/main" id="{C99EE3AD-0681-40D2-7FD6-3E5954772208}"/>
              </a:ext>
            </a:extLst>
          </p:cNvPr>
          <p:cNvSpPr txBox="1"/>
          <p:nvPr/>
        </p:nvSpPr>
        <p:spPr>
          <a:xfrm>
            <a:off x="394109" y="1048757"/>
            <a:ext cx="11530798" cy="661667"/>
          </a:xfrm>
          <a:prstGeom prst="rect">
            <a:avLst/>
          </a:prstGeom>
          <a:noFill/>
          <a:ln w="9525" algn="ctr">
            <a:noFill/>
            <a:miter lim="800000"/>
            <a:headEnd/>
            <a:tailEnd/>
          </a:ln>
        </p:spPr>
        <p:txBody>
          <a:bodyPr wrap="square" lIns="91440" tIns="0" rIns="91440" bIns="0" rtlCol="0" anchor="t" anchorCtr="0">
            <a:noAutofit/>
          </a:bodyPr>
          <a:lstStyle/>
          <a:p>
            <a:pPr algn="just">
              <a:lnSpc>
                <a:spcPct val="120000"/>
              </a:lnSpc>
              <a:spcAft>
                <a:spcPts val="600"/>
              </a:spcAft>
              <a:buSzPct val="100000"/>
              <a:defRPr/>
            </a:pPr>
            <a:r>
              <a:rPr lang="en-US" sz="1100" dirty="0">
                <a:solidFill>
                  <a:schemeClr val="tx2"/>
                </a:solidFill>
                <a:latin typeface="+mn-lt"/>
              </a:rPr>
              <a:t>Develop departmental Business Continuity Plans (BCP) for time-critical departments providing priority services and processes.</a:t>
            </a:r>
          </a:p>
        </p:txBody>
      </p:sp>
      <p:sp>
        <p:nvSpPr>
          <p:cNvPr id="22" name="TextBox 21">
            <a:extLst>
              <a:ext uri="{FF2B5EF4-FFF2-40B4-BE49-F238E27FC236}">
                <a16:creationId xmlns:a16="http://schemas.microsoft.com/office/drawing/2014/main" id="{E81AAF8B-CA6D-BA71-680D-9E0E2F0B4484}"/>
              </a:ext>
            </a:extLst>
          </p:cNvPr>
          <p:cNvSpPr txBox="1"/>
          <p:nvPr/>
        </p:nvSpPr>
        <p:spPr>
          <a:xfrm>
            <a:off x="628665" y="2228374"/>
            <a:ext cx="6290405" cy="41472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285750" indent="-285750">
              <a:lnSpc>
                <a:spcPct val="150000"/>
              </a:lnSpc>
              <a:buFont typeface="Wingdings" panose="05000000000000000000" pitchFamily="2" charset="2"/>
              <a:buChar char="ü"/>
              <a:defRPr sz="1800">
                <a:solidFill>
                  <a:schemeClr val="tx2"/>
                </a:solidFill>
                <a:latin typeface="+mn-lt"/>
              </a:defRPr>
            </a:lvl1pPr>
          </a:lstStyle>
          <a:p>
            <a:pPr marL="0" marR="0" lvl="0" indent="0" defTabSz="914400" rtl="0" eaLnBrk="1" fontAlgn="auto" latinLnBrk="0" hangingPunct="1">
              <a:lnSpc>
                <a:spcPct val="100000"/>
              </a:lnSpc>
              <a:spcBef>
                <a:spcPts val="0"/>
              </a:spcBef>
              <a:spcAft>
                <a:spcPts val="600"/>
              </a:spcAft>
              <a:buClr>
                <a:srgbClr val="86BC25"/>
              </a:buClr>
              <a:buSzTx/>
              <a:buFontTx/>
              <a:buNone/>
              <a:tabLst/>
              <a:defRPr/>
            </a:pPr>
            <a:r>
              <a:rPr lang="en-US" sz="1100" kern="1200" dirty="0">
                <a:solidFill>
                  <a:prstClr val="black"/>
                </a:solidFill>
                <a:ea typeface="Verdana" panose="020B0604030504040204" pitchFamily="34" charset="0"/>
                <a:cs typeface="Open Sans Light" panose="020B0306030504020204" pitchFamily="34" charset="0"/>
              </a:rPr>
              <a:t>As part of this step, we will Develop Business Continuity Plans (BCPs) for Salam’s time-critical departments providing priority business processes. The BCPs will:</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Provide detailed guidance on required actions during and following a disruption</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Specify the resources, and personnel required to respond to a disruptive event</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Outline the sequence of recovery services and processes</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Involve relevant Salam leadership and key personnel in recovery of operations.</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Provide a comprehensive step by step procedure to the stabilization and return to normal phase</a:t>
            </a:r>
          </a:p>
          <a:p>
            <a:pPr marL="171450" indent="-171450" defTabSz="914400">
              <a:spcAft>
                <a:spcPts val="600"/>
              </a:spcAft>
              <a:buClr>
                <a:srgbClr val="007680"/>
              </a:buClr>
              <a:buFont typeface="Arial" panose="020B0604020202020204" pitchFamily="34" charset="0"/>
              <a:buChar char="•"/>
              <a:defRPr/>
            </a:pPr>
            <a:r>
              <a:rPr lang="en-US" sz="1100" dirty="0">
                <a:solidFill>
                  <a:prstClr val="black"/>
                </a:solidFill>
                <a:ea typeface="Verdana" panose="020B0604030504040204" pitchFamily="34" charset="0"/>
              </a:rPr>
              <a:t>Align the BCPs with the capabilities of the disaster recovery site by developing clear tasks with clear beginnings and end points to report to operations executives for managing recovery-effort progress, including:</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Identifying tasks to be undertaken, </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Teams to complete them, </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Team assignments and </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Identifying the key contacts, suppliers and resources necessary to support the recovery. </a:t>
            </a:r>
          </a:p>
          <a:p>
            <a:pPr algn="just">
              <a:lnSpc>
                <a:spcPct val="120000"/>
              </a:lnSpc>
              <a:spcAft>
                <a:spcPts val="600"/>
              </a:spcAft>
              <a:buSzPct val="100000"/>
              <a:buFont typeface="Wingdings" panose="05000000000000000000" pitchFamily="2" charset="2"/>
              <a:buChar char="Ø"/>
              <a:defRPr/>
            </a:pPr>
            <a:endParaRPr lang="en-US" sz="1600" dirty="0"/>
          </a:p>
        </p:txBody>
      </p:sp>
      <p:grpSp>
        <p:nvGrpSpPr>
          <p:cNvPr id="2" name="Group 1">
            <a:extLst>
              <a:ext uri="{FF2B5EF4-FFF2-40B4-BE49-F238E27FC236}">
                <a16:creationId xmlns:a16="http://schemas.microsoft.com/office/drawing/2014/main" id="{23E4DC39-FEA8-5B6A-D390-7E1ED712FC5E}"/>
              </a:ext>
            </a:extLst>
          </p:cNvPr>
          <p:cNvGrpSpPr/>
          <p:nvPr/>
        </p:nvGrpSpPr>
        <p:grpSpPr>
          <a:xfrm>
            <a:off x="8225116" y="3651675"/>
            <a:ext cx="2450141" cy="2608115"/>
            <a:chOff x="7302990" y="1724987"/>
            <a:chExt cx="3714000" cy="4781240"/>
          </a:xfrm>
        </p:grpSpPr>
        <p:pic>
          <p:nvPicPr>
            <p:cNvPr id="3" name="Picture 2">
              <a:extLst>
                <a:ext uri="{FF2B5EF4-FFF2-40B4-BE49-F238E27FC236}">
                  <a16:creationId xmlns:a16="http://schemas.microsoft.com/office/drawing/2014/main" id="{8A85DA3D-F2D0-4489-8949-33AB0E635194}"/>
                </a:ext>
              </a:extLst>
            </p:cNvPr>
            <p:cNvPicPr>
              <a:picLocks noChangeAspect="1"/>
            </p:cNvPicPr>
            <p:nvPr/>
          </p:nvPicPr>
          <p:blipFill>
            <a:blip r:embed="rId3"/>
            <a:stretch>
              <a:fillRect/>
            </a:stretch>
          </p:blipFill>
          <p:spPr>
            <a:xfrm>
              <a:off x="7302990" y="4283874"/>
              <a:ext cx="3714000" cy="2222353"/>
            </a:xfrm>
            <a:prstGeom prst="rect">
              <a:avLst/>
            </a:prstGeom>
            <a:ln>
              <a:solidFill>
                <a:schemeClr val="bg2"/>
              </a:solidFill>
            </a:ln>
            <a:effectLst/>
          </p:spPr>
        </p:pic>
        <p:pic>
          <p:nvPicPr>
            <p:cNvPr id="7" name="Picture 6">
              <a:extLst>
                <a:ext uri="{FF2B5EF4-FFF2-40B4-BE49-F238E27FC236}">
                  <a16:creationId xmlns:a16="http://schemas.microsoft.com/office/drawing/2014/main" id="{CD5D246C-1F4F-8A7B-14F3-1D0ABDF96EC2}"/>
                </a:ext>
              </a:extLst>
            </p:cNvPr>
            <p:cNvPicPr>
              <a:picLocks noChangeAspect="1"/>
            </p:cNvPicPr>
            <p:nvPr/>
          </p:nvPicPr>
          <p:blipFill>
            <a:blip r:embed="rId4"/>
            <a:stretch>
              <a:fillRect/>
            </a:stretch>
          </p:blipFill>
          <p:spPr>
            <a:xfrm>
              <a:off x="7302990" y="1724987"/>
              <a:ext cx="3713999" cy="2449787"/>
            </a:xfrm>
            <a:prstGeom prst="rect">
              <a:avLst/>
            </a:prstGeom>
            <a:ln>
              <a:solidFill>
                <a:schemeClr val="bg2"/>
              </a:solidFill>
            </a:ln>
            <a:effectLst>
              <a:outerShdw blurRad="50800" dist="38100" dir="2700000" algn="tl" rotWithShape="0">
                <a:prstClr val="black">
                  <a:alpha val="40000"/>
                </a:prstClr>
              </a:outerShdw>
            </a:effectLst>
          </p:spPr>
        </p:pic>
      </p:grpSp>
      <p:sp>
        <p:nvSpPr>
          <p:cNvPr id="6" name="TextBox 5">
            <a:extLst>
              <a:ext uri="{FF2B5EF4-FFF2-40B4-BE49-F238E27FC236}">
                <a16:creationId xmlns:a16="http://schemas.microsoft.com/office/drawing/2014/main" id="{D9D278D7-ADAE-82D0-A1FB-A746FA41E3C5}"/>
              </a:ext>
            </a:extLst>
          </p:cNvPr>
          <p:cNvSpPr txBox="1"/>
          <p:nvPr/>
        </p:nvSpPr>
        <p:spPr>
          <a:xfrm rot="19785134">
            <a:off x="8349643" y="4916714"/>
            <a:ext cx="2041430" cy="261610"/>
          </a:xfrm>
          <a:prstGeom prst="rect">
            <a:avLst/>
          </a:prstGeom>
          <a:solidFill>
            <a:schemeClr val="tx1"/>
          </a:solidFill>
          <a:ln>
            <a:solidFill>
              <a:schemeClr val="accent2"/>
            </a:solid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or Illustration Purposes Only</a:t>
            </a:r>
          </a:p>
        </p:txBody>
      </p:sp>
      <p:sp>
        <p:nvSpPr>
          <p:cNvPr id="5" name="Title 1">
            <a:extLst>
              <a:ext uri="{FF2B5EF4-FFF2-40B4-BE49-F238E27FC236}">
                <a16:creationId xmlns:a16="http://schemas.microsoft.com/office/drawing/2014/main" id="{D507830B-FED1-860D-0234-FCB0316F225D}"/>
              </a:ext>
            </a:extLst>
          </p:cNvPr>
          <p:cNvSpPr txBox="1">
            <a:spLocks/>
          </p:cNvSpPr>
          <p:nvPr/>
        </p:nvSpPr>
        <p:spPr>
          <a:xfrm>
            <a:off x="411480" y="402587"/>
            <a:ext cx="11252200" cy="334102"/>
          </a:xfrm>
          <a:prstGeom prst="rect">
            <a:avLst/>
          </a:prstGeom>
        </p:spPr>
        <p:txBody>
          <a:bodyPr vert="horz" wrap="square" lIns="0" tIns="0" rIns="0" bIns="0" rtlCol="0" anchor="t" anchorCtr="0">
            <a:noAutofit/>
          </a:bodyPr>
          <a:lstStyle>
            <a:lvl1pPr>
              <a:defRPr sz="2400" b="0" i="0">
                <a:solidFill>
                  <a:srgbClr val="86BC25"/>
                </a:solidFill>
                <a:latin typeface="Calibri" panose="020F0502020204030204" pitchFamily="34" charset="0"/>
                <a:ea typeface="Verdana" panose="020B0604030504040204" pitchFamily="34" charset="0"/>
                <a:cs typeface="Calibri" panose="020F0502020204030204" pitchFamily="34" charset="0"/>
              </a:defRPr>
            </a:lvl1pPr>
          </a:lstStyle>
          <a:p>
            <a:pPr hangingPunct="1">
              <a:spcBef>
                <a:spcPct val="0"/>
              </a:spcBef>
              <a:defRPr/>
            </a:pPr>
            <a:r>
              <a:rPr lang="en-US" sz="2000" dirty="0">
                <a:solidFill>
                  <a:schemeClr val="tx2">
                    <a:lumMod val="50000"/>
                  </a:schemeClr>
                </a:solidFill>
                <a:latin typeface="+mn-lt"/>
                <a:ea typeface="Open Sans Semibold" panose="020B0706030804020204" pitchFamily="34" charset="0"/>
                <a:cs typeface="Open Sans Semibold" panose="020B0706030804020204" pitchFamily="34" charset="0"/>
              </a:rPr>
              <a:t>Approach and Methodology</a:t>
            </a:r>
          </a:p>
        </p:txBody>
      </p:sp>
      <p:sp>
        <p:nvSpPr>
          <p:cNvPr id="10" name="TextBox 9">
            <a:extLst>
              <a:ext uri="{FF2B5EF4-FFF2-40B4-BE49-F238E27FC236}">
                <a16:creationId xmlns:a16="http://schemas.microsoft.com/office/drawing/2014/main" id="{377EAC00-B269-F173-53ED-87467DB4C1DE}"/>
              </a:ext>
            </a:extLst>
          </p:cNvPr>
          <p:cNvSpPr txBox="1"/>
          <p:nvPr/>
        </p:nvSpPr>
        <p:spPr>
          <a:xfrm>
            <a:off x="3132509" y="1647820"/>
            <a:ext cx="1542233" cy="246221"/>
          </a:xfrm>
          <a:prstGeom prst="rect">
            <a:avLst/>
          </a:prstGeom>
          <a:solidFill>
            <a:schemeClr val="bg1"/>
          </a:solidFill>
          <a:ln>
            <a:solidFill>
              <a:schemeClr val="accent2"/>
            </a:solidFill>
          </a:ln>
        </p:spPr>
        <p:txBody>
          <a:bodyPr wrap="square" lIns="0" tIns="0" rIns="0" bIns="0" rtlCol="0">
            <a:spAutoFit/>
          </a:bodyPr>
          <a:lstStyle/>
          <a:p>
            <a:pPr algn="ctr">
              <a:spcBef>
                <a:spcPts val="600"/>
              </a:spcBef>
              <a:buSzPct val="100000"/>
            </a:pPr>
            <a:r>
              <a:rPr lang="en-US" sz="1600" b="1" dirty="0">
                <a:solidFill>
                  <a:schemeClr val="accent2"/>
                </a:solidFill>
                <a:latin typeface="+mn-lt"/>
              </a:rPr>
              <a:t>Key Activities</a:t>
            </a:r>
            <a:endParaRPr lang="en-AE" sz="1600" b="1" dirty="0">
              <a:solidFill>
                <a:schemeClr val="accent2"/>
              </a:solidFill>
              <a:latin typeface="+mn-lt"/>
            </a:endParaRPr>
          </a:p>
        </p:txBody>
      </p:sp>
      <p:sp>
        <p:nvSpPr>
          <p:cNvPr id="11" name="TextBox 10">
            <a:extLst>
              <a:ext uri="{FF2B5EF4-FFF2-40B4-BE49-F238E27FC236}">
                <a16:creationId xmlns:a16="http://schemas.microsoft.com/office/drawing/2014/main" id="{D9B933B1-B8AF-7A61-1DD8-6DDDCEC9B123}"/>
              </a:ext>
            </a:extLst>
          </p:cNvPr>
          <p:cNvSpPr txBox="1"/>
          <p:nvPr/>
        </p:nvSpPr>
        <p:spPr>
          <a:xfrm rot="5400000">
            <a:off x="11456364" y="3983555"/>
            <a:ext cx="1051570" cy="246221"/>
          </a:xfrm>
          <a:prstGeom prst="rect">
            <a:avLst/>
          </a:prstGeom>
          <a:solidFill>
            <a:schemeClr val="bg1"/>
          </a:solidFill>
          <a:ln>
            <a:solidFill>
              <a:schemeClr val="accent2"/>
            </a:solidFill>
          </a:ln>
        </p:spPr>
        <p:txBody>
          <a:bodyPr wrap="none" lIns="0" tIns="0" rIns="0" bIns="0" rtlCol="0">
            <a:spAutoFit/>
          </a:bodyPr>
          <a:lstStyle/>
          <a:p>
            <a:pPr algn="ctr">
              <a:spcBef>
                <a:spcPts val="600"/>
              </a:spcBef>
              <a:buSzPct val="100000"/>
            </a:pPr>
            <a:r>
              <a:rPr lang="en-US" sz="1600" b="1" dirty="0">
                <a:solidFill>
                  <a:schemeClr val="accent2"/>
                </a:solidFill>
                <a:latin typeface="+mn-lt"/>
              </a:rPr>
              <a:t>Deliverables</a:t>
            </a:r>
            <a:endParaRPr lang="en-AE" sz="1600" b="1" dirty="0">
              <a:solidFill>
                <a:schemeClr val="accent2"/>
              </a:solidFill>
              <a:latin typeface="+mn-lt"/>
            </a:endParaRPr>
          </a:p>
        </p:txBody>
      </p:sp>
      <p:sp>
        <p:nvSpPr>
          <p:cNvPr id="13" name="Text Placeholder 20">
            <a:extLst>
              <a:ext uri="{FF2B5EF4-FFF2-40B4-BE49-F238E27FC236}">
                <a16:creationId xmlns:a16="http://schemas.microsoft.com/office/drawing/2014/main" id="{5948C19C-76CF-8CD7-6A35-E8EAD2B9BC2D}"/>
              </a:ext>
            </a:extLst>
          </p:cNvPr>
          <p:cNvSpPr txBox="1">
            <a:spLocks/>
          </p:cNvSpPr>
          <p:nvPr/>
        </p:nvSpPr>
        <p:spPr>
          <a:xfrm>
            <a:off x="411480"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lvl="0" indent="0">
              <a:spcBef>
                <a:spcPts val="0"/>
              </a:spcBef>
              <a:spcAft>
                <a:spcPts val="1333"/>
              </a:spcAft>
              <a:buNone/>
              <a:defRPr/>
            </a:pPr>
            <a:r>
              <a:rPr lang="en-US" sz="1400" b="1" dirty="0">
                <a:solidFill>
                  <a:srgbClr val="575757"/>
                </a:solidFill>
                <a:latin typeface="+mn-lt"/>
                <a:ea typeface="Open Sans Light" panose="020B0306030504020204" pitchFamily="34" charset="0"/>
                <a:cs typeface="Open Sans Light" panose="020B0306030504020204" pitchFamily="34" charset="0"/>
              </a:rPr>
              <a:t>Phase 6:  Business Continuity Recovery Strategy and Plans (4/5)</a:t>
            </a:r>
          </a:p>
        </p:txBody>
      </p:sp>
    </p:spTree>
    <p:extLst>
      <p:ext uri="{BB962C8B-B14F-4D97-AF65-F5344CB8AC3E}">
        <p14:creationId xmlns:p14="http://schemas.microsoft.com/office/powerpoint/2010/main" val="1441388680"/>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DD3E1C2-B435-34AC-3314-6191A8505683}"/>
              </a:ext>
            </a:extLst>
          </p:cNvPr>
          <p:cNvPicPr>
            <a:picLocks noChangeAspect="1"/>
          </p:cNvPicPr>
          <p:nvPr/>
        </p:nvPicPr>
        <p:blipFill>
          <a:blip r:embed="rId2"/>
          <a:stretch>
            <a:fillRect/>
          </a:stretch>
        </p:blipFill>
        <p:spPr>
          <a:xfrm>
            <a:off x="7628861" y="3554941"/>
            <a:ext cx="1335169" cy="1632978"/>
          </a:xfrm>
          <a:prstGeom prst="rect">
            <a:avLst/>
          </a:prstGeom>
          <a:ln>
            <a:solidFill>
              <a:schemeClr val="bg1">
                <a:lumMod val="50000"/>
              </a:schemeClr>
            </a:solidFill>
          </a:ln>
        </p:spPr>
      </p:pic>
      <p:sp>
        <p:nvSpPr>
          <p:cNvPr id="4" name="Rectangle 3">
            <a:extLst>
              <a:ext uri="{FF2B5EF4-FFF2-40B4-BE49-F238E27FC236}">
                <a16:creationId xmlns:a16="http://schemas.microsoft.com/office/drawing/2014/main" id="{695CA405-4107-35E3-E6DA-078DBC3AE13B}"/>
              </a:ext>
            </a:extLst>
          </p:cNvPr>
          <p:cNvSpPr/>
          <p:nvPr/>
        </p:nvSpPr>
        <p:spPr bwMode="gray">
          <a:xfrm>
            <a:off x="381970" y="1784252"/>
            <a:ext cx="11599333" cy="4834428"/>
          </a:xfrm>
          <a:prstGeom prst="rect">
            <a:avLst/>
          </a:prstGeom>
          <a:noFill/>
          <a:ln w="19050" algn="ctr">
            <a:solidFill>
              <a:schemeClr val="accent2"/>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sp>
        <p:nvSpPr>
          <p:cNvPr id="8" name="Flowchart: Process 7">
            <a:extLst>
              <a:ext uri="{FF2B5EF4-FFF2-40B4-BE49-F238E27FC236}">
                <a16:creationId xmlns:a16="http://schemas.microsoft.com/office/drawing/2014/main" id="{CBA2283B-8802-F93F-2F11-B7E7025C2892}"/>
              </a:ext>
            </a:extLst>
          </p:cNvPr>
          <p:cNvSpPr/>
          <p:nvPr/>
        </p:nvSpPr>
        <p:spPr bwMode="gray">
          <a:xfrm>
            <a:off x="7337040" y="2018974"/>
            <a:ext cx="4226294" cy="4447309"/>
          </a:xfrm>
          <a:prstGeom prst="flowChartProcess">
            <a:avLst/>
          </a:prstGeom>
          <a:noFill/>
          <a:ln w="3810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pic>
        <p:nvPicPr>
          <p:cNvPr id="17" name="Picture 16">
            <a:extLst>
              <a:ext uri="{FF2B5EF4-FFF2-40B4-BE49-F238E27FC236}">
                <a16:creationId xmlns:a16="http://schemas.microsoft.com/office/drawing/2014/main" id="{16F22E38-5F76-68E4-694E-AC834AE649AF}"/>
              </a:ext>
            </a:extLst>
          </p:cNvPr>
          <p:cNvPicPr>
            <a:picLocks noChangeAspect="1"/>
          </p:cNvPicPr>
          <p:nvPr/>
        </p:nvPicPr>
        <p:blipFill>
          <a:blip r:embed="rId3"/>
          <a:stretch>
            <a:fillRect/>
          </a:stretch>
        </p:blipFill>
        <p:spPr>
          <a:xfrm>
            <a:off x="9185616" y="1535515"/>
            <a:ext cx="733646" cy="733646"/>
          </a:xfrm>
          <a:prstGeom prst="rect">
            <a:avLst/>
          </a:prstGeom>
        </p:spPr>
      </p:pic>
      <p:sp>
        <p:nvSpPr>
          <p:cNvPr id="18" name="TextBox 17">
            <a:extLst>
              <a:ext uri="{FF2B5EF4-FFF2-40B4-BE49-F238E27FC236}">
                <a16:creationId xmlns:a16="http://schemas.microsoft.com/office/drawing/2014/main" id="{14C86E9B-D1A5-AFA2-682D-D010A63C7A75}"/>
              </a:ext>
            </a:extLst>
          </p:cNvPr>
          <p:cNvSpPr txBox="1"/>
          <p:nvPr/>
        </p:nvSpPr>
        <p:spPr>
          <a:xfrm>
            <a:off x="7778883" y="2503883"/>
            <a:ext cx="3547112" cy="2800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285750" lvl="0" indent="-285750" algn="just" eaLnBrk="1">
              <a:lnSpc>
                <a:spcPct val="120000"/>
              </a:lnSpc>
              <a:spcAft>
                <a:spcPts val="600"/>
              </a:spcAft>
              <a:buSzPct val="100000"/>
              <a:buFont typeface="Wingdings" panose="05000000000000000000" pitchFamily="2" charset="2"/>
              <a:buChar char="ü"/>
              <a:defRPr/>
            </a:pPr>
            <a:r>
              <a:rPr lang="en-US" sz="1100" kern="1200" dirty="0">
                <a:solidFill>
                  <a:prstClr val="black"/>
                </a:solidFill>
                <a:latin typeface="+mn-lt"/>
                <a:ea typeface="Verdana" panose="020B0604030504040204" pitchFamily="34" charset="0"/>
                <a:cs typeface="Open Sans Light" panose="020B0306030504020204" pitchFamily="34" charset="0"/>
              </a:rPr>
              <a:t>IT Disaster Recovery Plan</a:t>
            </a:r>
            <a:endParaRPr lang="en-AE" sz="1100" kern="1200" dirty="0">
              <a:solidFill>
                <a:prstClr val="black"/>
              </a:solidFill>
              <a:latin typeface="+mn-lt"/>
              <a:ea typeface="Verdana" panose="020B0604030504040204" pitchFamily="34" charset="0"/>
              <a:cs typeface="Open Sans Light" panose="020B0306030504020204" pitchFamily="34" charset="0"/>
            </a:endParaRPr>
          </a:p>
        </p:txBody>
      </p:sp>
      <p:sp>
        <p:nvSpPr>
          <p:cNvPr id="21" name="TextBox 20">
            <a:extLst>
              <a:ext uri="{FF2B5EF4-FFF2-40B4-BE49-F238E27FC236}">
                <a16:creationId xmlns:a16="http://schemas.microsoft.com/office/drawing/2014/main" id="{C99EE3AD-0681-40D2-7FD6-3E5954772208}"/>
              </a:ext>
            </a:extLst>
          </p:cNvPr>
          <p:cNvSpPr txBox="1"/>
          <p:nvPr/>
        </p:nvSpPr>
        <p:spPr>
          <a:xfrm>
            <a:off x="394109" y="1048757"/>
            <a:ext cx="11530798" cy="661667"/>
          </a:xfrm>
          <a:prstGeom prst="rect">
            <a:avLst/>
          </a:prstGeom>
          <a:noFill/>
          <a:ln w="9525" algn="ctr">
            <a:noFill/>
            <a:miter lim="800000"/>
            <a:headEnd/>
            <a:tailEnd/>
          </a:ln>
        </p:spPr>
        <p:txBody>
          <a:bodyPr wrap="square" lIns="91440" tIns="0" rIns="91440" bIns="0" rtlCol="0" anchor="t" anchorCtr="0">
            <a:noAutofit/>
          </a:bodyPr>
          <a:lstStyle/>
          <a:p>
            <a:pPr algn="just">
              <a:lnSpc>
                <a:spcPct val="120000"/>
              </a:lnSpc>
              <a:spcAft>
                <a:spcPts val="600"/>
              </a:spcAft>
              <a:buSzPct val="100000"/>
              <a:defRPr/>
            </a:pPr>
            <a:r>
              <a:rPr lang="en-US" sz="1100" dirty="0">
                <a:solidFill>
                  <a:schemeClr val="tx2"/>
                </a:solidFill>
                <a:latin typeface="+mn-lt"/>
              </a:rPr>
              <a:t>Develop an ITDR Plan to establish a structured and systematic process for responding to incidents of varying severity that may significantly or strategically impact Salam’s IT environment.</a:t>
            </a:r>
          </a:p>
        </p:txBody>
      </p:sp>
      <p:sp>
        <p:nvSpPr>
          <p:cNvPr id="22" name="TextBox 21">
            <a:extLst>
              <a:ext uri="{FF2B5EF4-FFF2-40B4-BE49-F238E27FC236}">
                <a16:creationId xmlns:a16="http://schemas.microsoft.com/office/drawing/2014/main" id="{E81AAF8B-CA6D-BA71-680D-9E0E2F0B4484}"/>
              </a:ext>
            </a:extLst>
          </p:cNvPr>
          <p:cNvSpPr txBox="1"/>
          <p:nvPr/>
        </p:nvSpPr>
        <p:spPr>
          <a:xfrm>
            <a:off x="639774" y="2140773"/>
            <a:ext cx="6290405" cy="43427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285750" indent="-285750">
              <a:lnSpc>
                <a:spcPct val="150000"/>
              </a:lnSpc>
              <a:buFont typeface="Wingdings" panose="05000000000000000000" pitchFamily="2" charset="2"/>
              <a:buChar char="ü"/>
              <a:defRPr sz="1800">
                <a:solidFill>
                  <a:schemeClr val="tx2"/>
                </a:solidFill>
                <a:latin typeface="+mn-lt"/>
              </a:defRPr>
            </a:lvl1pPr>
          </a:lstStyle>
          <a:p>
            <a:pPr marL="0" marR="0" lvl="0" indent="0" defTabSz="914400" rtl="0" eaLnBrk="1" fontAlgn="auto" latinLnBrk="0" hangingPunct="1">
              <a:lnSpc>
                <a:spcPct val="100000"/>
              </a:lnSpc>
              <a:spcBef>
                <a:spcPts val="0"/>
              </a:spcBef>
              <a:spcAft>
                <a:spcPts val="600"/>
              </a:spcAft>
              <a:buClr>
                <a:srgbClr val="86BC25"/>
              </a:buClr>
              <a:buSzTx/>
              <a:buFontTx/>
              <a:buNone/>
              <a:tabLst/>
              <a:defRPr/>
            </a:pPr>
            <a:r>
              <a:rPr lang="en-US" sz="1100" kern="1200" dirty="0">
                <a:solidFill>
                  <a:prstClr val="black"/>
                </a:solidFill>
                <a:ea typeface="Verdana" panose="020B0604030504040204" pitchFamily="34" charset="0"/>
                <a:cs typeface="Open Sans Light" panose="020B0306030504020204" pitchFamily="34" charset="0"/>
              </a:rPr>
              <a:t>This phase involves development of an ITDR plan which will ensure the following are accurately included:</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Scope of the plan including the critical IT Services.</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Information about related applications and infrastructure.</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Division of in-scope IT Services and underlying infrastructure into multiple tiers. This will be based on the corresponding Recovery Time Objectives (RTOs) and Recovery Point Objectives (RPOs), as agreed with Business.</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Phases that form the basis of ITDR process.</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Communication protocols with interested parties (internal and external) including contact details.</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Document the IT Disaster Declaration criteria. This can be based on existing criteria or developed in coordination with Salam team.</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Alignment of ITDR plan with the overall BCM framework of Salam.</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Ownership of role/team who will be responsible for keeping the plan up to date.</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IT DR Governance Structure.</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Roles and responsibilities of ITDR Management team and the requirement for periodic updates of IT DR plan.</a:t>
            </a:r>
          </a:p>
          <a:p>
            <a:pPr marL="0" indent="0" hangingPunct="1">
              <a:lnSpc>
                <a:spcPct val="100000"/>
              </a:lnSpc>
              <a:spcAft>
                <a:spcPts val="600"/>
              </a:spcAft>
              <a:buClr>
                <a:srgbClr val="86BC25"/>
              </a:buClr>
              <a:buNone/>
              <a:defRPr/>
            </a:pPr>
            <a:r>
              <a:rPr lang="en-US" sz="1100" kern="1200" dirty="0">
                <a:solidFill>
                  <a:prstClr val="black"/>
                </a:solidFill>
                <a:ea typeface="Verdana" panose="020B0604030504040204" pitchFamily="34" charset="0"/>
                <a:cs typeface="Open Sans Light" panose="020B0306030504020204" pitchFamily="34" charset="0"/>
              </a:rPr>
              <a:t>Our scope does not include development of any recovery procedures, runbooks or scripts. Deloitte assumes that run books and technical procedures are the responsibility of the IT team and technology vendors. </a:t>
            </a:r>
          </a:p>
        </p:txBody>
      </p:sp>
      <p:sp>
        <p:nvSpPr>
          <p:cNvPr id="5" name="Title 1">
            <a:extLst>
              <a:ext uri="{FF2B5EF4-FFF2-40B4-BE49-F238E27FC236}">
                <a16:creationId xmlns:a16="http://schemas.microsoft.com/office/drawing/2014/main" id="{1ADE4B74-9D36-2D4E-30A0-4A011CEAB9F3}"/>
              </a:ext>
            </a:extLst>
          </p:cNvPr>
          <p:cNvSpPr txBox="1">
            <a:spLocks/>
          </p:cNvSpPr>
          <p:nvPr/>
        </p:nvSpPr>
        <p:spPr>
          <a:xfrm>
            <a:off x="411480" y="402587"/>
            <a:ext cx="11252200" cy="334102"/>
          </a:xfrm>
          <a:prstGeom prst="rect">
            <a:avLst/>
          </a:prstGeom>
        </p:spPr>
        <p:txBody>
          <a:bodyPr vert="horz" wrap="square" lIns="0" tIns="0" rIns="0" bIns="0" rtlCol="0" anchor="t" anchorCtr="0">
            <a:noAutofit/>
          </a:bodyPr>
          <a:lstStyle>
            <a:lvl1pPr>
              <a:defRPr sz="2400" b="0" i="0">
                <a:solidFill>
                  <a:srgbClr val="86BC25"/>
                </a:solidFill>
                <a:latin typeface="Calibri" panose="020F0502020204030204" pitchFamily="34" charset="0"/>
                <a:ea typeface="Verdana" panose="020B0604030504040204" pitchFamily="34" charset="0"/>
                <a:cs typeface="Calibri" panose="020F0502020204030204" pitchFamily="34" charset="0"/>
              </a:defRPr>
            </a:lvl1pPr>
          </a:lstStyle>
          <a:p>
            <a:pPr hangingPunct="1">
              <a:spcBef>
                <a:spcPct val="0"/>
              </a:spcBef>
              <a:defRPr/>
            </a:pPr>
            <a:r>
              <a:rPr lang="en-US" sz="2000" dirty="0">
                <a:solidFill>
                  <a:schemeClr val="tx2">
                    <a:lumMod val="50000"/>
                  </a:schemeClr>
                </a:solidFill>
                <a:latin typeface="+mn-lt"/>
                <a:ea typeface="Open Sans Semibold" panose="020B0706030804020204" pitchFamily="34" charset="0"/>
                <a:cs typeface="Open Sans Semibold" panose="020B0706030804020204" pitchFamily="34" charset="0"/>
              </a:rPr>
              <a:t>Approach and Methodology</a:t>
            </a:r>
          </a:p>
        </p:txBody>
      </p:sp>
      <p:sp>
        <p:nvSpPr>
          <p:cNvPr id="7" name="TextBox 6">
            <a:extLst>
              <a:ext uri="{FF2B5EF4-FFF2-40B4-BE49-F238E27FC236}">
                <a16:creationId xmlns:a16="http://schemas.microsoft.com/office/drawing/2014/main" id="{74784C4D-19D1-0345-183A-BB8A01E2E264}"/>
              </a:ext>
            </a:extLst>
          </p:cNvPr>
          <p:cNvSpPr txBox="1"/>
          <p:nvPr/>
        </p:nvSpPr>
        <p:spPr>
          <a:xfrm>
            <a:off x="3132509" y="1647820"/>
            <a:ext cx="1542233" cy="246221"/>
          </a:xfrm>
          <a:prstGeom prst="rect">
            <a:avLst/>
          </a:prstGeom>
          <a:solidFill>
            <a:schemeClr val="bg1"/>
          </a:solidFill>
          <a:ln>
            <a:solidFill>
              <a:schemeClr val="accent2"/>
            </a:solidFill>
          </a:ln>
        </p:spPr>
        <p:txBody>
          <a:bodyPr wrap="square" lIns="0" tIns="0" rIns="0" bIns="0" rtlCol="0">
            <a:spAutoFit/>
          </a:bodyPr>
          <a:lstStyle/>
          <a:p>
            <a:pPr algn="ctr">
              <a:spcBef>
                <a:spcPts val="600"/>
              </a:spcBef>
              <a:buSzPct val="100000"/>
            </a:pPr>
            <a:r>
              <a:rPr lang="en-US" sz="1600" b="1" dirty="0">
                <a:solidFill>
                  <a:schemeClr val="accent2"/>
                </a:solidFill>
                <a:latin typeface="+mn-lt"/>
              </a:rPr>
              <a:t>Key Activities</a:t>
            </a:r>
            <a:endParaRPr lang="en-AE" sz="1600" b="1" dirty="0">
              <a:solidFill>
                <a:schemeClr val="accent2"/>
              </a:solidFill>
              <a:latin typeface="+mn-lt"/>
            </a:endParaRPr>
          </a:p>
        </p:txBody>
      </p:sp>
      <p:sp>
        <p:nvSpPr>
          <p:cNvPr id="10" name="TextBox 9">
            <a:extLst>
              <a:ext uri="{FF2B5EF4-FFF2-40B4-BE49-F238E27FC236}">
                <a16:creationId xmlns:a16="http://schemas.microsoft.com/office/drawing/2014/main" id="{7C4726EB-1244-E4D3-7C0E-58111DE8D08C}"/>
              </a:ext>
            </a:extLst>
          </p:cNvPr>
          <p:cNvSpPr txBox="1"/>
          <p:nvPr/>
        </p:nvSpPr>
        <p:spPr>
          <a:xfrm rot="5400000">
            <a:off x="11456364" y="3983555"/>
            <a:ext cx="1051570" cy="246221"/>
          </a:xfrm>
          <a:prstGeom prst="rect">
            <a:avLst/>
          </a:prstGeom>
          <a:solidFill>
            <a:schemeClr val="bg1"/>
          </a:solidFill>
          <a:ln>
            <a:solidFill>
              <a:schemeClr val="accent2"/>
            </a:solidFill>
          </a:ln>
        </p:spPr>
        <p:txBody>
          <a:bodyPr wrap="none" lIns="0" tIns="0" rIns="0" bIns="0" rtlCol="0">
            <a:spAutoFit/>
          </a:bodyPr>
          <a:lstStyle/>
          <a:p>
            <a:pPr algn="ctr">
              <a:spcBef>
                <a:spcPts val="600"/>
              </a:spcBef>
              <a:buSzPct val="100000"/>
            </a:pPr>
            <a:r>
              <a:rPr lang="en-US" sz="1600" b="1" dirty="0">
                <a:solidFill>
                  <a:schemeClr val="accent2"/>
                </a:solidFill>
                <a:latin typeface="+mn-lt"/>
              </a:rPr>
              <a:t>Deliverables</a:t>
            </a:r>
            <a:endParaRPr lang="en-AE" sz="1600" b="1" dirty="0">
              <a:solidFill>
                <a:schemeClr val="accent2"/>
              </a:solidFill>
              <a:latin typeface="+mn-lt"/>
            </a:endParaRPr>
          </a:p>
        </p:txBody>
      </p:sp>
      <p:sp>
        <p:nvSpPr>
          <p:cNvPr id="12" name="Text Placeholder 20">
            <a:extLst>
              <a:ext uri="{FF2B5EF4-FFF2-40B4-BE49-F238E27FC236}">
                <a16:creationId xmlns:a16="http://schemas.microsoft.com/office/drawing/2014/main" id="{D1697084-4D79-B5BD-C210-B0B1DB923EAB}"/>
              </a:ext>
            </a:extLst>
          </p:cNvPr>
          <p:cNvSpPr txBox="1">
            <a:spLocks/>
          </p:cNvSpPr>
          <p:nvPr/>
        </p:nvSpPr>
        <p:spPr>
          <a:xfrm>
            <a:off x="411480"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lvl="0" indent="0">
              <a:spcBef>
                <a:spcPts val="0"/>
              </a:spcBef>
              <a:spcAft>
                <a:spcPts val="1333"/>
              </a:spcAft>
              <a:buNone/>
              <a:defRPr/>
            </a:pPr>
            <a:r>
              <a:rPr lang="en-US" sz="1400" b="1" dirty="0">
                <a:solidFill>
                  <a:srgbClr val="575757"/>
                </a:solidFill>
                <a:latin typeface="+mn-lt"/>
                <a:ea typeface="Open Sans Light" panose="020B0306030504020204" pitchFamily="34" charset="0"/>
                <a:cs typeface="Open Sans Light" panose="020B0306030504020204" pitchFamily="34" charset="0"/>
              </a:rPr>
              <a:t>Phase 6:  Business Continuity Recovery Strategy and Plans (5/5)</a:t>
            </a:r>
          </a:p>
        </p:txBody>
      </p:sp>
      <p:grpSp>
        <p:nvGrpSpPr>
          <p:cNvPr id="13" name="Group 12">
            <a:extLst>
              <a:ext uri="{FF2B5EF4-FFF2-40B4-BE49-F238E27FC236}">
                <a16:creationId xmlns:a16="http://schemas.microsoft.com/office/drawing/2014/main" id="{0A771A0B-2B33-D25C-E3D1-4A239593C301}"/>
              </a:ext>
            </a:extLst>
          </p:cNvPr>
          <p:cNvGrpSpPr/>
          <p:nvPr/>
        </p:nvGrpSpPr>
        <p:grpSpPr>
          <a:xfrm>
            <a:off x="9078616" y="3429000"/>
            <a:ext cx="2626105" cy="2672610"/>
            <a:chOff x="6991675" y="1957596"/>
            <a:chExt cx="4143686" cy="4250677"/>
          </a:xfrm>
        </p:grpSpPr>
        <p:pic>
          <p:nvPicPr>
            <p:cNvPr id="14" name="Picture 13">
              <a:extLst>
                <a:ext uri="{FF2B5EF4-FFF2-40B4-BE49-F238E27FC236}">
                  <a16:creationId xmlns:a16="http://schemas.microsoft.com/office/drawing/2014/main" id="{EAEEB9C4-A93B-8EEA-3B9F-8C45AD23ADB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91675" y="1957596"/>
              <a:ext cx="4025573" cy="2873549"/>
            </a:xfrm>
            <a:prstGeom prst="rect">
              <a:avLst/>
            </a:prstGeom>
          </p:spPr>
        </p:pic>
        <p:pic>
          <p:nvPicPr>
            <p:cNvPr id="15" name="Picture 2">
              <a:extLst>
                <a:ext uri="{FF2B5EF4-FFF2-40B4-BE49-F238E27FC236}">
                  <a16:creationId xmlns:a16="http://schemas.microsoft.com/office/drawing/2014/main" id="{94CE1BCF-D446-4B75-3519-3D0DF36EC30F}"/>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004065" y="4940745"/>
              <a:ext cx="4131296" cy="1267528"/>
            </a:xfrm>
            <a:prstGeom prst="rect">
              <a:avLst/>
            </a:prstGeom>
            <a:noFill/>
            <a:ln w="9525">
              <a:noFill/>
              <a:miter lim="800000"/>
              <a:headEnd/>
              <a:tailEnd/>
            </a:ln>
            <a:effectLst/>
          </p:spPr>
        </p:pic>
      </p:grpSp>
      <p:sp>
        <p:nvSpPr>
          <p:cNvPr id="6" name="TextBox 5">
            <a:extLst>
              <a:ext uri="{FF2B5EF4-FFF2-40B4-BE49-F238E27FC236}">
                <a16:creationId xmlns:a16="http://schemas.microsoft.com/office/drawing/2014/main" id="{D9D278D7-ADAE-82D0-A1FB-A746FA41E3C5}"/>
              </a:ext>
            </a:extLst>
          </p:cNvPr>
          <p:cNvSpPr txBox="1"/>
          <p:nvPr/>
        </p:nvSpPr>
        <p:spPr>
          <a:xfrm rot="19785134">
            <a:off x="8427238" y="4628768"/>
            <a:ext cx="2041430" cy="261610"/>
          </a:xfrm>
          <a:prstGeom prst="rect">
            <a:avLst/>
          </a:prstGeom>
          <a:solidFill>
            <a:schemeClr val="tx1"/>
          </a:solidFill>
          <a:ln>
            <a:solidFill>
              <a:schemeClr val="accent2"/>
            </a:solid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or Illustration Purposes Only</a:t>
            </a:r>
          </a:p>
        </p:txBody>
      </p:sp>
    </p:spTree>
    <p:extLst>
      <p:ext uri="{BB962C8B-B14F-4D97-AF65-F5344CB8AC3E}">
        <p14:creationId xmlns:p14="http://schemas.microsoft.com/office/powerpoint/2010/main" val="209046808"/>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Straight Connector 31">
            <a:extLst>
              <a:ext uri="{FF2B5EF4-FFF2-40B4-BE49-F238E27FC236}">
                <a16:creationId xmlns:a16="http://schemas.microsoft.com/office/drawing/2014/main" id="{947632CC-A82B-02F1-E280-D5858B91374B}"/>
              </a:ext>
            </a:extLst>
          </p:cNvPr>
          <p:cNvCxnSpPr>
            <a:cxnSpLocks/>
          </p:cNvCxnSpPr>
          <p:nvPr/>
        </p:nvCxnSpPr>
        <p:spPr>
          <a:xfrm>
            <a:off x="5703922" y="0"/>
            <a:ext cx="37305" cy="6486380"/>
          </a:xfrm>
          <a:prstGeom prst="line">
            <a:avLst/>
          </a:prstGeom>
          <a:noFill/>
          <a:ln w="25400" cap="flat">
            <a:solidFill>
              <a:schemeClr val="accent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sp>
        <p:nvSpPr>
          <p:cNvPr id="419" name="Title 7"/>
          <p:cNvSpPr txBox="1">
            <a:spLocks noGrp="1"/>
          </p:cNvSpPr>
          <p:nvPr>
            <p:ph type="title" idx="4294967295"/>
          </p:nvPr>
        </p:nvSpPr>
        <p:spPr>
          <a:xfrm>
            <a:off x="435822" y="3312478"/>
            <a:ext cx="5537201" cy="355185"/>
          </a:xfrm>
          <a:prstGeom prst="rect">
            <a:avLst/>
          </a:prstGeom>
        </p:spPr>
        <p:txBody>
          <a:bodyPr>
            <a:noAutofit/>
          </a:bodyPr>
          <a:lstStyle/>
          <a:p>
            <a:r>
              <a:rPr sz="2400" dirty="0">
                <a:latin typeface="+mn-lt"/>
              </a:rPr>
              <a:t>Table of contents</a:t>
            </a:r>
          </a:p>
        </p:txBody>
      </p:sp>
      <p:sp>
        <p:nvSpPr>
          <p:cNvPr id="10" name="TextBox 29">
            <a:extLst>
              <a:ext uri="{FF2B5EF4-FFF2-40B4-BE49-F238E27FC236}">
                <a16:creationId xmlns:a16="http://schemas.microsoft.com/office/drawing/2014/main" id="{41924638-89A5-B0A1-AA25-5E9FCD0F6786}"/>
              </a:ext>
            </a:extLst>
          </p:cNvPr>
          <p:cNvSpPr txBox="1"/>
          <p:nvPr/>
        </p:nvSpPr>
        <p:spPr>
          <a:xfrm>
            <a:off x="8584454" y="5065994"/>
            <a:ext cx="2830997" cy="354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nSpc>
                <a:spcPct val="85000"/>
              </a:lnSpc>
              <a:defRPr sz="2000">
                <a:solidFill>
                  <a:srgbClr val="000000"/>
                </a:solidFill>
                <a:latin typeface="Open Sans Semibold"/>
                <a:ea typeface="Open Sans Semibold"/>
                <a:cs typeface="Open Sans Semibold"/>
                <a:sym typeface="Open Sans Semibold"/>
              </a:defRPr>
            </a:pPr>
            <a:endParaRPr lang="en-US"/>
          </a:p>
        </p:txBody>
      </p:sp>
      <p:grpSp>
        <p:nvGrpSpPr>
          <p:cNvPr id="46" name="Group 45">
            <a:extLst>
              <a:ext uri="{FF2B5EF4-FFF2-40B4-BE49-F238E27FC236}">
                <a16:creationId xmlns:a16="http://schemas.microsoft.com/office/drawing/2014/main" id="{96CBD73B-7EA5-3470-073C-910C365AC321}"/>
              </a:ext>
            </a:extLst>
          </p:cNvPr>
          <p:cNvGrpSpPr/>
          <p:nvPr/>
        </p:nvGrpSpPr>
        <p:grpSpPr>
          <a:xfrm>
            <a:off x="5620407" y="601855"/>
            <a:ext cx="4865010" cy="641975"/>
            <a:chOff x="5620407" y="601855"/>
            <a:chExt cx="4865010" cy="641975"/>
          </a:xfrm>
        </p:grpSpPr>
        <p:grpSp>
          <p:nvGrpSpPr>
            <p:cNvPr id="36" name="Group 35">
              <a:extLst>
                <a:ext uri="{FF2B5EF4-FFF2-40B4-BE49-F238E27FC236}">
                  <a16:creationId xmlns:a16="http://schemas.microsoft.com/office/drawing/2014/main" id="{74FA3242-15F0-9B7F-3E86-F77D9A276982}"/>
                </a:ext>
              </a:extLst>
            </p:cNvPr>
            <p:cNvGrpSpPr/>
            <p:nvPr/>
          </p:nvGrpSpPr>
          <p:grpSpPr>
            <a:xfrm>
              <a:off x="6263353" y="722787"/>
              <a:ext cx="4222064" cy="400110"/>
              <a:chOff x="6263353" y="722787"/>
              <a:chExt cx="4222064" cy="400110"/>
            </a:xfrm>
          </p:grpSpPr>
          <p:sp>
            <p:nvSpPr>
              <p:cNvPr id="420" name="TextBox 8"/>
              <p:cNvSpPr txBox="1"/>
              <p:nvPr/>
            </p:nvSpPr>
            <p:spPr>
              <a:xfrm>
                <a:off x="6263353" y="722787"/>
                <a:ext cx="222174" cy="400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45719" rIns="45719">
                <a:spAutoFit/>
              </a:bodyPr>
              <a:lstStyle>
                <a:lvl1pPr algn="r">
                  <a:defRPr sz="2400">
                    <a:solidFill>
                      <a:schemeClr val="accent1"/>
                    </a:solidFill>
                  </a:defRPr>
                </a:lvl1pPr>
              </a:lstStyle>
              <a:p>
                <a:r>
                  <a:rPr sz="2000">
                    <a:latin typeface="+mn-lt"/>
                    <a:ea typeface="Open Sans Semibold" panose="020B0706030804020204" pitchFamily="34" charset="0"/>
                    <a:cs typeface="Open Sans Semibold" panose="020B0706030804020204" pitchFamily="34" charset="0"/>
                  </a:rPr>
                  <a:t>1</a:t>
                </a:r>
              </a:p>
            </p:txBody>
          </p:sp>
          <p:sp>
            <p:nvSpPr>
              <p:cNvPr id="422" name="TextBox 10"/>
              <p:cNvSpPr txBox="1"/>
              <p:nvPr/>
            </p:nvSpPr>
            <p:spPr>
              <a:xfrm>
                <a:off x="6690657" y="745454"/>
                <a:ext cx="3794760" cy="35477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p>
                <a:pPr>
                  <a:lnSpc>
                    <a:spcPct val="85000"/>
                  </a:lnSpc>
                  <a:defRPr sz="2000">
                    <a:solidFill>
                      <a:srgbClr val="000000"/>
                    </a:solidFill>
                    <a:latin typeface="Open Sans Semibold"/>
                    <a:ea typeface="Open Sans Semibold"/>
                    <a:cs typeface="Open Sans Semibold"/>
                    <a:sym typeface="Open Sans Semibold"/>
                  </a:defRPr>
                </a:pPr>
                <a:r>
                  <a:rPr lang="en-US" sz="2000" dirty="0">
                    <a:latin typeface="+mn-lt"/>
                    <a:ea typeface="Open Sans Semibold" panose="020B0706030804020204" pitchFamily="34" charset="0"/>
                    <a:cs typeface="Open Sans Semibold" panose="020B0706030804020204" pitchFamily="34" charset="0"/>
                  </a:rPr>
                  <a:t>Executive Summary </a:t>
                </a:r>
              </a:p>
            </p:txBody>
          </p:sp>
        </p:grpSp>
        <p:sp>
          <p:nvSpPr>
            <p:cNvPr id="23" name="Oval 22">
              <a:extLst>
                <a:ext uri="{FF2B5EF4-FFF2-40B4-BE49-F238E27FC236}">
                  <a16:creationId xmlns:a16="http://schemas.microsoft.com/office/drawing/2014/main" id="{CB326109-4C80-1FC6-D72E-872998AC161A}"/>
                </a:ext>
              </a:extLst>
            </p:cNvPr>
            <p:cNvSpPr/>
            <p:nvPr/>
          </p:nvSpPr>
          <p:spPr>
            <a:xfrm>
              <a:off x="5620407" y="601855"/>
              <a:ext cx="182880" cy="641975"/>
            </a:xfrm>
            <a:prstGeom prst="ellipse">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n-lt"/>
                <a:ea typeface="Open Sans"/>
                <a:cs typeface="Open Sans"/>
                <a:sym typeface="Open Sans"/>
              </a:endParaRPr>
            </a:p>
          </p:txBody>
        </p:sp>
      </p:grpSp>
      <p:grpSp>
        <p:nvGrpSpPr>
          <p:cNvPr id="45" name="Group 44">
            <a:extLst>
              <a:ext uri="{FF2B5EF4-FFF2-40B4-BE49-F238E27FC236}">
                <a16:creationId xmlns:a16="http://schemas.microsoft.com/office/drawing/2014/main" id="{85295C40-784B-956B-9FC9-5CA0D683F97E}"/>
              </a:ext>
            </a:extLst>
          </p:cNvPr>
          <p:cNvGrpSpPr/>
          <p:nvPr/>
        </p:nvGrpSpPr>
        <p:grpSpPr>
          <a:xfrm>
            <a:off x="5622236" y="1216871"/>
            <a:ext cx="4861352" cy="641975"/>
            <a:chOff x="5624065" y="1213931"/>
            <a:chExt cx="4861352" cy="641975"/>
          </a:xfrm>
        </p:grpSpPr>
        <p:grpSp>
          <p:nvGrpSpPr>
            <p:cNvPr id="37" name="Group 36">
              <a:extLst>
                <a:ext uri="{FF2B5EF4-FFF2-40B4-BE49-F238E27FC236}">
                  <a16:creationId xmlns:a16="http://schemas.microsoft.com/office/drawing/2014/main" id="{00A2EF28-7A0E-B08C-8DB4-20A32B91E303}"/>
                </a:ext>
              </a:extLst>
            </p:cNvPr>
            <p:cNvGrpSpPr/>
            <p:nvPr/>
          </p:nvGrpSpPr>
          <p:grpSpPr>
            <a:xfrm>
              <a:off x="6258623" y="1333750"/>
              <a:ext cx="4226794" cy="402336"/>
              <a:chOff x="6258623" y="1333750"/>
              <a:chExt cx="4226794" cy="402336"/>
            </a:xfrm>
          </p:grpSpPr>
          <p:sp>
            <p:nvSpPr>
              <p:cNvPr id="424" name="TextBox 12"/>
              <p:cNvSpPr txBox="1"/>
              <p:nvPr/>
            </p:nvSpPr>
            <p:spPr>
              <a:xfrm>
                <a:off x="6258623" y="1334863"/>
                <a:ext cx="222174" cy="400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45719" rIns="45719">
                <a:spAutoFit/>
              </a:bodyPr>
              <a:lstStyle>
                <a:lvl1pPr algn="r">
                  <a:defRPr sz="2400">
                    <a:solidFill>
                      <a:schemeClr val="accent1"/>
                    </a:solidFill>
                  </a:defRPr>
                </a:lvl1pPr>
              </a:lstStyle>
              <a:p>
                <a:r>
                  <a:rPr lang="en-US" sz="2000">
                    <a:latin typeface="+mn-lt"/>
                    <a:ea typeface="Open Sans Semibold" panose="020B0706030804020204" pitchFamily="34" charset="0"/>
                    <a:cs typeface="Open Sans Semibold" panose="020B0706030804020204" pitchFamily="34" charset="0"/>
                  </a:rPr>
                  <a:t>2</a:t>
                </a:r>
                <a:endParaRPr sz="2000">
                  <a:latin typeface="+mn-lt"/>
                  <a:ea typeface="Open Sans Semibold" panose="020B0706030804020204" pitchFamily="34" charset="0"/>
                  <a:cs typeface="Open Sans Semibold" panose="020B0706030804020204" pitchFamily="34" charset="0"/>
                </a:endParaRPr>
              </a:p>
            </p:txBody>
          </p:sp>
          <p:sp>
            <p:nvSpPr>
              <p:cNvPr id="425" name="TextBox 13"/>
              <p:cNvSpPr txBox="1"/>
              <p:nvPr/>
            </p:nvSpPr>
            <p:spPr>
              <a:xfrm>
                <a:off x="6690657" y="1333750"/>
                <a:ext cx="3794760" cy="40233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rIns="45719">
                <a:spAutoFit/>
              </a:bodyPr>
              <a:lstStyle/>
              <a:p>
                <a:pPr>
                  <a:defRPr sz="2000">
                    <a:solidFill>
                      <a:srgbClr val="000000"/>
                    </a:solidFill>
                    <a:latin typeface="Open Sans Semibold"/>
                    <a:ea typeface="Open Sans Semibold"/>
                    <a:cs typeface="Open Sans Semibold"/>
                    <a:sym typeface="Open Sans Semibold"/>
                  </a:defRPr>
                </a:pPr>
                <a:r>
                  <a:rPr lang="en-US" sz="2000">
                    <a:latin typeface="+mn-lt"/>
                    <a:ea typeface="Open Sans Semibold" panose="020B0706030804020204" pitchFamily="34" charset="0"/>
                    <a:cs typeface="Open Sans Semibold" panose="020B0706030804020204" pitchFamily="34" charset="0"/>
                  </a:rPr>
                  <a:t>Approach &amp; Methodology</a:t>
                </a:r>
              </a:p>
            </p:txBody>
          </p:sp>
        </p:grpSp>
        <p:sp>
          <p:nvSpPr>
            <p:cNvPr id="24" name="Oval 23">
              <a:extLst>
                <a:ext uri="{FF2B5EF4-FFF2-40B4-BE49-F238E27FC236}">
                  <a16:creationId xmlns:a16="http://schemas.microsoft.com/office/drawing/2014/main" id="{0E8134CB-90EF-263D-66A2-6A806CE8FD43}"/>
                </a:ext>
              </a:extLst>
            </p:cNvPr>
            <p:cNvSpPr/>
            <p:nvPr/>
          </p:nvSpPr>
          <p:spPr>
            <a:xfrm>
              <a:off x="5624065" y="1213931"/>
              <a:ext cx="182880" cy="641975"/>
            </a:xfrm>
            <a:prstGeom prst="ellipse">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n-lt"/>
                <a:ea typeface="Open Sans"/>
                <a:cs typeface="Open Sans"/>
                <a:sym typeface="Open Sans"/>
              </a:endParaRPr>
            </a:p>
          </p:txBody>
        </p:sp>
      </p:grpSp>
      <p:grpSp>
        <p:nvGrpSpPr>
          <p:cNvPr id="47" name="Group 46">
            <a:extLst>
              <a:ext uri="{FF2B5EF4-FFF2-40B4-BE49-F238E27FC236}">
                <a16:creationId xmlns:a16="http://schemas.microsoft.com/office/drawing/2014/main" id="{B5421F1F-6533-CD31-22F1-EC6B6FF41E8F}"/>
              </a:ext>
            </a:extLst>
          </p:cNvPr>
          <p:cNvGrpSpPr/>
          <p:nvPr/>
        </p:nvGrpSpPr>
        <p:grpSpPr>
          <a:xfrm>
            <a:off x="5622236" y="1833000"/>
            <a:ext cx="4861352" cy="827705"/>
            <a:chOff x="5624065" y="1924514"/>
            <a:chExt cx="4861352" cy="827705"/>
          </a:xfrm>
        </p:grpSpPr>
        <p:grpSp>
          <p:nvGrpSpPr>
            <p:cNvPr id="38" name="Group 37">
              <a:extLst>
                <a:ext uri="{FF2B5EF4-FFF2-40B4-BE49-F238E27FC236}">
                  <a16:creationId xmlns:a16="http://schemas.microsoft.com/office/drawing/2014/main" id="{36E2E267-1BCC-371A-A4BE-8842EA9BDC38}"/>
                </a:ext>
              </a:extLst>
            </p:cNvPr>
            <p:cNvGrpSpPr/>
            <p:nvPr/>
          </p:nvGrpSpPr>
          <p:grpSpPr>
            <a:xfrm>
              <a:off x="6258623" y="2044333"/>
              <a:ext cx="4226794" cy="707886"/>
              <a:chOff x="6258623" y="2044333"/>
              <a:chExt cx="4226794" cy="707886"/>
            </a:xfrm>
          </p:grpSpPr>
          <p:sp>
            <p:nvSpPr>
              <p:cNvPr id="426" name="TextBox 14"/>
              <p:cNvSpPr txBox="1"/>
              <p:nvPr/>
            </p:nvSpPr>
            <p:spPr>
              <a:xfrm>
                <a:off x="6258623" y="2045446"/>
                <a:ext cx="222174" cy="400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45719" rIns="45719">
                <a:spAutoFit/>
              </a:bodyPr>
              <a:lstStyle>
                <a:lvl1pPr algn="r">
                  <a:defRPr sz="2400">
                    <a:solidFill>
                      <a:schemeClr val="accent1"/>
                    </a:solidFill>
                  </a:defRPr>
                </a:lvl1pPr>
              </a:lstStyle>
              <a:p>
                <a:r>
                  <a:rPr lang="en-US" sz="2000">
                    <a:latin typeface="+mn-lt"/>
                    <a:ea typeface="Open Sans Semibold" panose="020B0706030804020204" pitchFamily="34" charset="0"/>
                    <a:cs typeface="Open Sans Semibold" panose="020B0706030804020204" pitchFamily="34" charset="0"/>
                  </a:rPr>
                  <a:t>3</a:t>
                </a:r>
                <a:endParaRPr sz="2000">
                  <a:latin typeface="+mn-lt"/>
                  <a:ea typeface="Open Sans Semibold" panose="020B0706030804020204" pitchFamily="34" charset="0"/>
                  <a:cs typeface="Open Sans Semibold" panose="020B0706030804020204" pitchFamily="34" charset="0"/>
                </a:endParaRPr>
              </a:p>
            </p:txBody>
          </p:sp>
          <p:sp>
            <p:nvSpPr>
              <p:cNvPr id="427" name="TextBox 15"/>
              <p:cNvSpPr txBox="1"/>
              <p:nvPr/>
            </p:nvSpPr>
            <p:spPr>
              <a:xfrm>
                <a:off x="6690657" y="2044333"/>
                <a:ext cx="3794760" cy="70788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p>
                <a:pPr>
                  <a:defRPr sz="2000">
                    <a:solidFill>
                      <a:srgbClr val="000000"/>
                    </a:solidFill>
                    <a:latin typeface="Open Sans Semibold"/>
                    <a:ea typeface="Open Sans Semibold"/>
                    <a:cs typeface="Open Sans Semibold"/>
                    <a:sym typeface="Open Sans Semibold"/>
                  </a:defRPr>
                </a:pPr>
                <a:r>
                  <a:rPr lang="en-US" sz="2000" dirty="0">
                    <a:latin typeface="+mn-lt"/>
                    <a:ea typeface="Open Sans Semibold" panose="020B0706030804020204" pitchFamily="34" charset="0"/>
                    <a:cs typeface="Open Sans Semibold" panose="020B0706030804020204" pitchFamily="34" charset="0"/>
                  </a:rPr>
                  <a:t>Project Timeline</a:t>
                </a:r>
              </a:p>
              <a:p>
                <a:pPr>
                  <a:defRPr sz="2000">
                    <a:solidFill>
                      <a:srgbClr val="000000"/>
                    </a:solidFill>
                    <a:latin typeface="Open Sans Semibold"/>
                    <a:ea typeface="Open Sans Semibold"/>
                    <a:cs typeface="Open Sans Semibold"/>
                    <a:sym typeface="Open Sans Semibold"/>
                  </a:defRPr>
                </a:pPr>
                <a:endParaRPr lang="en-US" sz="2000" dirty="0">
                  <a:latin typeface="+mn-lt"/>
                  <a:ea typeface="Open Sans Semibold" panose="020B0706030804020204" pitchFamily="34" charset="0"/>
                  <a:cs typeface="Open Sans Semibold" panose="020B0706030804020204" pitchFamily="34" charset="0"/>
                </a:endParaRPr>
              </a:p>
            </p:txBody>
          </p:sp>
        </p:grpSp>
        <p:sp>
          <p:nvSpPr>
            <p:cNvPr id="25" name="Oval 24">
              <a:extLst>
                <a:ext uri="{FF2B5EF4-FFF2-40B4-BE49-F238E27FC236}">
                  <a16:creationId xmlns:a16="http://schemas.microsoft.com/office/drawing/2014/main" id="{B5FA7AD6-99D9-2D95-5781-A677EABDA559}"/>
                </a:ext>
              </a:extLst>
            </p:cNvPr>
            <p:cNvSpPr/>
            <p:nvPr/>
          </p:nvSpPr>
          <p:spPr>
            <a:xfrm>
              <a:off x="5624065" y="1924514"/>
              <a:ext cx="182880" cy="641975"/>
            </a:xfrm>
            <a:prstGeom prst="ellipse">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n-lt"/>
                <a:ea typeface="Open Sans"/>
                <a:cs typeface="Open Sans"/>
                <a:sym typeface="Open Sans"/>
              </a:endParaRPr>
            </a:p>
          </p:txBody>
        </p:sp>
      </p:grpSp>
      <p:grpSp>
        <p:nvGrpSpPr>
          <p:cNvPr id="48" name="Group 47">
            <a:extLst>
              <a:ext uri="{FF2B5EF4-FFF2-40B4-BE49-F238E27FC236}">
                <a16:creationId xmlns:a16="http://schemas.microsoft.com/office/drawing/2014/main" id="{F7601518-B787-A425-AB9C-D3D842B29757}"/>
              </a:ext>
            </a:extLst>
          </p:cNvPr>
          <p:cNvGrpSpPr/>
          <p:nvPr/>
        </p:nvGrpSpPr>
        <p:grpSpPr>
          <a:xfrm>
            <a:off x="5625894" y="2478793"/>
            <a:ext cx="4854036" cy="641975"/>
            <a:chOff x="5631381" y="2595388"/>
            <a:chExt cx="4854036" cy="641975"/>
          </a:xfrm>
        </p:grpSpPr>
        <p:grpSp>
          <p:nvGrpSpPr>
            <p:cNvPr id="39" name="Group 38">
              <a:extLst>
                <a:ext uri="{FF2B5EF4-FFF2-40B4-BE49-F238E27FC236}">
                  <a16:creationId xmlns:a16="http://schemas.microsoft.com/office/drawing/2014/main" id="{A530BBD4-40F9-95EA-09B9-FA5E425E7C11}"/>
                </a:ext>
              </a:extLst>
            </p:cNvPr>
            <p:cNvGrpSpPr/>
            <p:nvPr/>
          </p:nvGrpSpPr>
          <p:grpSpPr>
            <a:xfrm>
              <a:off x="6232974" y="2685543"/>
              <a:ext cx="4252443" cy="461665"/>
              <a:chOff x="6232974" y="2685543"/>
              <a:chExt cx="4252443" cy="461665"/>
            </a:xfrm>
          </p:grpSpPr>
          <p:sp>
            <p:nvSpPr>
              <p:cNvPr id="428" name="TextBox 28"/>
              <p:cNvSpPr txBox="1"/>
              <p:nvPr/>
            </p:nvSpPr>
            <p:spPr>
              <a:xfrm>
                <a:off x="6232974" y="2685543"/>
                <a:ext cx="247823" cy="46166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45719" rIns="45719">
                <a:spAutoFit/>
              </a:bodyPr>
              <a:lstStyle>
                <a:lvl1pPr algn="r">
                  <a:defRPr sz="2400">
                    <a:solidFill>
                      <a:schemeClr val="accent1"/>
                    </a:solidFill>
                  </a:defRPr>
                </a:lvl1pPr>
              </a:lstStyle>
              <a:p>
                <a:r>
                  <a:rPr lang="en-US">
                    <a:latin typeface="+mn-lt"/>
                    <a:ea typeface="Open Sans Semibold" panose="020B0706030804020204" pitchFamily="34" charset="0"/>
                    <a:cs typeface="Open Sans Semibold" panose="020B0706030804020204" pitchFamily="34" charset="0"/>
                  </a:rPr>
                  <a:t>4</a:t>
                </a:r>
                <a:endParaRPr>
                  <a:latin typeface="+mn-lt"/>
                  <a:ea typeface="Open Sans Semibold" panose="020B0706030804020204" pitchFamily="34" charset="0"/>
                  <a:cs typeface="Open Sans Semibold" panose="020B0706030804020204" pitchFamily="34" charset="0"/>
                </a:endParaRPr>
              </a:p>
            </p:txBody>
          </p:sp>
          <p:sp>
            <p:nvSpPr>
              <p:cNvPr id="429" name="TextBox 29"/>
              <p:cNvSpPr txBox="1"/>
              <p:nvPr/>
            </p:nvSpPr>
            <p:spPr>
              <a:xfrm>
                <a:off x="6690657" y="2738987"/>
                <a:ext cx="3794760" cy="35477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p>
                <a:pPr>
                  <a:lnSpc>
                    <a:spcPct val="85000"/>
                  </a:lnSpc>
                  <a:defRPr sz="2000">
                    <a:solidFill>
                      <a:srgbClr val="000000"/>
                    </a:solidFill>
                    <a:latin typeface="Open Sans Semibold"/>
                    <a:ea typeface="Open Sans Semibold"/>
                    <a:cs typeface="Open Sans Semibold"/>
                    <a:sym typeface="Open Sans Semibold"/>
                  </a:defRPr>
                </a:pPr>
                <a:r>
                  <a:rPr lang="en-US" sz="2000">
                    <a:latin typeface="+mn-lt"/>
                    <a:ea typeface="Open Sans Semibold" panose="020B0706030804020204" pitchFamily="34" charset="0"/>
                    <a:cs typeface="Open Sans Semibold" panose="020B0706030804020204" pitchFamily="34" charset="0"/>
                  </a:rPr>
                  <a:t>Our Team</a:t>
                </a:r>
              </a:p>
            </p:txBody>
          </p:sp>
        </p:grpSp>
        <p:sp>
          <p:nvSpPr>
            <p:cNvPr id="26" name="Oval 25">
              <a:extLst>
                <a:ext uri="{FF2B5EF4-FFF2-40B4-BE49-F238E27FC236}">
                  <a16:creationId xmlns:a16="http://schemas.microsoft.com/office/drawing/2014/main" id="{A7748D46-FEF8-F0DA-7BED-7AB7D5C2F8BC}"/>
                </a:ext>
              </a:extLst>
            </p:cNvPr>
            <p:cNvSpPr/>
            <p:nvPr/>
          </p:nvSpPr>
          <p:spPr>
            <a:xfrm>
              <a:off x="5631381" y="2595388"/>
              <a:ext cx="182880" cy="641975"/>
            </a:xfrm>
            <a:prstGeom prst="ellipse">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n-lt"/>
                <a:ea typeface="Open Sans"/>
                <a:cs typeface="Open Sans"/>
                <a:sym typeface="Open Sans"/>
              </a:endParaRPr>
            </a:p>
          </p:txBody>
        </p:sp>
      </p:grpSp>
      <p:grpSp>
        <p:nvGrpSpPr>
          <p:cNvPr id="49" name="Group 48">
            <a:extLst>
              <a:ext uri="{FF2B5EF4-FFF2-40B4-BE49-F238E27FC236}">
                <a16:creationId xmlns:a16="http://schemas.microsoft.com/office/drawing/2014/main" id="{4439FA2D-FE77-5B88-37BF-7CCE9A9B3E97}"/>
              </a:ext>
            </a:extLst>
          </p:cNvPr>
          <p:cNvGrpSpPr/>
          <p:nvPr/>
        </p:nvGrpSpPr>
        <p:grpSpPr>
          <a:xfrm>
            <a:off x="5627723" y="3154251"/>
            <a:ext cx="4850378" cy="641975"/>
            <a:chOff x="5635039" y="3229063"/>
            <a:chExt cx="4850378" cy="641975"/>
          </a:xfrm>
        </p:grpSpPr>
        <p:grpSp>
          <p:nvGrpSpPr>
            <p:cNvPr id="40" name="Group 39">
              <a:extLst>
                <a:ext uri="{FF2B5EF4-FFF2-40B4-BE49-F238E27FC236}">
                  <a16:creationId xmlns:a16="http://schemas.microsoft.com/office/drawing/2014/main" id="{AC667E46-9FE6-6232-AA9C-EE1769F52CF1}"/>
                </a:ext>
              </a:extLst>
            </p:cNvPr>
            <p:cNvGrpSpPr/>
            <p:nvPr/>
          </p:nvGrpSpPr>
          <p:grpSpPr>
            <a:xfrm>
              <a:off x="6232974" y="3319218"/>
              <a:ext cx="4252443" cy="461665"/>
              <a:chOff x="6232974" y="3319218"/>
              <a:chExt cx="4252443" cy="461665"/>
            </a:xfrm>
          </p:grpSpPr>
          <p:sp>
            <p:nvSpPr>
              <p:cNvPr id="50" name="TextBox 8">
                <a:extLst>
                  <a:ext uri="{FF2B5EF4-FFF2-40B4-BE49-F238E27FC236}">
                    <a16:creationId xmlns:a16="http://schemas.microsoft.com/office/drawing/2014/main" id="{4457BD15-2EE6-41BD-8E12-C8AA6754970B}"/>
                  </a:ext>
                </a:extLst>
              </p:cNvPr>
              <p:cNvSpPr txBox="1"/>
              <p:nvPr/>
            </p:nvSpPr>
            <p:spPr>
              <a:xfrm>
                <a:off x="6232974" y="3319218"/>
                <a:ext cx="247823" cy="46166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45719" rIns="45719">
                <a:spAutoFit/>
              </a:bodyPr>
              <a:lstStyle>
                <a:lvl1pPr algn="r">
                  <a:defRPr sz="2400">
                    <a:solidFill>
                      <a:schemeClr val="accent1"/>
                    </a:solidFill>
                  </a:defRPr>
                </a:lvl1pPr>
              </a:lstStyle>
              <a:p>
                <a:r>
                  <a:rPr lang="en-US">
                    <a:latin typeface="+mn-lt"/>
                    <a:ea typeface="Open Sans Semibold" panose="020B0706030804020204" pitchFamily="34" charset="0"/>
                    <a:cs typeface="Open Sans Semibold" panose="020B0706030804020204" pitchFamily="34" charset="0"/>
                  </a:rPr>
                  <a:t>5</a:t>
                </a:r>
                <a:endParaRPr>
                  <a:latin typeface="+mn-lt"/>
                  <a:ea typeface="Open Sans Semibold" panose="020B0706030804020204" pitchFamily="34" charset="0"/>
                  <a:cs typeface="Open Sans Semibold" panose="020B0706030804020204" pitchFamily="34" charset="0"/>
                </a:endParaRPr>
              </a:p>
            </p:txBody>
          </p:sp>
          <p:sp>
            <p:nvSpPr>
              <p:cNvPr id="52" name="TextBox 10">
                <a:extLst>
                  <a:ext uri="{FF2B5EF4-FFF2-40B4-BE49-F238E27FC236}">
                    <a16:creationId xmlns:a16="http://schemas.microsoft.com/office/drawing/2014/main" id="{0591DDEE-AC9D-44E4-8E3A-45EA9543ADA4}"/>
                  </a:ext>
                </a:extLst>
              </p:cNvPr>
              <p:cNvSpPr txBox="1"/>
              <p:nvPr/>
            </p:nvSpPr>
            <p:spPr>
              <a:xfrm>
                <a:off x="6690657" y="3372662"/>
                <a:ext cx="3794760" cy="35477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p>
                <a:pPr>
                  <a:lnSpc>
                    <a:spcPct val="85000"/>
                  </a:lnSpc>
                  <a:defRPr sz="2000">
                    <a:solidFill>
                      <a:srgbClr val="000000"/>
                    </a:solidFill>
                    <a:latin typeface="Open Sans Semibold"/>
                    <a:ea typeface="Open Sans Semibold"/>
                    <a:cs typeface="Open Sans Semibold"/>
                    <a:sym typeface="Open Sans Semibold"/>
                  </a:defRPr>
                </a:pPr>
                <a:r>
                  <a:rPr lang="en-US" sz="2000">
                    <a:latin typeface="+mn-lt"/>
                    <a:ea typeface="Open Sans Semibold" panose="020B0706030804020204" pitchFamily="34" charset="0"/>
                    <a:cs typeface="Open Sans Semibold" panose="020B0706030804020204" pitchFamily="34" charset="0"/>
                  </a:rPr>
                  <a:t>Credentials</a:t>
                </a:r>
              </a:p>
            </p:txBody>
          </p:sp>
        </p:grpSp>
        <p:sp>
          <p:nvSpPr>
            <p:cNvPr id="27" name="Oval 26">
              <a:extLst>
                <a:ext uri="{FF2B5EF4-FFF2-40B4-BE49-F238E27FC236}">
                  <a16:creationId xmlns:a16="http://schemas.microsoft.com/office/drawing/2014/main" id="{55AD987A-38B8-E9D9-0BBC-CD579D9FB308}"/>
                </a:ext>
              </a:extLst>
            </p:cNvPr>
            <p:cNvSpPr/>
            <p:nvPr/>
          </p:nvSpPr>
          <p:spPr>
            <a:xfrm>
              <a:off x="5635039" y="3229063"/>
              <a:ext cx="182880" cy="641975"/>
            </a:xfrm>
            <a:prstGeom prst="ellipse">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n-lt"/>
                <a:ea typeface="Open Sans"/>
                <a:cs typeface="Open Sans"/>
                <a:sym typeface="Open Sans"/>
              </a:endParaRPr>
            </a:p>
          </p:txBody>
        </p:sp>
      </p:grpSp>
      <p:grpSp>
        <p:nvGrpSpPr>
          <p:cNvPr id="51" name="Group 50">
            <a:extLst>
              <a:ext uri="{FF2B5EF4-FFF2-40B4-BE49-F238E27FC236}">
                <a16:creationId xmlns:a16="http://schemas.microsoft.com/office/drawing/2014/main" id="{6170CAA7-1233-96A6-FE18-84133CE00AA8}"/>
              </a:ext>
            </a:extLst>
          </p:cNvPr>
          <p:cNvGrpSpPr/>
          <p:nvPr/>
        </p:nvGrpSpPr>
        <p:grpSpPr>
          <a:xfrm>
            <a:off x="5629552" y="3829709"/>
            <a:ext cx="4846720" cy="641975"/>
            <a:chOff x="5638697" y="3910754"/>
            <a:chExt cx="4846720" cy="641975"/>
          </a:xfrm>
        </p:grpSpPr>
        <p:grpSp>
          <p:nvGrpSpPr>
            <p:cNvPr id="41" name="Group 40">
              <a:extLst>
                <a:ext uri="{FF2B5EF4-FFF2-40B4-BE49-F238E27FC236}">
                  <a16:creationId xmlns:a16="http://schemas.microsoft.com/office/drawing/2014/main" id="{ACBD9541-D2B9-8509-CDAA-0EB6B7BF48F2}"/>
                </a:ext>
              </a:extLst>
            </p:cNvPr>
            <p:cNvGrpSpPr/>
            <p:nvPr/>
          </p:nvGrpSpPr>
          <p:grpSpPr>
            <a:xfrm>
              <a:off x="6232974" y="4000909"/>
              <a:ext cx="4252443" cy="461665"/>
              <a:chOff x="6232974" y="4000909"/>
              <a:chExt cx="4252443" cy="461665"/>
            </a:xfrm>
          </p:grpSpPr>
          <p:sp>
            <p:nvSpPr>
              <p:cNvPr id="2" name="TextBox 8">
                <a:extLst>
                  <a:ext uri="{FF2B5EF4-FFF2-40B4-BE49-F238E27FC236}">
                    <a16:creationId xmlns:a16="http://schemas.microsoft.com/office/drawing/2014/main" id="{8DAB7A1E-FAD5-63F6-1941-2934C5A8A3E8}"/>
                  </a:ext>
                </a:extLst>
              </p:cNvPr>
              <p:cNvSpPr txBox="1"/>
              <p:nvPr/>
            </p:nvSpPr>
            <p:spPr>
              <a:xfrm>
                <a:off x="6232974" y="4000909"/>
                <a:ext cx="247823" cy="46166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r">
                  <a:defRPr sz="2400">
                    <a:solidFill>
                      <a:schemeClr val="accent1"/>
                    </a:solidFill>
                  </a:defRPr>
                </a:lvl1pPr>
              </a:lstStyle>
              <a:p>
                <a:r>
                  <a:rPr lang="en-US">
                    <a:latin typeface="+mn-lt"/>
                    <a:ea typeface="Open Sans Semibold" panose="020B0706030804020204" pitchFamily="34" charset="0"/>
                    <a:cs typeface="Open Sans Semibold" panose="020B0706030804020204" pitchFamily="34" charset="0"/>
                  </a:rPr>
                  <a:t>6</a:t>
                </a:r>
                <a:endParaRPr>
                  <a:latin typeface="+mn-lt"/>
                  <a:ea typeface="Open Sans Semibold" panose="020B0706030804020204" pitchFamily="34" charset="0"/>
                  <a:cs typeface="Open Sans Semibold" panose="020B0706030804020204" pitchFamily="34" charset="0"/>
                </a:endParaRPr>
              </a:p>
            </p:txBody>
          </p:sp>
          <p:sp>
            <p:nvSpPr>
              <p:cNvPr id="4" name="TextBox 10">
                <a:extLst>
                  <a:ext uri="{FF2B5EF4-FFF2-40B4-BE49-F238E27FC236}">
                    <a16:creationId xmlns:a16="http://schemas.microsoft.com/office/drawing/2014/main" id="{1CDE2912-910F-C6F8-3582-AFB28F4DBB4B}"/>
                  </a:ext>
                </a:extLst>
              </p:cNvPr>
              <p:cNvSpPr txBox="1"/>
              <p:nvPr/>
            </p:nvSpPr>
            <p:spPr>
              <a:xfrm>
                <a:off x="6690657" y="4054353"/>
                <a:ext cx="3794760" cy="354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nSpc>
                    <a:spcPct val="85000"/>
                  </a:lnSpc>
                  <a:defRPr sz="2000">
                    <a:solidFill>
                      <a:srgbClr val="000000"/>
                    </a:solidFill>
                    <a:latin typeface="Open Sans Semibold"/>
                    <a:ea typeface="Open Sans Semibold"/>
                    <a:cs typeface="Open Sans Semibold"/>
                    <a:sym typeface="Open Sans Semibold"/>
                  </a:defRPr>
                </a:pPr>
                <a:r>
                  <a:rPr lang="en-US" sz="2000">
                    <a:latin typeface="+mn-lt"/>
                    <a:ea typeface="Open Sans Semibold" panose="020B0706030804020204" pitchFamily="34" charset="0"/>
                    <a:cs typeface="Open Sans Semibold" panose="020B0706030804020204" pitchFamily="34" charset="0"/>
                  </a:rPr>
                  <a:t>About Deloitte </a:t>
                </a:r>
              </a:p>
            </p:txBody>
          </p:sp>
        </p:grpSp>
        <p:sp>
          <p:nvSpPr>
            <p:cNvPr id="28" name="Oval 27">
              <a:extLst>
                <a:ext uri="{FF2B5EF4-FFF2-40B4-BE49-F238E27FC236}">
                  <a16:creationId xmlns:a16="http://schemas.microsoft.com/office/drawing/2014/main" id="{9585B66D-7837-E7FC-75D3-0FD8AF04272A}"/>
                </a:ext>
              </a:extLst>
            </p:cNvPr>
            <p:cNvSpPr/>
            <p:nvPr/>
          </p:nvSpPr>
          <p:spPr>
            <a:xfrm>
              <a:off x="5638697" y="3910754"/>
              <a:ext cx="182880" cy="641975"/>
            </a:xfrm>
            <a:prstGeom prst="ellipse">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n-lt"/>
                <a:ea typeface="Open Sans"/>
                <a:cs typeface="Open Sans"/>
                <a:sym typeface="Open Sans"/>
              </a:endParaRPr>
            </a:p>
          </p:txBody>
        </p:sp>
      </p:grpSp>
      <p:grpSp>
        <p:nvGrpSpPr>
          <p:cNvPr id="53" name="Group 52">
            <a:extLst>
              <a:ext uri="{FF2B5EF4-FFF2-40B4-BE49-F238E27FC236}">
                <a16:creationId xmlns:a16="http://schemas.microsoft.com/office/drawing/2014/main" id="{9406CD84-AEB0-1222-321F-A227E7FA8F35}"/>
              </a:ext>
            </a:extLst>
          </p:cNvPr>
          <p:cNvGrpSpPr/>
          <p:nvPr/>
        </p:nvGrpSpPr>
        <p:grpSpPr>
          <a:xfrm>
            <a:off x="5631381" y="4505167"/>
            <a:ext cx="4843062" cy="641975"/>
            <a:chOff x="5642355" y="4550550"/>
            <a:chExt cx="4843062" cy="641975"/>
          </a:xfrm>
        </p:grpSpPr>
        <p:grpSp>
          <p:nvGrpSpPr>
            <p:cNvPr id="42" name="Group 41">
              <a:extLst>
                <a:ext uri="{FF2B5EF4-FFF2-40B4-BE49-F238E27FC236}">
                  <a16:creationId xmlns:a16="http://schemas.microsoft.com/office/drawing/2014/main" id="{ED633E07-80B8-DE92-F144-31E43FA8695C}"/>
                </a:ext>
              </a:extLst>
            </p:cNvPr>
            <p:cNvGrpSpPr/>
            <p:nvPr/>
          </p:nvGrpSpPr>
          <p:grpSpPr>
            <a:xfrm>
              <a:off x="6232974" y="4640705"/>
              <a:ext cx="4252443" cy="461665"/>
              <a:chOff x="6232974" y="4640705"/>
              <a:chExt cx="4252443" cy="461665"/>
            </a:xfrm>
          </p:grpSpPr>
          <p:sp>
            <p:nvSpPr>
              <p:cNvPr id="3" name="TextBox 9">
                <a:extLst>
                  <a:ext uri="{FF2B5EF4-FFF2-40B4-BE49-F238E27FC236}">
                    <a16:creationId xmlns:a16="http://schemas.microsoft.com/office/drawing/2014/main" id="{BFD9CAE3-DFF1-0772-1A44-766B60B57115}"/>
                  </a:ext>
                </a:extLst>
              </p:cNvPr>
              <p:cNvSpPr txBox="1"/>
              <p:nvPr/>
            </p:nvSpPr>
            <p:spPr>
              <a:xfrm>
                <a:off x="6232974" y="4640705"/>
                <a:ext cx="247823" cy="46166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r">
                  <a:defRPr sz="2400">
                    <a:solidFill>
                      <a:schemeClr val="accent1"/>
                    </a:solidFill>
                  </a:defRPr>
                </a:lvl1pPr>
              </a:lstStyle>
              <a:p>
                <a:r>
                  <a:rPr lang="en-US">
                    <a:latin typeface="+mn-lt"/>
                    <a:ea typeface="Open Sans Semibold" panose="020B0706030804020204" pitchFamily="34" charset="0"/>
                    <a:cs typeface="Open Sans Semibold" panose="020B0706030804020204" pitchFamily="34" charset="0"/>
                  </a:rPr>
                  <a:t>7</a:t>
                </a:r>
                <a:endParaRPr>
                  <a:latin typeface="+mn-lt"/>
                  <a:ea typeface="Open Sans Semibold" panose="020B0706030804020204" pitchFamily="34" charset="0"/>
                  <a:cs typeface="Open Sans Semibold" panose="020B0706030804020204" pitchFamily="34" charset="0"/>
                </a:endParaRPr>
              </a:p>
            </p:txBody>
          </p:sp>
          <p:sp>
            <p:nvSpPr>
              <p:cNvPr id="5" name="TextBox 11">
                <a:extLst>
                  <a:ext uri="{FF2B5EF4-FFF2-40B4-BE49-F238E27FC236}">
                    <a16:creationId xmlns:a16="http://schemas.microsoft.com/office/drawing/2014/main" id="{4C3421BE-7DEC-EB84-EC44-0EF7CA85C895}"/>
                  </a:ext>
                </a:extLst>
              </p:cNvPr>
              <p:cNvSpPr txBox="1"/>
              <p:nvPr/>
            </p:nvSpPr>
            <p:spPr>
              <a:xfrm>
                <a:off x="6690657" y="4694149"/>
                <a:ext cx="3794760" cy="354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nSpc>
                    <a:spcPct val="85000"/>
                  </a:lnSpc>
                  <a:defRPr sz="2000">
                    <a:solidFill>
                      <a:srgbClr val="000000"/>
                    </a:solidFill>
                    <a:latin typeface="Open Sans Semibold"/>
                    <a:ea typeface="Open Sans Semibold"/>
                    <a:cs typeface="Open Sans Semibold"/>
                    <a:sym typeface="Open Sans Semibold"/>
                  </a:defRPr>
                </a:pPr>
                <a:r>
                  <a:rPr lang="en-US" sz="2000">
                    <a:latin typeface="+mn-lt"/>
                    <a:ea typeface="Open Sans Semibold" panose="020B0706030804020204" pitchFamily="34" charset="0"/>
                    <a:cs typeface="Open Sans Semibold" panose="020B0706030804020204" pitchFamily="34" charset="0"/>
                  </a:rPr>
                  <a:t>Assumptions</a:t>
                </a:r>
              </a:p>
            </p:txBody>
          </p:sp>
        </p:grpSp>
        <p:sp>
          <p:nvSpPr>
            <p:cNvPr id="29" name="Oval 28">
              <a:extLst>
                <a:ext uri="{FF2B5EF4-FFF2-40B4-BE49-F238E27FC236}">
                  <a16:creationId xmlns:a16="http://schemas.microsoft.com/office/drawing/2014/main" id="{DBBC7453-959F-4B88-128A-4049CDF73F67}"/>
                </a:ext>
              </a:extLst>
            </p:cNvPr>
            <p:cNvSpPr/>
            <p:nvPr/>
          </p:nvSpPr>
          <p:spPr>
            <a:xfrm>
              <a:off x="5642355" y="4550550"/>
              <a:ext cx="182880" cy="641975"/>
            </a:xfrm>
            <a:prstGeom prst="ellipse">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n-lt"/>
                <a:ea typeface="Open Sans"/>
                <a:cs typeface="Open Sans"/>
                <a:sym typeface="Open Sans"/>
              </a:endParaRPr>
            </a:p>
          </p:txBody>
        </p:sp>
      </p:grpSp>
      <p:grpSp>
        <p:nvGrpSpPr>
          <p:cNvPr id="54" name="Group 53">
            <a:extLst>
              <a:ext uri="{FF2B5EF4-FFF2-40B4-BE49-F238E27FC236}">
                <a16:creationId xmlns:a16="http://schemas.microsoft.com/office/drawing/2014/main" id="{C7AC3986-CB74-070F-5BEA-5E133727A38B}"/>
              </a:ext>
            </a:extLst>
          </p:cNvPr>
          <p:cNvGrpSpPr/>
          <p:nvPr/>
        </p:nvGrpSpPr>
        <p:grpSpPr>
          <a:xfrm>
            <a:off x="5635039" y="5180625"/>
            <a:ext cx="5377518" cy="641975"/>
            <a:chOff x="5649671" y="5154450"/>
            <a:chExt cx="5377518" cy="641975"/>
          </a:xfrm>
        </p:grpSpPr>
        <p:grpSp>
          <p:nvGrpSpPr>
            <p:cNvPr id="43" name="Group 42">
              <a:extLst>
                <a:ext uri="{FF2B5EF4-FFF2-40B4-BE49-F238E27FC236}">
                  <a16:creationId xmlns:a16="http://schemas.microsoft.com/office/drawing/2014/main" id="{378B8FDC-9E98-C987-52F5-3E15A2927660}"/>
                </a:ext>
              </a:extLst>
            </p:cNvPr>
            <p:cNvGrpSpPr/>
            <p:nvPr/>
          </p:nvGrpSpPr>
          <p:grpSpPr>
            <a:xfrm>
              <a:off x="6232974" y="5244605"/>
              <a:ext cx="4794215" cy="461665"/>
              <a:chOff x="6232974" y="5244605"/>
              <a:chExt cx="4794215" cy="461665"/>
            </a:xfrm>
          </p:grpSpPr>
          <p:sp>
            <p:nvSpPr>
              <p:cNvPr id="6" name="TextBox 12">
                <a:extLst>
                  <a:ext uri="{FF2B5EF4-FFF2-40B4-BE49-F238E27FC236}">
                    <a16:creationId xmlns:a16="http://schemas.microsoft.com/office/drawing/2014/main" id="{2513D953-5A9C-B480-AC94-AE728A60C3C1}"/>
                  </a:ext>
                </a:extLst>
              </p:cNvPr>
              <p:cNvSpPr txBox="1"/>
              <p:nvPr/>
            </p:nvSpPr>
            <p:spPr>
              <a:xfrm>
                <a:off x="6232974" y="5244605"/>
                <a:ext cx="247823" cy="46166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r">
                  <a:defRPr sz="2400">
                    <a:solidFill>
                      <a:schemeClr val="accent1"/>
                    </a:solidFill>
                  </a:defRPr>
                </a:lvl1pPr>
              </a:lstStyle>
              <a:p>
                <a:r>
                  <a:rPr lang="en-US">
                    <a:latin typeface="+mn-lt"/>
                    <a:ea typeface="Open Sans Semibold" panose="020B0706030804020204" pitchFamily="34" charset="0"/>
                    <a:cs typeface="Open Sans Semibold" panose="020B0706030804020204" pitchFamily="34" charset="0"/>
                  </a:rPr>
                  <a:t>8</a:t>
                </a:r>
                <a:endParaRPr>
                  <a:latin typeface="+mn-lt"/>
                  <a:ea typeface="Open Sans Semibold" panose="020B0706030804020204" pitchFamily="34" charset="0"/>
                  <a:cs typeface="Open Sans Semibold" panose="020B0706030804020204" pitchFamily="34" charset="0"/>
                </a:endParaRPr>
              </a:p>
            </p:txBody>
          </p:sp>
          <p:sp>
            <p:nvSpPr>
              <p:cNvPr id="7" name="TextBox 13">
                <a:extLst>
                  <a:ext uri="{FF2B5EF4-FFF2-40B4-BE49-F238E27FC236}">
                    <a16:creationId xmlns:a16="http://schemas.microsoft.com/office/drawing/2014/main" id="{C2CBAE67-A811-BBF8-B428-B9225CE227C2}"/>
                  </a:ext>
                </a:extLst>
              </p:cNvPr>
              <p:cNvSpPr txBox="1"/>
              <p:nvPr/>
            </p:nvSpPr>
            <p:spPr>
              <a:xfrm>
                <a:off x="6690657" y="5298049"/>
                <a:ext cx="4336532" cy="35625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a:lnSpc>
                    <a:spcPct val="85000"/>
                  </a:lnSpc>
                  <a:defRPr sz="2000">
                    <a:solidFill>
                      <a:srgbClr val="000000"/>
                    </a:solidFill>
                    <a:latin typeface="Open Sans Semibold"/>
                    <a:ea typeface="Open Sans Semibold"/>
                    <a:cs typeface="Open Sans Semibold"/>
                    <a:sym typeface="Open Sans Semibold"/>
                  </a:defRPr>
                </a:pPr>
                <a:r>
                  <a:rPr lang="en-US" sz="2000" dirty="0">
                    <a:latin typeface="+mn-lt"/>
                    <a:ea typeface="Open Sans Semibold" panose="020B0706030804020204" pitchFamily="34" charset="0"/>
                    <a:cs typeface="Open Sans Semibold" panose="020B0706030804020204" pitchFamily="34" charset="0"/>
                  </a:rPr>
                  <a:t>General Business Terms and Conditions</a:t>
                </a:r>
              </a:p>
            </p:txBody>
          </p:sp>
        </p:grpSp>
        <p:sp>
          <p:nvSpPr>
            <p:cNvPr id="30" name="Oval 29">
              <a:extLst>
                <a:ext uri="{FF2B5EF4-FFF2-40B4-BE49-F238E27FC236}">
                  <a16:creationId xmlns:a16="http://schemas.microsoft.com/office/drawing/2014/main" id="{111A5797-4DB2-1B5C-DD0B-49A3B8E076D0}"/>
                </a:ext>
              </a:extLst>
            </p:cNvPr>
            <p:cNvSpPr/>
            <p:nvPr/>
          </p:nvSpPr>
          <p:spPr>
            <a:xfrm>
              <a:off x="5649671" y="5154450"/>
              <a:ext cx="182880" cy="641975"/>
            </a:xfrm>
            <a:prstGeom prst="ellipse">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n-lt"/>
                <a:ea typeface="Open Sans"/>
                <a:cs typeface="Open Sans"/>
                <a:sym typeface="Open Sans"/>
              </a:endParaRPr>
            </a:p>
          </p:txBody>
        </p:sp>
      </p:grpSp>
    </p:spTree>
    <p:extLst>
      <p:ext uri="{BB962C8B-B14F-4D97-AF65-F5344CB8AC3E}">
        <p14:creationId xmlns:p14="http://schemas.microsoft.com/office/powerpoint/2010/main" val="2880389519"/>
      </p:ext>
    </p:ext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lowchart: Process 3">
            <a:extLst>
              <a:ext uri="{FF2B5EF4-FFF2-40B4-BE49-F238E27FC236}">
                <a16:creationId xmlns:a16="http://schemas.microsoft.com/office/drawing/2014/main" id="{5AF9B94B-9569-6456-E8BD-0807CEFD9CBC}"/>
              </a:ext>
            </a:extLst>
          </p:cNvPr>
          <p:cNvSpPr/>
          <p:nvPr/>
        </p:nvSpPr>
        <p:spPr bwMode="gray">
          <a:xfrm>
            <a:off x="7337040" y="2018974"/>
            <a:ext cx="4226294" cy="4447309"/>
          </a:xfrm>
          <a:prstGeom prst="flowChartProcess">
            <a:avLst/>
          </a:prstGeom>
          <a:noFill/>
          <a:ln w="3810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pic>
        <p:nvPicPr>
          <p:cNvPr id="16" name="Picture 15">
            <a:extLst>
              <a:ext uri="{FF2B5EF4-FFF2-40B4-BE49-F238E27FC236}">
                <a16:creationId xmlns:a16="http://schemas.microsoft.com/office/drawing/2014/main" id="{A8C3E685-1CA5-7C27-54F8-F92F8FA1241C}"/>
              </a:ext>
            </a:extLst>
          </p:cNvPr>
          <p:cNvPicPr>
            <a:picLocks noChangeAspect="1"/>
          </p:cNvPicPr>
          <p:nvPr/>
        </p:nvPicPr>
        <p:blipFill>
          <a:blip r:embed="rId2"/>
          <a:stretch>
            <a:fillRect/>
          </a:stretch>
        </p:blipFill>
        <p:spPr>
          <a:xfrm>
            <a:off x="9185616" y="1535515"/>
            <a:ext cx="733646" cy="733646"/>
          </a:xfrm>
          <a:prstGeom prst="rect">
            <a:avLst/>
          </a:prstGeom>
        </p:spPr>
      </p:pic>
      <p:sp>
        <p:nvSpPr>
          <p:cNvPr id="17" name="TextBox 16">
            <a:extLst>
              <a:ext uri="{FF2B5EF4-FFF2-40B4-BE49-F238E27FC236}">
                <a16:creationId xmlns:a16="http://schemas.microsoft.com/office/drawing/2014/main" id="{06C0066E-45D8-F23A-6F3A-FD4356816B2F}"/>
              </a:ext>
            </a:extLst>
          </p:cNvPr>
          <p:cNvSpPr txBox="1"/>
          <p:nvPr/>
        </p:nvSpPr>
        <p:spPr>
          <a:xfrm>
            <a:off x="7778883" y="2311380"/>
            <a:ext cx="3547112" cy="25391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285750" indent="-285750">
              <a:lnSpc>
                <a:spcPct val="150000"/>
              </a:lnSpc>
              <a:buFont typeface="Wingdings" panose="05000000000000000000" pitchFamily="2" charset="2"/>
              <a:buChar char="ü"/>
            </a:pPr>
            <a:r>
              <a:rPr lang="en-US" sz="1100" kern="1200" dirty="0">
                <a:solidFill>
                  <a:prstClr val="black"/>
                </a:solidFill>
                <a:latin typeface="+mn-lt"/>
                <a:ea typeface="Verdana" panose="020B0604030504040204" pitchFamily="34" charset="0"/>
                <a:cs typeface="Open Sans Light" panose="020B0306030504020204" pitchFamily="34" charset="0"/>
              </a:rPr>
              <a:t>BCM Awareness and Training Program</a:t>
            </a:r>
          </a:p>
          <a:p>
            <a:pPr marL="285750" indent="-285750">
              <a:lnSpc>
                <a:spcPct val="150000"/>
              </a:lnSpc>
              <a:buFont typeface="Wingdings" panose="05000000000000000000" pitchFamily="2" charset="2"/>
              <a:buChar char="ü"/>
            </a:pPr>
            <a:r>
              <a:rPr lang="en-US" sz="1100" kern="1200" dirty="0">
                <a:solidFill>
                  <a:prstClr val="black"/>
                </a:solidFill>
                <a:latin typeface="+mn-lt"/>
                <a:ea typeface="Verdana" panose="020B0604030504040204" pitchFamily="34" charset="0"/>
                <a:cs typeface="Open Sans Light" panose="020B0306030504020204" pitchFamily="34" charset="0"/>
              </a:rPr>
              <a:t>BCM Awareness materials (4 awareness emails, two posters, 2 screensaver messages)</a:t>
            </a:r>
          </a:p>
          <a:p>
            <a:pPr marL="285750" indent="-285750">
              <a:lnSpc>
                <a:spcPct val="150000"/>
              </a:lnSpc>
              <a:buFont typeface="Wingdings" panose="05000000000000000000" pitchFamily="2" charset="2"/>
              <a:buChar char="ü"/>
            </a:pPr>
            <a:r>
              <a:rPr lang="en-US" sz="1100" kern="1200" dirty="0">
                <a:solidFill>
                  <a:prstClr val="black"/>
                </a:solidFill>
                <a:latin typeface="+mn-lt"/>
                <a:ea typeface="Verdana" panose="020B0604030504040204" pitchFamily="34" charset="0"/>
                <a:cs typeface="Open Sans Light" panose="020B0306030504020204" pitchFamily="34" charset="0"/>
              </a:rPr>
              <a:t>One (01) BCM awareness session for general staff</a:t>
            </a:r>
          </a:p>
          <a:p>
            <a:pPr marL="285750" indent="-285750">
              <a:lnSpc>
                <a:spcPct val="150000"/>
              </a:lnSpc>
              <a:buFont typeface="Wingdings" panose="05000000000000000000" pitchFamily="2" charset="2"/>
              <a:buChar char="ü"/>
            </a:pPr>
            <a:r>
              <a:rPr lang="en-US" sz="1100" kern="1200" dirty="0">
                <a:solidFill>
                  <a:prstClr val="black"/>
                </a:solidFill>
                <a:latin typeface="+mn-lt"/>
                <a:ea typeface="Verdana" panose="020B0604030504040204" pitchFamily="34" charset="0"/>
                <a:cs typeface="Open Sans Light" panose="020B0306030504020204" pitchFamily="34" charset="0"/>
              </a:rPr>
              <a:t>One (01) training session for BCM Committee (C-suite) covering key governance activities, crisis management and crisis communication aspects, etc.</a:t>
            </a:r>
          </a:p>
          <a:p>
            <a:pPr marL="285750" indent="-285750">
              <a:lnSpc>
                <a:spcPct val="150000"/>
              </a:lnSpc>
              <a:buFont typeface="Wingdings" panose="05000000000000000000" pitchFamily="2" charset="2"/>
              <a:buChar char="ü"/>
            </a:pPr>
            <a:r>
              <a:rPr lang="en-US" sz="1100" kern="1200" dirty="0">
                <a:solidFill>
                  <a:prstClr val="black"/>
                </a:solidFill>
                <a:latin typeface="+mn-lt"/>
                <a:ea typeface="Verdana" panose="020B0604030504040204" pitchFamily="34" charset="0"/>
                <a:cs typeface="Open Sans Light" panose="020B0306030504020204" pitchFamily="34" charset="0"/>
              </a:rPr>
              <a:t>Two (02) training sessions for BCM Champions to train them on all BCMS components and key plans </a:t>
            </a:r>
          </a:p>
          <a:p>
            <a:pPr marL="285750" indent="-285750">
              <a:lnSpc>
                <a:spcPct val="150000"/>
              </a:lnSpc>
              <a:buFont typeface="Wingdings" panose="05000000000000000000" pitchFamily="2" charset="2"/>
              <a:buChar char="ü"/>
            </a:pPr>
            <a:r>
              <a:rPr lang="en-US" sz="1100" kern="1200" dirty="0">
                <a:solidFill>
                  <a:prstClr val="black"/>
                </a:solidFill>
                <a:latin typeface="+mn-lt"/>
                <a:ea typeface="Verdana" panose="020B0604030504040204" pitchFamily="34" charset="0"/>
                <a:cs typeface="Open Sans Light" panose="020B0306030504020204" pitchFamily="34" charset="0"/>
              </a:rPr>
              <a:t>Material for E-Learning module (content only)</a:t>
            </a:r>
            <a:endParaRPr kumimoji="0" lang="en-AE" sz="1100" b="0" i="0" u="none" strike="noStrike" cap="none" spc="0" normalizeH="0" baseline="0" dirty="0">
              <a:ln>
                <a:noFill/>
              </a:ln>
              <a:solidFill>
                <a:srgbClr val="000000"/>
              </a:solidFill>
              <a:effectLst/>
              <a:uFillTx/>
              <a:latin typeface="+mn-lt"/>
              <a:ea typeface="Open Sans Light"/>
              <a:cs typeface="Open Sans Light"/>
              <a:sym typeface="Open Sans Light"/>
            </a:endParaRPr>
          </a:p>
        </p:txBody>
      </p:sp>
      <p:sp>
        <p:nvSpPr>
          <p:cNvPr id="18" name="Rectangle 17">
            <a:extLst>
              <a:ext uri="{FF2B5EF4-FFF2-40B4-BE49-F238E27FC236}">
                <a16:creationId xmlns:a16="http://schemas.microsoft.com/office/drawing/2014/main" id="{18ABB6EA-A5D8-1AEE-0025-457D54A6A3A5}"/>
              </a:ext>
            </a:extLst>
          </p:cNvPr>
          <p:cNvSpPr/>
          <p:nvPr/>
        </p:nvSpPr>
        <p:spPr bwMode="gray">
          <a:xfrm>
            <a:off x="381970" y="1784252"/>
            <a:ext cx="11599333" cy="4834428"/>
          </a:xfrm>
          <a:prstGeom prst="rect">
            <a:avLst/>
          </a:prstGeom>
          <a:noFill/>
          <a:ln w="19050" algn="ctr">
            <a:solidFill>
              <a:schemeClr val="accent2"/>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sp>
        <p:nvSpPr>
          <p:cNvPr id="19" name="TextBox 18">
            <a:extLst>
              <a:ext uri="{FF2B5EF4-FFF2-40B4-BE49-F238E27FC236}">
                <a16:creationId xmlns:a16="http://schemas.microsoft.com/office/drawing/2014/main" id="{9D08F294-05A0-2789-EF7B-BFE75FB1B9FC}"/>
              </a:ext>
            </a:extLst>
          </p:cNvPr>
          <p:cNvSpPr txBox="1"/>
          <p:nvPr/>
        </p:nvSpPr>
        <p:spPr>
          <a:xfrm>
            <a:off x="628665" y="2228374"/>
            <a:ext cx="6290405" cy="387490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285750" indent="-285750">
              <a:lnSpc>
                <a:spcPct val="150000"/>
              </a:lnSpc>
              <a:buFont typeface="Wingdings" panose="05000000000000000000" pitchFamily="2" charset="2"/>
              <a:buChar char="ü"/>
              <a:defRPr sz="1800">
                <a:solidFill>
                  <a:schemeClr val="tx2"/>
                </a:solidFill>
                <a:latin typeface="+mn-lt"/>
              </a:defRPr>
            </a:lvl1pPr>
          </a:lstStyle>
          <a:p>
            <a:pPr marL="0" marR="0" lvl="0" indent="0" algn="just" defTabSz="914400" rtl="0" eaLnBrk="1" fontAlgn="auto" latinLnBrk="0" hangingPunct="1">
              <a:lnSpc>
                <a:spcPct val="100000"/>
              </a:lnSpc>
              <a:spcBef>
                <a:spcPts val="0"/>
              </a:spcBef>
              <a:spcAft>
                <a:spcPts val="591"/>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Open Sans Light" panose="020B0306030504020204" pitchFamily="34" charset="0"/>
                <a:cs typeface="Calibri" panose="020F0502020204030204" pitchFamily="34" charset="0"/>
              </a:rPr>
              <a:t>The aim of this phase is to promote the vision and purpose of Salam’s BCMS and its benefits to various stakeholder groups. We will do this through the following:</a:t>
            </a:r>
          </a:p>
          <a:p>
            <a:pPr marL="285750" lvl="1" indent="-285750" algn="just" eaLnBrk="1">
              <a:lnSpc>
                <a:spcPct val="120000"/>
              </a:lnSpc>
              <a:spcAft>
                <a:spcPts val="600"/>
              </a:spcAft>
              <a:buSzPct val="100000"/>
              <a:buFont typeface="Wingdings" panose="05000000000000000000" pitchFamily="2" charset="2"/>
              <a:buChar char="Ø"/>
              <a:defRPr/>
            </a:pPr>
            <a:r>
              <a:rPr lang="en-US" sz="1100" kern="1200" dirty="0">
                <a:solidFill>
                  <a:prstClr val="black"/>
                </a:solidFill>
                <a:latin typeface="+mn-lt"/>
                <a:ea typeface="Verdana" panose="020B0604030504040204" pitchFamily="34" charset="0"/>
                <a:cs typeface="Open Sans Light" panose="020B0306030504020204" pitchFamily="34" charset="0"/>
              </a:rPr>
              <a:t>Propose a BCM Awareness and Training Program covering methodologies and approach, subjects and areas, types and channels, criteria / maturity measurements and levels, objectives, target audiences, RACI with HR and corporate &amp; communication.</a:t>
            </a:r>
          </a:p>
          <a:p>
            <a:pPr marL="285750" lvl="1" indent="-285750" algn="just" eaLnBrk="1">
              <a:lnSpc>
                <a:spcPct val="120000"/>
              </a:lnSpc>
              <a:spcAft>
                <a:spcPts val="600"/>
              </a:spcAft>
              <a:buSzPct val="100000"/>
              <a:buFont typeface="Wingdings" panose="05000000000000000000" pitchFamily="2" charset="2"/>
              <a:buChar char="Ø"/>
              <a:defRPr/>
            </a:pPr>
            <a:r>
              <a:rPr lang="en-US" sz="1100" kern="1200" dirty="0">
                <a:solidFill>
                  <a:prstClr val="black"/>
                </a:solidFill>
                <a:latin typeface="+mn-lt"/>
                <a:ea typeface="Verdana" panose="020B0604030504040204" pitchFamily="34" charset="0"/>
                <a:cs typeface="Open Sans Light" panose="020B0306030504020204" pitchFamily="34" charset="0"/>
              </a:rPr>
              <a:t>Develop BCM awareness and training materials (awareness emails, screensaver messages, poster, presentations)</a:t>
            </a:r>
          </a:p>
          <a:p>
            <a:pPr marL="285750" lvl="1" indent="-285750" algn="just" eaLnBrk="1">
              <a:lnSpc>
                <a:spcPct val="120000"/>
              </a:lnSpc>
              <a:spcAft>
                <a:spcPts val="600"/>
              </a:spcAft>
              <a:buSzPct val="100000"/>
              <a:buFont typeface="Wingdings" panose="05000000000000000000" pitchFamily="2" charset="2"/>
              <a:buChar char="Ø"/>
              <a:defRPr/>
            </a:pPr>
            <a:r>
              <a:rPr lang="en-US" sz="1100" kern="1200" dirty="0">
                <a:solidFill>
                  <a:prstClr val="black"/>
                </a:solidFill>
                <a:latin typeface="+mn-lt"/>
                <a:ea typeface="Verdana" panose="020B0604030504040204" pitchFamily="34" charset="0"/>
                <a:cs typeface="Open Sans Light" panose="020B0306030504020204" pitchFamily="34" charset="0"/>
              </a:rPr>
              <a:t>Conduct one (01) BCM awareness session for general staff.</a:t>
            </a:r>
          </a:p>
          <a:p>
            <a:pPr marL="285750" lvl="1" indent="-285750" algn="just" eaLnBrk="1">
              <a:lnSpc>
                <a:spcPct val="120000"/>
              </a:lnSpc>
              <a:spcAft>
                <a:spcPts val="600"/>
              </a:spcAft>
              <a:buSzPct val="100000"/>
              <a:buFont typeface="Wingdings" panose="05000000000000000000" pitchFamily="2" charset="2"/>
              <a:buChar char="Ø"/>
              <a:defRPr/>
            </a:pPr>
            <a:r>
              <a:rPr lang="en-US" sz="1100" kern="1200" dirty="0">
                <a:solidFill>
                  <a:prstClr val="black"/>
                </a:solidFill>
                <a:latin typeface="+mn-lt"/>
                <a:ea typeface="Verdana" panose="020B0604030504040204" pitchFamily="34" charset="0"/>
                <a:cs typeface="Open Sans Light" panose="020B0306030504020204" pitchFamily="34" charset="0"/>
              </a:rPr>
              <a:t>Conduct one (01) training session for BCM Committee (C-suite) covering key governance activities, crisis management and crisis communication aspects, etc.</a:t>
            </a:r>
          </a:p>
          <a:p>
            <a:pPr marL="285750" lvl="1" indent="-285750" algn="just" eaLnBrk="1">
              <a:lnSpc>
                <a:spcPct val="120000"/>
              </a:lnSpc>
              <a:spcAft>
                <a:spcPts val="600"/>
              </a:spcAft>
              <a:buSzPct val="100000"/>
              <a:buFont typeface="Wingdings" panose="05000000000000000000" pitchFamily="2" charset="2"/>
              <a:buChar char="Ø"/>
              <a:defRPr/>
            </a:pPr>
            <a:r>
              <a:rPr lang="en-US" sz="1100" kern="1200" dirty="0">
                <a:solidFill>
                  <a:prstClr val="black"/>
                </a:solidFill>
                <a:latin typeface="+mn-lt"/>
                <a:ea typeface="Verdana" panose="020B0604030504040204" pitchFamily="34" charset="0"/>
                <a:cs typeface="Open Sans Light" panose="020B0306030504020204" pitchFamily="34" charset="0"/>
              </a:rPr>
              <a:t>Conduct two (02) training sessions for BCM Champions to train them on all BCMS components and key plans </a:t>
            </a:r>
          </a:p>
          <a:p>
            <a:pPr marL="285750" lvl="1" indent="-285750" algn="just" eaLnBrk="1">
              <a:lnSpc>
                <a:spcPct val="120000"/>
              </a:lnSpc>
              <a:spcAft>
                <a:spcPts val="600"/>
              </a:spcAft>
              <a:buSzPct val="100000"/>
              <a:buFont typeface="Wingdings" panose="05000000000000000000" pitchFamily="2" charset="2"/>
              <a:buChar char="Ø"/>
              <a:defRPr/>
            </a:pPr>
            <a:r>
              <a:rPr lang="en-US" sz="1100" kern="1200" dirty="0">
                <a:solidFill>
                  <a:prstClr val="black"/>
                </a:solidFill>
                <a:latin typeface="+mn-lt"/>
                <a:ea typeface="Verdana" panose="020B0604030504040204" pitchFamily="34" charset="0"/>
                <a:cs typeface="Open Sans Light" panose="020B0306030504020204" pitchFamily="34" charset="0"/>
              </a:rPr>
              <a:t>Develop awareness material (content only) that will be used by Salam to develop an e-learning module. </a:t>
            </a:r>
          </a:p>
          <a:p>
            <a:pPr lvl="1" indent="0" algn="just" eaLnBrk="1">
              <a:lnSpc>
                <a:spcPct val="120000"/>
              </a:lnSpc>
              <a:spcAft>
                <a:spcPts val="600"/>
              </a:spcAft>
              <a:buSzPct val="100000"/>
              <a:defRPr/>
            </a:pPr>
            <a:endParaRPr lang="en-US" sz="1100" kern="1200" dirty="0">
              <a:solidFill>
                <a:prstClr val="black"/>
              </a:solidFill>
              <a:latin typeface="+mn-lt"/>
              <a:ea typeface="Verdana" panose="020B0604030504040204" pitchFamily="34" charset="0"/>
              <a:cs typeface="Open Sans Light" panose="020B0306030504020204" pitchFamily="34" charset="0"/>
            </a:endParaRPr>
          </a:p>
          <a:p>
            <a:pPr lvl="1" indent="0" algn="just" eaLnBrk="1">
              <a:lnSpc>
                <a:spcPct val="120000"/>
              </a:lnSpc>
              <a:spcAft>
                <a:spcPts val="600"/>
              </a:spcAft>
              <a:buSzPct val="100000"/>
              <a:defRPr/>
            </a:pPr>
            <a:r>
              <a:rPr lang="en-US" sz="1100" kern="1200" dirty="0">
                <a:solidFill>
                  <a:prstClr val="black"/>
                </a:solidFill>
                <a:latin typeface="+mn-lt"/>
                <a:ea typeface="Verdana" panose="020B0604030504040204" pitchFamily="34" charset="0"/>
                <a:cs typeface="Open Sans Light" panose="020B0306030504020204" pitchFamily="34" charset="0"/>
              </a:rPr>
              <a:t>Deloitte will not be responsible in developing the e-learning module (e.g. SCORM file). Deloitte will provide the content only that may be used by Salam.</a:t>
            </a:r>
          </a:p>
        </p:txBody>
      </p:sp>
      <p:sp>
        <p:nvSpPr>
          <p:cNvPr id="22" name="TextBox 21">
            <a:extLst>
              <a:ext uri="{FF2B5EF4-FFF2-40B4-BE49-F238E27FC236}">
                <a16:creationId xmlns:a16="http://schemas.microsoft.com/office/drawing/2014/main" id="{1E8A2EB5-99AD-73BF-E84C-010ED5AF5527}"/>
              </a:ext>
            </a:extLst>
          </p:cNvPr>
          <p:cNvSpPr txBox="1"/>
          <p:nvPr/>
        </p:nvSpPr>
        <p:spPr>
          <a:xfrm>
            <a:off x="394109" y="1048757"/>
            <a:ext cx="11530798" cy="661667"/>
          </a:xfrm>
          <a:prstGeom prst="rect">
            <a:avLst/>
          </a:prstGeom>
          <a:noFill/>
          <a:ln w="9525" algn="ctr">
            <a:noFill/>
            <a:miter lim="800000"/>
            <a:headEnd/>
            <a:tailEnd/>
          </a:ln>
        </p:spPr>
        <p:txBody>
          <a:bodyPr wrap="square" lIns="91440" tIns="0" rIns="91440" bIns="0" rtlCol="0" anchor="t" anchorCtr="0">
            <a:noAutofit/>
          </a:bodyPr>
          <a:lstStyle/>
          <a:p>
            <a:pPr algn="just">
              <a:lnSpc>
                <a:spcPct val="120000"/>
              </a:lnSpc>
              <a:spcAft>
                <a:spcPts val="600"/>
              </a:spcAft>
              <a:buSzPct val="100000"/>
              <a:defRPr/>
            </a:pPr>
            <a:r>
              <a:rPr lang="en-US" sz="1100" dirty="0">
                <a:solidFill>
                  <a:schemeClr val="tx2"/>
                </a:solidFill>
                <a:latin typeface="+mn-lt"/>
              </a:rPr>
              <a:t>Essential pillar in the BCM program is to promote the vision and purpose of Salam’s BCM Program and its benefits to key stakeholder groups. </a:t>
            </a:r>
            <a:endParaRPr kumimoji="0" lang="en-US" sz="1100" b="0" i="0" u="none" strike="noStrike" kern="1200" cap="none" spc="0" normalizeH="0" baseline="0" noProof="0" dirty="0">
              <a:ln>
                <a:noFill/>
              </a:ln>
              <a:effectLst/>
              <a:uLnTx/>
              <a:uFillTx/>
              <a:latin typeface="+mn-lt"/>
              <a:ea typeface="+mn-ea"/>
              <a:cs typeface="+mn-cs"/>
            </a:endParaRPr>
          </a:p>
        </p:txBody>
      </p:sp>
      <p:grpSp>
        <p:nvGrpSpPr>
          <p:cNvPr id="29" name="Group 28">
            <a:extLst>
              <a:ext uri="{FF2B5EF4-FFF2-40B4-BE49-F238E27FC236}">
                <a16:creationId xmlns:a16="http://schemas.microsoft.com/office/drawing/2014/main" id="{DCCF0DAC-DAC8-7E48-2BE1-D57E8C7BAE29}"/>
              </a:ext>
            </a:extLst>
          </p:cNvPr>
          <p:cNvGrpSpPr/>
          <p:nvPr/>
        </p:nvGrpSpPr>
        <p:grpSpPr>
          <a:xfrm>
            <a:off x="7808411" y="5057588"/>
            <a:ext cx="1223039" cy="1130683"/>
            <a:chOff x="10590734" y="168614"/>
            <a:chExt cx="1223039" cy="1130683"/>
          </a:xfrm>
        </p:grpSpPr>
        <p:sp>
          <p:nvSpPr>
            <p:cNvPr id="15" name="Oval 14">
              <a:extLst>
                <a:ext uri="{FF2B5EF4-FFF2-40B4-BE49-F238E27FC236}">
                  <a16:creationId xmlns:a16="http://schemas.microsoft.com/office/drawing/2014/main" id="{7682FBCD-6E17-D4CB-B65C-CBF8258B39E8}"/>
                </a:ext>
              </a:extLst>
            </p:cNvPr>
            <p:cNvSpPr/>
            <p:nvPr/>
          </p:nvSpPr>
          <p:spPr>
            <a:xfrm>
              <a:off x="10641998" y="221315"/>
              <a:ext cx="1126943" cy="391372"/>
            </a:xfrm>
            <a:prstGeom prst="ellipse">
              <a:avLst/>
            </a:prstGeom>
          </p:spPr>
          <p:style>
            <a:lnRef idx="0">
              <a:schemeClr val="accent1">
                <a:hueOff val="0"/>
                <a:satOff val="0"/>
                <a:lumOff val="0"/>
                <a:alphaOff val="0"/>
              </a:schemeClr>
            </a:lnRef>
            <a:fillRef idx="1">
              <a:schemeClr val="accent1">
                <a:tint val="50000"/>
                <a:alpha val="40000"/>
                <a:hueOff val="0"/>
                <a:satOff val="0"/>
                <a:lumOff val="0"/>
                <a:alphaOff val="0"/>
              </a:schemeClr>
            </a:fillRef>
            <a:effectRef idx="0">
              <a:schemeClr val="accent1">
                <a:tint val="50000"/>
                <a:alpha val="40000"/>
                <a:hueOff val="0"/>
                <a:satOff val="0"/>
                <a:lumOff val="0"/>
                <a:alphaOff val="0"/>
              </a:schemeClr>
            </a:effectRef>
            <a:fontRef idx="minor">
              <a:schemeClr val="lt1">
                <a:hueOff val="0"/>
                <a:satOff val="0"/>
                <a:lumOff val="0"/>
                <a:alphaOff val="0"/>
              </a:schemeClr>
            </a:fontRef>
          </p:style>
        </p:sp>
        <p:sp>
          <p:nvSpPr>
            <p:cNvPr id="23" name="Arrow: Down 22">
              <a:extLst>
                <a:ext uri="{FF2B5EF4-FFF2-40B4-BE49-F238E27FC236}">
                  <a16:creationId xmlns:a16="http://schemas.microsoft.com/office/drawing/2014/main" id="{488CD2F8-E3DC-1F67-1505-0F94B9E01441}"/>
                </a:ext>
              </a:extLst>
            </p:cNvPr>
            <p:cNvSpPr/>
            <p:nvPr/>
          </p:nvSpPr>
          <p:spPr>
            <a:xfrm>
              <a:off x="11126810" y="1159522"/>
              <a:ext cx="218399" cy="139775"/>
            </a:xfrm>
            <a:prstGeom prst="downArrow">
              <a:avLst/>
            </a:prstGeom>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sp>
        <p:sp>
          <p:nvSpPr>
            <p:cNvPr id="25" name="Freeform: Shape 24">
              <a:extLst>
                <a:ext uri="{FF2B5EF4-FFF2-40B4-BE49-F238E27FC236}">
                  <a16:creationId xmlns:a16="http://schemas.microsoft.com/office/drawing/2014/main" id="{FDB25B42-5C78-32D6-D468-CF177A752253}"/>
                </a:ext>
              </a:extLst>
            </p:cNvPr>
            <p:cNvSpPr/>
            <p:nvPr/>
          </p:nvSpPr>
          <p:spPr>
            <a:xfrm>
              <a:off x="11080509" y="622782"/>
              <a:ext cx="393119" cy="393119"/>
            </a:xfrm>
            <a:custGeom>
              <a:avLst/>
              <a:gdLst>
                <a:gd name="connsiteX0" fmla="*/ 0 w 393119"/>
                <a:gd name="connsiteY0" fmla="*/ 196560 h 393119"/>
                <a:gd name="connsiteX1" fmla="*/ 196560 w 393119"/>
                <a:gd name="connsiteY1" fmla="*/ 0 h 393119"/>
                <a:gd name="connsiteX2" fmla="*/ 393120 w 393119"/>
                <a:gd name="connsiteY2" fmla="*/ 196560 h 393119"/>
                <a:gd name="connsiteX3" fmla="*/ 196560 w 393119"/>
                <a:gd name="connsiteY3" fmla="*/ 393120 h 393119"/>
                <a:gd name="connsiteX4" fmla="*/ 0 w 393119"/>
                <a:gd name="connsiteY4" fmla="*/ 196560 h 393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119" h="393119">
                  <a:moveTo>
                    <a:pt x="0" y="196560"/>
                  </a:moveTo>
                  <a:cubicBezTo>
                    <a:pt x="0" y="88003"/>
                    <a:pt x="88003" y="0"/>
                    <a:pt x="196560" y="0"/>
                  </a:cubicBezTo>
                  <a:cubicBezTo>
                    <a:pt x="305117" y="0"/>
                    <a:pt x="393120" y="88003"/>
                    <a:pt x="393120" y="196560"/>
                  </a:cubicBezTo>
                  <a:cubicBezTo>
                    <a:pt x="393120" y="305117"/>
                    <a:pt x="305117" y="393120"/>
                    <a:pt x="196560" y="393120"/>
                  </a:cubicBezTo>
                  <a:cubicBezTo>
                    <a:pt x="88003" y="393120"/>
                    <a:pt x="0" y="305117"/>
                    <a:pt x="0" y="196560"/>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191" tIns="65191" rIns="65191" bIns="65191" numCol="1" spcCol="1270" anchor="ctr" anchorCtr="0">
              <a:noAutofit/>
            </a:bodyPr>
            <a:lstStyle/>
            <a:p>
              <a:pPr marL="0" lvl="0" indent="0" algn="ctr" defTabSz="266700">
                <a:lnSpc>
                  <a:spcPct val="90000"/>
                </a:lnSpc>
                <a:spcBef>
                  <a:spcPct val="0"/>
                </a:spcBef>
                <a:spcAft>
                  <a:spcPct val="35000"/>
                </a:spcAft>
                <a:buNone/>
              </a:pPr>
              <a:r>
                <a:rPr lang="en-US" sz="600" kern="1200">
                  <a:latin typeface="Calibri" panose="020F0502020204030204" pitchFamily="34" charset="0"/>
                  <a:cs typeface="Calibri" panose="020F0502020204030204" pitchFamily="34" charset="0"/>
                </a:rPr>
                <a:t>Strategy &amp; Plans</a:t>
              </a:r>
            </a:p>
          </p:txBody>
        </p:sp>
        <p:sp>
          <p:nvSpPr>
            <p:cNvPr id="26" name="Freeform: Shape 25">
              <a:extLst>
                <a:ext uri="{FF2B5EF4-FFF2-40B4-BE49-F238E27FC236}">
                  <a16:creationId xmlns:a16="http://schemas.microsoft.com/office/drawing/2014/main" id="{C8539F8C-85C8-50CB-4C3B-38397B644526}"/>
                </a:ext>
              </a:extLst>
            </p:cNvPr>
            <p:cNvSpPr/>
            <p:nvPr/>
          </p:nvSpPr>
          <p:spPr>
            <a:xfrm>
              <a:off x="10799210" y="327855"/>
              <a:ext cx="393119" cy="393119"/>
            </a:xfrm>
            <a:custGeom>
              <a:avLst/>
              <a:gdLst>
                <a:gd name="connsiteX0" fmla="*/ 0 w 393119"/>
                <a:gd name="connsiteY0" fmla="*/ 196560 h 393119"/>
                <a:gd name="connsiteX1" fmla="*/ 196560 w 393119"/>
                <a:gd name="connsiteY1" fmla="*/ 0 h 393119"/>
                <a:gd name="connsiteX2" fmla="*/ 393120 w 393119"/>
                <a:gd name="connsiteY2" fmla="*/ 196560 h 393119"/>
                <a:gd name="connsiteX3" fmla="*/ 196560 w 393119"/>
                <a:gd name="connsiteY3" fmla="*/ 393120 h 393119"/>
                <a:gd name="connsiteX4" fmla="*/ 0 w 393119"/>
                <a:gd name="connsiteY4" fmla="*/ 196560 h 393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119" h="393119">
                  <a:moveTo>
                    <a:pt x="0" y="196560"/>
                  </a:moveTo>
                  <a:cubicBezTo>
                    <a:pt x="0" y="88003"/>
                    <a:pt x="88003" y="0"/>
                    <a:pt x="196560" y="0"/>
                  </a:cubicBezTo>
                  <a:cubicBezTo>
                    <a:pt x="305117" y="0"/>
                    <a:pt x="393120" y="88003"/>
                    <a:pt x="393120" y="196560"/>
                  </a:cubicBezTo>
                  <a:cubicBezTo>
                    <a:pt x="393120" y="305117"/>
                    <a:pt x="305117" y="393120"/>
                    <a:pt x="196560" y="393120"/>
                  </a:cubicBezTo>
                  <a:cubicBezTo>
                    <a:pt x="88003" y="393120"/>
                    <a:pt x="0" y="305117"/>
                    <a:pt x="0" y="196560"/>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191" tIns="65191" rIns="65191" bIns="65191" numCol="1" spcCol="1270" anchor="ctr" anchorCtr="0">
              <a:noAutofit/>
            </a:bodyPr>
            <a:lstStyle/>
            <a:p>
              <a:pPr marL="0" lvl="0" indent="0" algn="ctr" defTabSz="266700">
                <a:lnSpc>
                  <a:spcPct val="90000"/>
                </a:lnSpc>
                <a:spcBef>
                  <a:spcPct val="0"/>
                </a:spcBef>
                <a:spcAft>
                  <a:spcPct val="35000"/>
                </a:spcAft>
                <a:buNone/>
              </a:pPr>
              <a:r>
                <a:rPr lang="en-US" sz="600" kern="1200">
                  <a:latin typeface="Calibri" panose="020F0502020204030204" pitchFamily="34" charset="0"/>
                  <a:cs typeface="Calibri" panose="020F0502020204030204" pitchFamily="34" charset="0"/>
                </a:rPr>
                <a:t>BCM Policy</a:t>
              </a:r>
            </a:p>
          </p:txBody>
        </p:sp>
        <p:sp>
          <p:nvSpPr>
            <p:cNvPr id="27" name="Freeform: Shape 26">
              <a:extLst>
                <a:ext uri="{FF2B5EF4-FFF2-40B4-BE49-F238E27FC236}">
                  <a16:creationId xmlns:a16="http://schemas.microsoft.com/office/drawing/2014/main" id="{462898E6-4747-C915-FF1E-A0461A9681D1}"/>
                </a:ext>
              </a:extLst>
            </p:cNvPr>
            <p:cNvSpPr/>
            <p:nvPr/>
          </p:nvSpPr>
          <p:spPr>
            <a:xfrm>
              <a:off x="11201066" y="232807"/>
              <a:ext cx="393119" cy="393119"/>
            </a:xfrm>
            <a:custGeom>
              <a:avLst/>
              <a:gdLst>
                <a:gd name="connsiteX0" fmla="*/ 0 w 393119"/>
                <a:gd name="connsiteY0" fmla="*/ 196560 h 393119"/>
                <a:gd name="connsiteX1" fmla="*/ 196560 w 393119"/>
                <a:gd name="connsiteY1" fmla="*/ 0 h 393119"/>
                <a:gd name="connsiteX2" fmla="*/ 393120 w 393119"/>
                <a:gd name="connsiteY2" fmla="*/ 196560 h 393119"/>
                <a:gd name="connsiteX3" fmla="*/ 196560 w 393119"/>
                <a:gd name="connsiteY3" fmla="*/ 393120 h 393119"/>
                <a:gd name="connsiteX4" fmla="*/ 0 w 393119"/>
                <a:gd name="connsiteY4" fmla="*/ 196560 h 393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119" h="393119">
                  <a:moveTo>
                    <a:pt x="0" y="196560"/>
                  </a:moveTo>
                  <a:cubicBezTo>
                    <a:pt x="0" y="88003"/>
                    <a:pt x="88003" y="0"/>
                    <a:pt x="196560" y="0"/>
                  </a:cubicBezTo>
                  <a:cubicBezTo>
                    <a:pt x="305117" y="0"/>
                    <a:pt x="393120" y="88003"/>
                    <a:pt x="393120" y="196560"/>
                  </a:cubicBezTo>
                  <a:cubicBezTo>
                    <a:pt x="393120" y="305117"/>
                    <a:pt x="305117" y="393120"/>
                    <a:pt x="196560" y="393120"/>
                  </a:cubicBezTo>
                  <a:cubicBezTo>
                    <a:pt x="88003" y="393120"/>
                    <a:pt x="0" y="305117"/>
                    <a:pt x="0" y="196560"/>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191" tIns="65191" rIns="65191" bIns="65191" numCol="1" spcCol="1270" anchor="ctr" anchorCtr="0">
              <a:noAutofit/>
            </a:bodyPr>
            <a:lstStyle/>
            <a:p>
              <a:pPr marL="0" lvl="0" indent="0" algn="ctr" defTabSz="266700">
                <a:lnSpc>
                  <a:spcPct val="90000"/>
                </a:lnSpc>
                <a:spcBef>
                  <a:spcPct val="0"/>
                </a:spcBef>
                <a:spcAft>
                  <a:spcPct val="35000"/>
                </a:spcAft>
                <a:buNone/>
              </a:pPr>
              <a:r>
                <a:rPr lang="en-US" sz="600" kern="1200">
                  <a:latin typeface="Calibri" panose="020F0502020204030204" pitchFamily="34" charset="0"/>
                  <a:cs typeface="Calibri" panose="020F0502020204030204" pitchFamily="34" charset="0"/>
                </a:rPr>
                <a:t>BIA</a:t>
              </a:r>
            </a:p>
          </p:txBody>
        </p:sp>
        <p:sp>
          <p:nvSpPr>
            <p:cNvPr id="28" name="Shape 27">
              <a:extLst>
                <a:ext uri="{FF2B5EF4-FFF2-40B4-BE49-F238E27FC236}">
                  <a16:creationId xmlns:a16="http://schemas.microsoft.com/office/drawing/2014/main" id="{A659E4FC-23BE-6CE6-7ED6-9FCF9408BEB4}"/>
                </a:ext>
              </a:extLst>
            </p:cNvPr>
            <p:cNvSpPr/>
            <p:nvPr/>
          </p:nvSpPr>
          <p:spPr>
            <a:xfrm>
              <a:off x="10590734" y="168614"/>
              <a:ext cx="1223039" cy="978431"/>
            </a:xfrm>
            <a:prstGeom prst="funnel">
              <a:avLst/>
            </a:pr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grpSp>
      <p:sp>
        <p:nvSpPr>
          <p:cNvPr id="7" name="Rectangle 6">
            <a:extLst>
              <a:ext uri="{FF2B5EF4-FFF2-40B4-BE49-F238E27FC236}">
                <a16:creationId xmlns:a16="http://schemas.microsoft.com/office/drawing/2014/main" id="{CEC91674-26BB-568D-3CA7-F8C4A7E26169}"/>
              </a:ext>
            </a:extLst>
          </p:cNvPr>
          <p:cNvSpPr/>
          <p:nvPr/>
        </p:nvSpPr>
        <p:spPr>
          <a:xfrm>
            <a:off x="7580373" y="6193172"/>
            <a:ext cx="1962441" cy="246221"/>
          </a:xfrm>
          <a:prstGeom prst="rect">
            <a:avLst/>
          </a:prstGeom>
          <a:ln>
            <a:solidFill>
              <a:srgbClr val="65686B"/>
            </a:solidFill>
          </a:ln>
        </p:spPr>
        <p:txBody>
          <a:bodyPr wrap="square">
            <a:spAutoFit/>
          </a:bodyPr>
          <a:lstStyle/>
          <a:p>
            <a:pPr algn="ctr" defTabSz="1219170" hangingPunct="1">
              <a:defRPr/>
            </a:pPr>
            <a:r>
              <a:rPr lang="en-US" sz="1000" kern="1200" dirty="0">
                <a:solidFill>
                  <a:prstClr val="black"/>
                </a:solidFill>
                <a:latin typeface="Calibri" panose="020F0502020204030204" pitchFamily="34" charset="0"/>
                <a:ea typeface="+mn-ea"/>
                <a:cs typeface="Calibri" panose="020F0502020204030204" pitchFamily="34" charset="0"/>
              </a:rPr>
              <a:t>Training &amp; Awareness</a:t>
            </a:r>
          </a:p>
        </p:txBody>
      </p:sp>
      <p:sp>
        <p:nvSpPr>
          <p:cNvPr id="3" name="Title 1">
            <a:extLst>
              <a:ext uri="{FF2B5EF4-FFF2-40B4-BE49-F238E27FC236}">
                <a16:creationId xmlns:a16="http://schemas.microsoft.com/office/drawing/2014/main" id="{2F9147D5-F996-F9E5-66C1-4BF27578EA1F}"/>
              </a:ext>
            </a:extLst>
          </p:cNvPr>
          <p:cNvSpPr txBox="1">
            <a:spLocks/>
          </p:cNvSpPr>
          <p:nvPr/>
        </p:nvSpPr>
        <p:spPr>
          <a:xfrm>
            <a:off x="411480" y="402587"/>
            <a:ext cx="11252200" cy="334102"/>
          </a:xfrm>
          <a:prstGeom prst="rect">
            <a:avLst/>
          </a:prstGeom>
        </p:spPr>
        <p:txBody>
          <a:bodyPr vert="horz" wrap="square" lIns="0" tIns="0" rIns="0" bIns="0" rtlCol="0" anchor="t" anchorCtr="0">
            <a:noAutofit/>
          </a:bodyPr>
          <a:lstStyle>
            <a:lvl1pPr>
              <a:defRPr sz="2400" b="0" i="0">
                <a:solidFill>
                  <a:srgbClr val="86BC25"/>
                </a:solidFill>
                <a:latin typeface="Calibri" panose="020F0502020204030204" pitchFamily="34" charset="0"/>
                <a:ea typeface="Verdana" panose="020B0604030504040204" pitchFamily="34" charset="0"/>
                <a:cs typeface="Calibri" panose="020F0502020204030204" pitchFamily="34" charset="0"/>
              </a:defRPr>
            </a:lvl1pPr>
          </a:lstStyle>
          <a:p>
            <a:pPr hangingPunct="1">
              <a:spcBef>
                <a:spcPct val="0"/>
              </a:spcBef>
              <a:defRPr/>
            </a:pPr>
            <a:r>
              <a:rPr lang="en-US" sz="2000" dirty="0">
                <a:solidFill>
                  <a:schemeClr val="tx2">
                    <a:lumMod val="50000"/>
                  </a:schemeClr>
                </a:solidFill>
                <a:latin typeface="+mn-lt"/>
                <a:ea typeface="Open Sans Semibold" panose="020B0706030804020204" pitchFamily="34" charset="0"/>
                <a:cs typeface="Open Sans Semibold" panose="020B0706030804020204" pitchFamily="34" charset="0"/>
              </a:rPr>
              <a:t>Approach and Methodology</a:t>
            </a:r>
          </a:p>
        </p:txBody>
      </p:sp>
      <p:sp>
        <p:nvSpPr>
          <p:cNvPr id="5" name="TextBox 4">
            <a:extLst>
              <a:ext uri="{FF2B5EF4-FFF2-40B4-BE49-F238E27FC236}">
                <a16:creationId xmlns:a16="http://schemas.microsoft.com/office/drawing/2014/main" id="{0AD1247A-E7B9-91D1-CF27-DA5FFF52DDE2}"/>
              </a:ext>
            </a:extLst>
          </p:cNvPr>
          <p:cNvSpPr txBox="1"/>
          <p:nvPr/>
        </p:nvSpPr>
        <p:spPr>
          <a:xfrm>
            <a:off x="3132509" y="1647820"/>
            <a:ext cx="1542233" cy="246221"/>
          </a:xfrm>
          <a:prstGeom prst="rect">
            <a:avLst/>
          </a:prstGeom>
          <a:solidFill>
            <a:schemeClr val="bg1"/>
          </a:solidFill>
          <a:ln>
            <a:solidFill>
              <a:schemeClr val="accent2"/>
            </a:solidFill>
          </a:ln>
        </p:spPr>
        <p:txBody>
          <a:bodyPr wrap="square" lIns="0" tIns="0" rIns="0" bIns="0" rtlCol="0">
            <a:spAutoFit/>
          </a:bodyPr>
          <a:lstStyle/>
          <a:p>
            <a:pPr algn="ctr">
              <a:spcBef>
                <a:spcPts val="600"/>
              </a:spcBef>
              <a:buSzPct val="100000"/>
            </a:pPr>
            <a:r>
              <a:rPr lang="en-US" sz="1600" b="1" dirty="0">
                <a:solidFill>
                  <a:schemeClr val="accent2"/>
                </a:solidFill>
                <a:latin typeface="+mn-lt"/>
              </a:rPr>
              <a:t>Key Activities</a:t>
            </a:r>
            <a:endParaRPr lang="en-AE" sz="1600" b="1" dirty="0">
              <a:solidFill>
                <a:schemeClr val="accent2"/>
              </a:solidFill>
              <a:latin typeface="+mn-lt"/>
            </a:endParaRPr>
          </a:p>
        </p:txBody>
      </p:sp>
      <p:sp>
        <p:nvSpPr>
          <p:cNvPr id="10" name="TextBox 9">
            <a:extLst>
              <a:ext uri="{FF2B5EF4-FFF2-40B4-BE49-F238E27FC236}">
                <a16:creationId xmlns:a16="http://schemas.microsoft.com/office/drawing/2014/main" id="{B49E26BC-FF21-A09F-9017-E80DDC7770CC}"/>
              </a:ext>
            </a:extLst>
          </p:cNvPr>
          <p:cNvSpPr txBox="1"/>
          <p:nvPr/>
        </p:nvSpPr>
        <p:spPr>
          <a:xfrm rot="5400000">
            <a:off x="11456364" y="3983555"/>
            <a:ext cx="1051570" cy="246221"/>
          </a:xfrm>
          <a:prstGeom prst="rect">
            <a:avLst/>
          </a:prstGeom>
          <a:solidFill>
            <a:schemeClr val="bg1"/>
          </a:solidFill>
          <a:ln>
            <a:solidFill>
              <a:schemeClr val="accent2"/>
            </a:solidFill>
          </a:ln>
        </p:spPr>
        <p:txBody>
          <a:bodyPr wrap="none" lIns="0" tIns="0" rIns="0" bIns="0" rtlCol="0">
            <a:spAutoFit/>
          </a:bodyPr>
          <a:lstStyle/>
          <a:p>
            <a:pPr algn="ctr">
              <a:spcBef>
                <a:spcPts val="600"/>
              </a:spcBef>
              <a:buSzPct val="100000"/>
            </a:pPr>
            <a:r>
              <a:rPr lang="en-US" sz="1600" b="1" dirty="0">
                <a:solidFill>
                  <a:schemeClr val="accent2"/>
                </a:solidFill>
                <a:latin typeface="+mn-lt"/>
              </a:rPr>
              <a:t>Deliverables</a:t>
            </a:r>
            <a:endParaRPr lang="en-AE" sz="1600" b="1" dirty="0">
              <a:solidFill>
                <a:schemeClr val="accent2"/>
              </a:solidFill>
              <a:latin typeface="+mn-lt"/>
            </a:endParaRPr>
          </a:p>
        </p:txBody>
      </p:sp>
      <p:sp>
        <p:nvSpPr>
          <p:cNvPr id="11" name="Text Placeholder 20">
            <a:extLst>
              <a:ext uri="{FF2B5EF4-FFF2-40B4-BE49-F238E27FC236}">
                <a16:creationId xmlns:a16="http://schemas.microsoft.com/office/drawing/2014/main" id="{C23B29AA-EFB8-34EE-DCFD-BAF1477D8746}"/>
              </a:ext>
            </a:extLst>
          </p:cNvPr>
          <p:cNvSpPr txBox="1">
            <a:spLocks/>
          </p:cNvSpPr>
          <p:nvPr/>
        </p:nvSpPr>
        <p:spPr>
          <a:xfrm>
            <a:off x="411480"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lvl="0" indent="0">
              <a:spcBef>
                <a:spcPts val="0"/>
              </a:spcBef>
              <a:spcAft>
                <a:spcPts val="1333"/>
              </a:spcAft>
              <a:buNone/>
              <a:defRPr/>
            </a:pPr>
            <a:r>
              <a:rPr lang="en-US" sz="1400" b="1" dirty="0">
                <a:solidFill>
                  <a:srgbClr val="575757"/>
                </a:solidFill>
                <a:latin typeface="+mn-lt"/>
                <a:ea typeface="Open Sans Light" panose="020B0306030504020204" pitchFamily="34" charset="0"/>
                <a:cs typeface="Open Sans Light" panose="020B0306030504020204" pitchFamily="34" charset="0"/>
              </a:rPr>
              <a:t>Phase 7: Business Continuity Training &amp; Awareness</a:t>
            </a:r>
          </a:p>
        </p:txBody>
      </p:sp>
      <p:pic>
        <p:nvPicPr>
          <p:cNvPr id="12" name="Picture 11">
            <a:extLst>
              <a:ext uri="{FF2B5EF4-FFF2-40B4-BE49-F238E27FC236}">
                <a16:creationId xmlns:a16="http://schemas.microsoft.com/office/drawing/2014/main" id="{2965B732-CA83-07FC-EEF8-013F1053F243}"/>
              </a:ext>
            </a:extLst>
          </p:cNvPr>
          <p:cNvPicPr>
            <a:picLocks noChangeAspect="1"/>
          </p:cNvPicPr>
          <p:nvPr/>
        </p:nvPicPr>
        <p:blipFill>
          <a:blip r:embed="rId3"/>
          <a:stretch>
            <a:fillRect/>
          </a:stretch>
        </p:blipFill>
        <p:spPr>
          <a:xfrm>
            <a:off x="9091927" y="4949249"/>
            <a:ext cx="1719143" cy="870517"/>
          </a:xfrm>
          <a:prstGeom prst="rect">
            <a:avLst/>
          </a:prstGeom>
          <a:ln>
            <a:solidFill>
              <a:schemeClr val="bg2"/>
            </a:solidFill>
          </a:ln>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90524F2D-4BF3-7CCA-DA37-D56D99BB1318}"/>
              </a:ext>
            </a:extLst>
          </p:cNvPr>
          <p:cNvPicPr>
            <a:picLocks noChangeAspect="1"/>
          </p:cNvPicPr>
          <p:nvPr/>
        </p:nvPicPr>
        <p:blipFill>
          <a:blip r:embed="rId4"/>
          <a:stretch>
            <a:fillRect/>
          </a:stretch>
        </p:blipFill>
        <p:spPr>
          <a:xfrm>
            <a:off x="9763923" y="5421421"/>
            <a:ext cx="1719143" cy="971982"/>
          </a:xfrm>
          <a:prstGeom prst="rect">
            <a:avLst/>
          </a:prstGeom>
        </p:spPr>
      </p:pic>
      <p:sp>
        <p:nvSpPr>
          <p:cNvPr id="6" name="TextBox 5">
            <a:extLst>
              <a:ext uri="{FF2B5EF4-FFF2-40B4-BE49-F238E27FC236}">
                <a16:creationId xmlns:a16="http://schemas.microsoft.com/office/drawing/2014/main" id="{F8F7524F-1A5A-4C58-3EEA-1CBD196D15D0}"/>
              </a:ext>
            </a:extLst>
          </p:cNvPr>
          <p:cNvSpPr txBox="1"/>
          <p:nvPr/>
        </p:nvSpPr>
        <p:spPr>
          <a:xfrm rot="19785134">
            <a:off x="8510331" y="5569959"/>
            <a:ext cx="2041430" cy="261610"/>
          </a:xfrm>
          <a:prstGeom prst="rect">
            <a:avLst/>
          </a:prstGeom>
          <a:solidFill>
            <a:schemeClr val="tx1"/>
          </a:solidFill>
          <a:ln>
            <a:solidFill>
              <a:schemeClr val="accent2"/>
            </a:solid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or Illustration Purposes Only</a:t>
            </a:r>
          </a:p>
        </p:txBody>
      </p:sp>
    </p:spTree>
    <p:extLst>
      <p:ext uri="{BB962C8B-B14F-4D97-AF65-F5344CB8AC3E}">
        <p14:creationId xmlns:p14="http://schemas.microsoft.com/office/powerpoint/2010/main" val="1730741612"/>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Process 1">
            <a:extLst>
              <a:ext uri="{FF2B5EF4-FFF2-40B4-BE49-F238E27FC236}">
                <a16:creationId xmlns:a16="http://schemas.microsoft.com/office/drawing/2014/main" id="{F97DEE8E-5A91-51C9-D51A-839ECF88EFFA}"/>
              </a:ext>
            </a:extLst>
          </p:cNvPr>
          <p:cNvSpPr/>
          <p:nvPr/>
        </p:nvSpPr>
        <p:spPr bwMode="gray">
          <a:xfrm>
            <a:off x="7337040" y="2018974"/>
            <a:ext cx="4226294" cy="4447309"/>
          </a:xfrm>
          <a:prstGeom prst="flowChartProcess">
            <a:avLst/>
          </a:prstGeom>
          <a:noFill/>
          <a:ln w="3810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sp>
        <p:nvSpPr>
          <p:cNvPr id="6" name="TextBox 5">
            <a:extLst>
              <a:ext uri="{FF2B5EF4-FFF2-40B4-BE49-F238E27FC236}">
                <a16:creationId xmlns:a16="http://schemas.microsoft.com/office/drawing/2014/main" id="{6C6E46D1-9928-6F5D-9E42-D7E1F30C0432}"/>
              </a:ext>
            </a:extLst>
          </p:cNvPr>
          <p:cNvSpPr txBox="1"/>
          <p:nvPr/>
        </p:nvSpPr>
        <p:spPr>
          <a:xfrm>
            <a:off x="394109" y="1048757"/>
            <a:ext cx="11530798" cy="661667"/>
          </a:xfrm>
          <a:prstGeom prst="rect">
            <a:avLst/>
          </a:prstGeom>
          <a:noFill/>
          <a:ln w="9525" algn="ctr">
            <a:noFill/>
            <a:miter lim="800000"/>
            <a:headEnd/>
            <a:tailEnd/>
          </a:ln>
        </p:spPr>
        <p:txBody>
          <a:bodyPr wrap="square" lIns="91440" tIns="0" rIns="91440" bIns="0" rtlCol="0" anchor="t" anchorCtr="0">
            <a:noAutofit/>
          </a:bodyPr>
          <a:lstStyle/>
          <a:p>
            <a:pPr algn="just">
              <a:lnSpc>
                <a:spcPct val="120000"/>
              </a:lnSpc>
              <a:spcAft>
                <a:spcPts val="600"/>
              </a:spcAft>
              <a:buSzPct val="100000"/>
              <a:defRPr/>
            </a:pPr>
            <a:r>
              <a:rPr lang="en-US" sz="1100" dirty="0">
                <a:solidFill>
                  <a:srgbClr val="000000"/>
                </a:solidFill>
                <a:latin typeface="+mn-lt"/>
              </a:rPr>
              <a:t>In order to prepare Salam and its critical departments to execute their BCPs, we will exercise these plans using relatable approaches and plausible scenarios. We will prepare and facilitate a tabletop exercise for key stakeholders.</a:t>
            </a:r>
          </a:p>
        </p:txBody>
      </p:sp>
      <p:sp>
        <p:nvSpPr>
          <p:cNvPr id="7" name="Rectangle 6">
            <a:extLst>
              <a:ext uri="{FF2B5EF4-FFF2-40B4-BE49-F238E27FC236}">
                <a16:creationId xmlns:a16="http://schemas.microsoft.com/office/drawing/2014/main" id="{14D9002B-DD0E-EFD1-A216-9AEB531F0521}"/>
              </a:ext>
            </a:extLst>
          </p:cNvPr>
          <p:cNvSpPr/>
          <p:nvPr/>
        </p:nvSpPr>
        <p:spPr bwMode="gray">
          <a:xfrm>
            <a:off x="210696" y="1784252"/>
            <a:ext cx="11770607" cy="4834428"/>
          </a:xfrm>
          <a:prstGeom prst="rect">
            <a:avLst/>
          </a:prstGeom>
          <a:noFill/>
          <a:ln w="19050" algn="ctr">
            <a:solidFill>
              <a:schemeClr val="accent2"/>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pic>
        <p:nvPicPr>
          <p:cNvPr id="12" name="Picture 11">
            <a:extLst>
              <a:ext uri="{FF2B5EF4-FFF2-40B4-BE49-F238E27FC236}">
                <a16:creationId xmlns:a16="http://schemas.microsoft.com/office/drawing/2014/main" id="{0100AEC9-B961-33D1-CF6C-D74C246D49DA}"/>
              </a:ext>
            </a:extLst>
          </p:cNvPr>
          <p:cNvPicPr>
            <a:picLocks noChangeAspect="1"/>
          </p:cNvPicPr>
          <p:nvPr/>
        </p:nvPicPr>
        <p:blipFill>
          <a:blip r:embed="rId2"/>
          <a:stretch>
            <a:fillRect/>
          </a:stretch>
        </p:blipFill>
        <p:spPr>
          <a:xfrm>
            <a:off x="9185616" y="1535515"/>
            <a:ext cx="733646" cy="733646"/>
          </a:xfrm>
          <a:prstGeom prst="rect">
            <a:avLst/>
          </a:prstGeom>
        </p:spPr>
      </p:pic>
      <p:sp>
        <p:nvSpPr>
          <p:cNvPr id="13" name="TextBox 12">
            <a:extLst>
              <a:ext uri="{FF2B5EF4-FFF2-40B4-BE49-F238E27FC236}">
                <a16:creationId xmlns:a16="http://schemas.microsoft.com/office/drawing/2014/main" id="{33DDE945-E8CA-2113-0778-A7C5E1D6F168}"/>
              </a:ext>
            </a:extLst>
          </p:cNvPr>
          <p:cNvSpPr txBox="1"/>
          <p:nvPr/>
        </p:nvSpPr>
        <p:spPr>
          <a:xfrm>
            <a:off x="7778883" y="2321002"/>
            <a:ext cx="3547112" cy="15234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285750" indent="-285750">
              <a:lnSpc>
                <a:spcPct val="150000"/>
              </a:lnSpc>
              <a:buFont typeface="Wingdings" panose="05000000000000000000" pitchFamily="2" charset="2"/>
              <a:buChar char="ü"/>
              <a:defRPr/>
            </a:pPr>
            <a:r>
              <a:rPr lang="en-US" sz="1100" kern="1200" dirty="0">
                <a:solidFill>
                  <a:prstClr val="black"/>
                </a:solidFill>
                <a:latin typeface="+mn-lt"/>
                <a:ea typeface="Verdana" panose="020B0604030504040204" pitchFamily="34" charset="0"/>
                <a:cs typeface="Open Sans Light" panose="020B0306030504020204" pitchFamily="34" charset="0"/>
              </a:rPr>
              <a:t>BCM Exercising Program</a:t>
            </a:r>
          </a:p>
          <a:p>
            <a:pPr marL="285750" indent="-285750">
              <a:lnSpc>
                <a:spcPct val="150000"/>
              </a:lnSpc>
              <a:buFont typeface="Wingdings" panose="05000000000000000000" pitchFamily="2" charset="2"/>
              <a:buChar char="ü"/>
              <a:defRPr/>
            </a:pPr>
            <a:r>
              <a:rPr lang="en-US" sz="1100" kern="1200" dirty="0">
                <a:solidFill>
                  <a:prstClr val="black"/>
                </a:solidFill>
                <a:latin typeface="+mn-lt"/>
                <a:ea typeface="Verdana" panose="020B0604030504040204" pitchFamily="34" charset="0"/>
                <a:cs typeface="Open Sans Light" panose="020B0306030504020204" pitchFamily="34" charset="0"/>
              </a:rPr>
              <a:t>Four (4) Test plans</a:t>
            </a:r>
          </a:p>
          <a:p>
            <a:pPr marL="285750" indent="-285750">
              <a:lnSpc>
                <a:spcPct val="150000"/>
              </a:lnSpc>
              <a:buFont typeface="Wingdings" panose="05000000000000000000" pitchFamily="2" charset="2"/>
              <a:buChar char="ü"/>
              <a:defRPr/>
            </a:pPr>
            <a:r>
              <a:rPr lang="en-US" sz="1100" kern="1200" dirty="0">
                <a:solidFill>
                  <a:prstClr val="black"/>
                </a:solidFill>
                <a:latin typeface="+mn-lt"/>
                <a:ea typeface="Verdana" panose="020B0604030504040204" pitchFamily="34" charset="0"/>
                <a:cs typeface="Open Sans Light" panose="020B0306030504020204" pitchFamily="34" charset="0"/>
              </a:rPr>
              <a:t>Two (02) BCP Tabletop exercises</a:t>
            </a:r>
          </a:p>
          <a:p>
            <a:pPr marL="285750" indent="-285750">
              <a:lnSpc>
                <a:spcPct val="150000"/>
              </a:lnSpc>
              <a:buFont typeface="Wingdings" panose="05000000000000000000" pitchFamily="2" charset="2"/>
              <a:buChar char="ü"/>
              <a:defRPr/>
            </a:pPr>
            <a:r>
              <a:rPr lang="en-US" sz="1100" kern="1200" dirty="0">
                <a:solidFill>
                  <a:prstClr val="black"/>
                </a:solidFill>
                <a:latin typeface="+mn-lt"/>
                <a:ea typeface="Verdana" panose="020B0604030504040204" pitchFamily="34" charset="0"/>
                <a:cs typeface="Open Sans Light" panose="020B0306030504020204" pitchFamily="34" charset="0"/>
              </a:rPr>
              <a:t>One (01) IMP, CMP and CCP Tabletop exercise</a:t>
            </a:r>
          </a:p>
          <a:p>
            <a:pPr marL="285750" indent="-285750">
              <a:lnSpc>
                <a:spcPct val="150000"/>
              </a:lnSpc>
              <a:buFont typeface="Wingdings" panose="05000000000000000000" pitchFamily="2" charset="2"/>
              <a:buChar char="ü"/>
              <a:defRPr/>
            </a:pPr>
            <a:r>
              <a:rPr lang="en-US" sz="1100" kern="1200" dirty="0">
                <a:solidFill>
                  <a:prstClr val="black"/>
                </a:solidFill>
                <a:latin typeface="+mn-lt"/>
                <a:ea typeface="Verdana" panose="020B0604030504040204" pitchFamily="34" charset="0"/>
                <a:cs typeface="Open Sans Light" panose="020B0306030504020204" pitchFamily="34" charset="0"/>
              </a:rPr>
              <a:t>One (01) Crisis Simulation (optional)</a:t>
            </a:r>
          </a:p>
          <a:p>
            <a:pPr marL="285750" indent="-285750">
              <a:lnSpc>
                <a:spcPct val="150000"/>
              </a:lnSpc>
              <a:buFont typeface="Wingdings" panose="05000000000000000000" pitchFamily="2" charset="2"/>
              <a:buChar char="ü"/>
              <a:defRPr/>
            </a:pPr>
            <a:r>
              <a:rPr lang="en-US" sz="1100" kern="1200" dirty="0">
                <a:solidFill>
                  <a:prstClr val="black"/>
                </a:solidFill>
                <a:latin typeface="+mn-lt"/>
                <a:ea typeface="Verdana" panose="020B0604030504040204" pitchFamily="34" charset="0"/>
                <a:cs typeface="Open Sans Light" panose="020B0306030504020204" pitchFamily="34" charset="0"/>
              </a:rPr>
              <a:t>Testing findings and recommendations reports</a:t>
            </a:r>
            <a:endParaRPr lang="en-AE" sz="1100" kern="1200" dirty="0">
              <a:solidFill>
                <a:prstClr val="black"/>
              </a:solidFill>
              <a:latin typeface="+mn-lt"/>
              <a:ea typeface="Verdana" panose="020B0604030504040204" pitchFamily="34" charset="0"/>
              <a:cs typeface="Open Sans Light" panose="020B0306030504020204" pitchFamily="34" charset="0"/>
            </a:endParaRPr>
          </a:p>
        </p:txBody>
      </p:sp>
      <p:sp>
        <p:nvSpPr>
          <p:cNvPr id="14" name="TextBox 13">
            <a:extLst>
              <a:ext uri="{FF2B5EF4-FFF2-40B4-BE49-F238E27FC236}">
                <a16:creationId xmlns:a16="http://schemas.microsoft.com/office/drawing/2014/main" id="{74E8D412-29B6-7CB8-793B-7E0D9E36ADE2}"/>
              </a:ext>
            </a:extLst>
          </p:cNvPr>
          <p:cNvSpPr txBox="1"/>
          <p:nvPr/>
        </p:nvSpPr>
        <p:spPr>
          <a:xfrm>
            <a:off x="628665" y="2228374"/>
            <a:ext cx="6290405" cy="30439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285750" indent="-285750">
              <a:lnSpc>
                <a:spcPct val="150000"/>
              </a:lnSpc>
              <a:buFont typeface="Wingdings" panose="05000000000000000000" pitchFamily="2" charset="2"/>
              <a:buChar char="ü"/>
              <a:defRPr sz="1800">
                <a:solidFill>
                  <a:schemeClr val="tx2"/>
                </a:solidFill>
                <a:latin typeface="+mn-lt"/>
              </a:defRPr>
            </a:lvl1pPr>
          </a:lstStyle>
          <a:p>
            <a:pPr marL="0" marR="0" lvl="0" indent="0" algn="just" defTabSz="914400" rtl="0" eaLnBrk="1" fontAlgn="base" latinLnBrk="0" hangingPunct="1">
              <a:lnSpc>
                <a:spcPct val="100000"/>
              </a:lnSpc>
              <a:spcBef>
                <a:spcPts val="300"/>
              </a:spcBef>
              <a:spcAft>
                <a:spcPts val="300"/>
              </a:spcAft>
              <a:buClr>
                <a:srgbClr val="00ABAB"/>
              </a:buClr>
              <a:buSz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Develop a BCM Exercising Program for Salam that defines a progressive model for increasing the maturity of exercising conducted on a periodic basis. The program will include a definition of the exercise types, recommended execution frequency, objectives, plan(s) to be exercised, location(s) to be covered, as well a definition of the relevant roles and responsibilities required for designing and executing test(s) / exercise(s).</a:t>
            </a:r>
          </a:p>
          <a:p>
            <a:pPr lvl="0" algn="just" eaLnBrk="1">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In line with the progressive maturity model defined in the Exercising Schedule, we will design different test scenarios covering key threats and risks identified during the risk assessment phase.</a:t>
            </a:r>
          </a:p>
          <a:p>
            <a:pPr lvl="0" algn="just" eaLnBrk="1">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We will conduct two (02) tabletop exercises for BCPs and one (01) tabletop for IMP, CMP and CCP. </a:t>
            </a:r>
          </a:p>
          <a:p>
            <a:pPr lvl="0" algn="just" eaLnBrk="1">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Should Salam opt to choose a crisis simulation, we will conduct a crisis simulations covering IMP, CMP and CCP.</a:t>
            </a:r>
          </a:p>
          <a:p>
            <a:pPr lvl="0" algn="just" eaLnBrk="1">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Provide post-exercise report for documenting observations during the exercises and highlighting strength and opportunities to improve.</a:t>
            </a:r>
          </a:p>
          <a:p>
            <a:pPr marL="0" lvl="0" indent="0" algn="just" eaLnBrk="1">
              <a:lnSpc>
                <a:spcPct val="120000"/>
              </a:lnSpc>
              <a:spcAft>
                <a:spcPts val="600"/>
              </a:spcAft>
              <a:buSzPct val="100000"/>
              <a:buNone/>
              <a:defRPr/>
            </a:pPr>
            <a:endParaRPr lang="en-US" sz="1100" kern="1200" dirty="0">
              <a:solidFill>
                <a:prstClr val="black"/>
              </a:solidFill>
              <a:ea typeface="Verdana" panose="020B0604030504040204" pitchFamily="34" charset="0"/>
              <a:cs typeface="Open Sans Light" panose="020B0306030504020204" pitchFamily="34" charset="0"/>
            </a:endParaRPr>
          </a:p>
          <a:p>
            <a:pPr marL="0" lvl="0" indent="0" algn="just" eaLnBrk="1">
              <a:lnSpc>
                <a:spcPct val="120000"/>
              </a:lnSpc>
              <a:spcAft>
                <a:spcPts val="600"/>
              </a:spcAft>
              <a:buSzPct val="100000"/>
              <a:buNone/>
              <a:defRPr/>
            </a:pPr>
            <a:r>
              <a:rPr lang="en-US" sz="1100" kern="1200" dirty="0">
                <a:solidFill>
                  <a:prstClr val="black"/>
                </a:solidFill>
                <a:ea typeface="Verdana" panose="020B0604030504040204" pitchFamily="34" charset="0"/>
                <a:cs typeface="Open Sans Light" panose="020B0306030504020204" pitchFamily="34" charset="0"/>
              </a:rPr>
              <a:t>Deloitte will not cover any IT DR failover exercise as part of the testing / exercising activities.</a:t>
            </a:r>
          </a:p>
        </p:txBody>
      </p:sp>
      <p:grpSp>
        <p:nvGrpSpPr>
          <p:cNvPr id="15" name="Group 14">
            <a:extLst>
              <a:ext uri="{FF2B5EF4-FFF2-40B4-BE49-F238E27FC236}">
                <a16:creationId xmlns:a16="http://schemas.microsoft.com/office/drawing/2014/main" id="{182A4CE7-CB32-0AE1-97D9-A2B6E1DA2F51}"/>
              </a:ext>
            </a:extLst>
          </p:cNvPr>
          <p:cNvGrpSpPr/>
          <p:nvPr/>
        </p:nvGrpSpPr>
        <p:grpSpPr>
          <a:xfrm>
            <a:off x="7931244" y="4063698"/>
            <a:ext cx="3157182" cy="2149280"/>
            <a:chOff x="7058382" y="2134837"/>
            <a:chExt cx="4895807" cy="3159455"/>
          </a:xfrm>
        </p:grpSpPr>
        <p:grpSp>
          <p:nvGrpSpPr>
            <p:cNvPr id="17" name="Group 8">
              <a:extLst>
                <a:ext uri="{FF2B5EF4-FFF2-40B4-BE49-F238E27FC236}">
                  <a16:creationId xmlns:a16="http://schemas.microsoft.com/office/drawing/2014/main" id="{35D54EF0-F3ED-AF74-1A3C-A63E49ED3104}"/>
                </a:ext>
              </a:extLst>
            </p:cNvPr>
            <p:cNvGrpSpPr>
              <a:grpSpLocks/>
            </p:cNvGrpSpPr>
            <p:nvPr/>
          </p:nvGrpSpPr>
          <p:grpSpPr bwMode="auto">
            <a:xfrm>
              <a:off x="7058382" y="3710802"/>
              <a:ext cx="2211072" cy="1540311"/>
              <a:chOff x="4471127" y="1921388"/>
              <a:chExt cx="4471769" cy="3252693"/>
            </a:xfrm>
          </p:grpSpPr>
          <p:pic>
            <p:nvPicPr>
              <p:cNvPr id="21" name="Picture 6">
                <a:extLst>
                  <a:ext uri="{FF2B5EF4-FFF2-40B4-BE49-F238E27FC236}">
                    <a16:creationId xmlns:a16="http://schemas.microsoft.com/office/drawing/2014/main" id="{DBBA4238-9C35-86B2-8BD7-5E5CD1488922}"/>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704670" y="3806569"/>
                <a:ext cx="1701393" cy="111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1">
                <a:extLst>
                  <a:ext uri="{FF2B5EF4-FFF2-40B4-BE49-F238E27FC236}">
                    <a16:creationId xmlns:a16="http://schemas.microsoft.com/office/drawing/2014/main" id="{EA1AFBA3-EC3F-77F7-9F57-4B91AF10B939}"/>
                  </a:ext>
                </a:extLst>
              </p:cNvPr>
              <p:cNvPicPr>
                <a:picLocks noChangeAspect="1"/>
              </p:cNvPicPr>
              <p:nvPr/>
            </p:nvPicPr>
            <p:blipFill rotWithShape="1">
              <a:blip r:embed="rId4"/>
              <a:srcRect l="23792" t="13750" r="24769" b="17125"/>
              <a:stretch/>
            </p:blipFill>
            <p:spPr>
              <a:xfrm>
                <a:off x="4471127" y="1921388"/>
                <a:ext cx="2341448" cy="1778007"/>
              </a:xfrm>
              <a:prstGeom prst="rect">
                <a:avLst/>
              </a:prstGeom>
              <a:noFill/>
              <a:ln>
                <a:solidFill>
                  <a:srgbClr val="000000">
                    <a:lumMod val="50000"/>
                    <a:lumOff val="50000"/>
                  </a:srgbClr>
                </a:solidFill>
              </a:ln>
            </p:spPr>
          </p:pic>
          <p:pic>
            <p:nvPicPr>
              <p:cNvPr id="23" name="Picture 7">
                <a:extLst>
                  <a:ext uri="{FF2B5EF4-FFF2-40B4-BE49-F238E27FC236}">
                    <a16:creationId xmlns:a16="http://schemas.microsoft.com/office/drawing/2014/main" id="{DEFCEC6B-A79A-1A6E-41D7-26911C0253C6}"/>
                  </a:ext>
                </a:extLst>
              </p:cNvPr>
              <p:cNvPicPr>
                <a:picLocks noChangeAspect="1"/>
              </p:cNvPicPr>
              <p:nvPr/>
            </p:nvPicPr>
            <p:blipFill>
              <a:blip r:embed="rId5" cstate="email">
                <a:extLst>
                  <a:ext uri="{28A0092B-C50C-407E-A947-70E740481C1C}">
                    <a14:useLocalDpi xmlns:a14="http://schemas.microsoft.com/office/drawing/2010/main" val="0"/>
                  </a:ext>
                </a:extLst>
              </a:blip>
              <a:srcRect t="6303" r="10172" b="8437"/>
              <a:stretch>
                <a:fillRect/>
              </a:stretch>
            </p:blipFill>
            <p:spPr bwMode="auto">
              <a:xfrm>
                <a:off x="7024458" y="2192071"/>
                <a:ext cx="1614351" cy="1093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a:extLst>
                  <a:ext uri="{FF2B5EF4-FFF2-40B4-BE49-F238E27FC236}">
                    <a16:creationId xmlns:a16="http://schemas.microsoft.com/office/drawing/2014/main" id="{2C2993DE-C46C-FE16-CEA7-A82C69D13B91}"/>
                  </a:ext>
                </a:extLst>
              </p:cNvPr>
              <p:cNvPicPr/>
              <p:nvPr/>
            </p:nvPicPr>
            <p:blipFill>
              <a:blip r:embed="rId6"/>
              <a:srcRect/>
              <a:stretch>
                <a:fillRect/>
              </a:stretch>
            </p:blipFill>
            <p:spPr bwMode="auto">
              <a:xfrm>
                <a:off x="6585375" y="3466259"/>
                <a:ext cx="2357521" cy="1707822"/>
              </a:xfrm>
              <a:prstGeom prst="rect">
                <a:avLst/>
              </a:prstGeom>
              <a:noFill/>
              <a:ln>
                <a:solidFill>
                  <a:srgbClr val="000000">
                    <a:lumMod val="50000"/>
                    <a:lumOff val="50000"/>
                  </a:srgbClr>
                </a:solidFill>
              </a:ln>
            </p:spPr>
          </p:pic>
        </p:grpSp>
        <p:pic>
          <p:nvPicPr>
            <p:cNvPr id="19" name="Content Placeholder 3">
              <a:extLst>
                <a:ext uri="{FF2B5EF4-FFF2-40B4-BE49-F238E27FC236}">
                  <a16:creationId xmlns:a16="http://schemas.microsoft.com/office/drawing/2014/main" id="{0B14765C-AA48-9E7B-8500-B5B286426E06}"/>
                </a:ext>
              </a:extLst>
            </p:cNvPr>
            <p:cNvPicPr>
              <a:picLocks noChangeAspect="1"/>
            </p:cNvPicPr>
            <p:nvPr/>
          </p:nvPicPr>
          <p:blipFill rotWithShape="1">
            <a:blip r:embed="rId7"/>
            <a:srcRect l="28806" t="23078" r="17566" b="22064"/>
            <a:stretch/>
          </p:blipFill>
          <p:spPr>
            <a:xfrm>
              <a:off x="8267418" y="2134837"/>
              <a:ext cx="2553786" cy="1469464"/>
            </a:xfrm>
            <a:prstGeom prst="rect">
              <a:avLst/>
            </a:prstGeom>
          </p:spPr>
        </p:pic>
        <p:pic>
          <p:nvPicPr>
            <p:cNvPr id="20" name="Content Placeholder 7">
              <a:extLst>
                <a:ext uri="{FF2B5EF4-FFF2-40B4-BE49-F238E27FC236}">
                  <a16:creationId xmlns:a16="http://schemas.microsoft.com/office/drawing/2014/main" id="{C7A3A8DD-8EE1-B326-111E-1B9E4EB4ECE0}"/>
                </a:ext>
              </a:extLst>
            </p:cNvPr>
            <p:cNvPicPr>
              <a:picLocks noChangeAspect="1"/>
            </p:cNvPicPr>
            <p:nvPr/>
          </p:nvPicPr>
          <p:blipFill rotWithShape="1">
            <a:blip r:embed="rId8"/>
            <a:srcRect l="28806" t="23521" r="17442" b="22285"/>
            <a:stretch/>
          </p:blipFill>
          <p:spPr>
            <a:xfrm>
              <a:off x="9374220" y="3838984"/>
              <a:ext cx="2579969" cy="1455308"/>
            </a:xfrm>
            <a:prstGeom prst="rect">
              <a:avLst/>
            </a:prstGeom>
          </p:spPr>
        </p:pic>
      </p:grpSp>
      <p:sp>
        <p:nvSpPr>
          <p:cNvPr id="18" name="TextBox 17">
            <a:extLst>
              <a:ext uri="{FF2B5EF4-FFF2-40B4-BE49-F238E27FC236}">
                <a16:creationId xmlns:a16="http://schemas.microsoft.com/office/drawing/2014/main" id="{58B2E7CF-BAC7-A5AE-DD6A-68589EB1F0F8}"/>
              </a:ext>
            </a:extLst>
          </p:cNvPr>
          <p:cNvSpPr txBox="1"/>
          <p:nvPr/>
        </p:nvSpPr>
        <p:spPr>
          <a:xfrm rot="19785134">
            <a:off x="8321692" y="5089236"/>
            <a:ext cx="2041430" cy="261610"/>
          </a:xfrm>
          <a:prstGeom prst="rect">
            <a:avLst/>
          </a:prstGeom>
          <a:solidFill>
            <a:schemeClr val="tx1"/>
          </a:solidFill>
          <a:ln>
            <a:solidFill>
              <a:schemeClr val="accent2"/>
            </a:solid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or Illustration Purposes Only</a:t>
            </a:r>
          </a:p>
        </p:txBody>
      </p:sp>
      <p:sp>
        <p:nvSpPr>
          <p:cNvPr id="4" name="Title 1">
            <a:extLst>
              <a:ext uri="{FF2B5EF4-FFF2-40B4-BE49-F238E27FC236}">
                <a16:creationId xmlns:a16="http://schemas.microsoft.com/office/drawing/2014/main" id="{7FFDC905-EBD7-54C0-9894-46419C450861}"/>
              </a:ext>
            </a:extLst>
          </p:cNvPr>
          <p:cNvSpPr txBox="1">
            <a:spLocks/>
          </p:cNvSpPr>
          <p:nvPr/>
        </p:nvSpPr>
        <p:spPr>
          <a:xfrm>
            <a:off x="411480" y="402587"/>
            <a:ext cx="11252200" cy="334102"/>
          </a:xfrm>
          <a:prstGeom prst="rect">
            <a:avLst/>
          </a:prstGeom>
        </p:spPr>
        <p:txBody>
          <a:bodyPr vert="horz" wrap="square" lIns="0" tIns="0" rIns="0" bIns="0" rtlCol="0" anchor="t" anchorCtr="0">
            <a:noAutofit/>
          </a:bodyPr>
          <a:lstStyle>
            <a:lvl1pPr>
              <a:defRPr sz="2400" b="0" i="0">
                <a:solidFill>
                  <a:srgbClr val="86BC25"/>
                </a:solidFill>
                <a:latin typeface="Calibri" panose="020F0502020204030204" pitchFamily="34" charset="0"/>
                <a:ea typeface="Verdana" panose="020B0604030504040204" pitchFamily="34" charset="0"/>
                <a:cs typeface="Calibri" panose="020F0502020204030204" pitchFamily="34" charset="0"/>
              </a:defRPr>
            </a:lvl1pPr>
          </a:lstStyle>
          <a:p>
            <a:pPr hangingPunct="1">
              <a:spcBef>
                <a:spcPct val="0"/>
              </a:spcBef>
              <a:defRPr/>
            </a:pPr>
            <a:r>
              <a:rPr lang="en-US" sz="2000" dirty="0">
                <a:solidFill>
                  <a:schemeClr val="tx2">
                    <a:lumMod val="50000"/>
                  </a:schemeClr>
                </a:solidFill>
                <a:latin typeface="+mn-lt"/>
                <a:ea typeface="Open Sans Semibold" panose="020B0706030804020204" pitchFamily="34" charset="0"/>
                <a:cs typeface="Open Sans Semibold" panose="020B0706030804020204" pitchFamily="34" charset="0"/>
              </a:rPr>
              <a:t>Approach and Methodology</a:t>
            </a:r>
          </a:p>
        </p:txBody>
      </p:sp>
      <p:sp>
        <p:nvSpPr>
          <p:cNvPr id="8" name="TextBox 7">
            <a:extLst>
              <a:ext uri="{FF2B5EF4-FFF2-40B4-BE49-F238E27FC236}">
                <a16:creationId xmlns:a16="http://schemas.microsoft.com/office/drawing/2014/main" id="{68AD4ED9-1A0D-B5FE-63F0-E40859D3776F}"/>
              </a:ext>
            </a:extLst>
          </p:cNvPr>
          <p:cNvSpPr txBox="1"/>
          <p:nvPr/>
        </p:nvSpPr>
        <p:spPr>
          <a:xfrm>
            <a:off x="3132509" y="1647820"/>
            <a:ext cx="1542233" cy="246221"/>
          </a:xfrm>
          <a:prstGeom prst="rect">
            <a:avLst/>
          </a:prstGeom>
          <a:solidFill>
            <a:schemeClr val="bg1"/>
          </a:solidFill>
          <a:ln>
            <a:solidFill>
              <a:schemeClr val="accent2"/>
            </a:solidFill>
          </a:ln>
        </p:spPr>
        <p:txBody>
          <a:bodyPr wrap="square" lIns="0" tIns="0" rIns="0" bIns="0" rtlCol="0">
            <a:spAutoFit/>
          </a:bodyPr>
          <a:lstStyle/>
          <a:p>
            <a:pPr algn="ctr">
              <a:spcBef>
                <a:spcPts val="600"/>
              </a:spcBef>
              <a:buSzPct val="100000"/>
            </a:pPr>
            <a:r>
              <a:rPr lang="en-US" sz="1600" b="1" dirty="0">
                <a:solidFill>
                  <a:schemeClr val="accent2"/>
                </a:solidFill>
                <a:latin typeface="+mn-lt"/>
              </a:rPr>
              <a:t>Key Activities</a:t>
            </a:r>
            <a:endParaRPr lang="en-AE" sz="1600" b="1" dirty="0">
              <a:solidFill>
                <a:schemeClr val="accent2"/>
              </a:solidFill>
              <a:latin typeface="+mn-lt"/>
            </a:endParaRPr>
          </a:p>
        </p:txBody>
      </p:sp>
      <p:sp>
        <p:nvSpPr>
          <p:cNvPr id="9" name="TextBox 8">
            <a:extLst>
              <a:ext uri="{FF2B5EF4-FFF2-40B4-BE49-F238E27FC236}">
                <a16:creationId xmlns:a16="http://schemas.microsoft.com/office/drawing/2014/main" id="{AE41B013-9092-5AF9-6370-50A687A4B57E}"/>
              </a:ext>
            </a:extLst>
          </p:cNvPr>
          <p:cNvSpPr txBox="1"/>
          <p:nvPr/>
        </p:nvSpPr>
        <p:spPr>
          <a:xfrm rot="5400000">
            <a:off x="11456364" y="3983555"/>
            <a:ext cx="1051570" cy="246221"/>
          </a:xfrm>
          <a:prstGeom prst="rect">
            <a:avLst/>
          </a:prstGeom>
          <a:solidFill>
            <a:schemeClr val="bg1"/>
          </a:solidFill>
          <a:ln>
            <a:solidFill>
              <a:schemeClr val="accent2"/>
            </a:solidFill>
          </a:ln>
        </p:spPr>
        <p:txBody>
          <a:bodyPr wrap="none" lIns="0" tIns="0" rIns="0" bIns="0" rtlCol="0">
            <a:spAutoFit/>
          </a:bodyPr>
          <a:lstStyle/>
          <a:p>
            <a:pPr algn="ctr">
              <a:spcBef>
                <a:spcPts val="600"/>
              </a:spcBef>
              <a:buSzPct val="100000"/>
            </a:pPr>
            <a:r>
              <a:rPr lang="en-US" sz="1600" b="1" dirty="0">
                <a:solidFill>
                  <a:schemeClr val="accent2"/>
                </a:solidFill>
                <a:latin typeface="+mn-lt"/>
              </a:rPr>
              <a:t>Deliverables</a:t>
            </a:r>
            <a:endParaRPr lang="en-AE" sz="1600" b="1" dirty="0">
              <a:solidFill>
                <a:schemeClr val="accent2"/>
              </a:solidFill>
              <a:latin typeface="+mn-lt"/>
            </a:endParaRPr>
          </a:p>
        </p:txBody>
      </p:sp>
      <p:sp>
        <p:nvSpPr>
          <p:cNvPr id="16" name="Text Placeholder 20">
            <a:extLst>
              <a:ext uri="{FF2B5EF4-FFF2-40B4-BE49-F238E27FC236}">
                <a16:creationId xmlns:a16="http://schemas.microsoft.com/office/drawing/2014/main" id="{70A07755-232C-3B18-BC52-2FCA6EFF76D9}"/>
              </a:ext>
            </a:extLst>
          </p:cNvPr>
          <p:cNvSpPr txBox="1">
            <a:spLocks/>
          </p:cNvSpPr>
          <p:nvPr/>
        </p:nvSpPr>
        <p:spPr>
          <a:xfrm>
            <a:off x="411480"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lvl="0" indent="0">
              <a:spcBef>
                <a:spcPts val="0"/>
              </a:spcBef>
              <a:spcAft>
                <a:spcPts val="1333"/>
              </a:spcAft>
              <a:buNone/>
              <a:defRPr/>
            </a:pPr>
            <a:r>
              <a:rPr lang="en-US" sz="1400" b="1" dirty="0">
                <a:solidFill>
                  <a:srgbClr val="575757"/>
                </a:solidFill>
                <a:latin typeface="+mn-lt"/>
                <a:ea typeface="Open Sans Light" panose="020B0306030504020204" pitchFamily="34" charset="0"/>
                <a:cs typeface="Open Sans Light" panose="020B0306030504020204" pitchFamily="34" charset="0"/>
              </a:rPr>
              <a:t>Phase 8: Business Continuity Testing &amp; Performance Monitoring</a:t>
            </a:r>
          </a:p>
        </p:txBody>
      </p:sp>
    </p:spTree>
    <p:extLst>
      <p:ext uri="{BB962C8B-B14F-4D97-AF65-F5344CB8AC3E}">
        <p14:creationId xmlns:p14="http://schemas.microsoft.com/office/powerpoint/2010/main" val="470543264"/>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Process 1">
            <a:extLst>
              <a:ext uri="{FF2B5EF4-FFF2-40B4-BE49-F238E27FC236}">
                <a16:creationId xmlns:a16="http://schemas.microsoft.com/office/drawing/2014/main" id="{F97DEE8E-5A91-51C9-D51A-839ECF88EFFA}"/>
              </a:ext>
            </a:extLst>
          </p:cNvPr>
          <p:cNvSpPr/>
          <p:nvPr/>
        </p:nvSpPr>
        <p:spPr bwMode="gray">
          <a:xfrm>
            <a:off x="7337040" y="2018974"/>
            <a:ext cx="4226294" cy="4447309"/>
          </a:xfrm>
          <a:prstGeom prst="flowChartProcess">
            <a:avLst/>
          </a:prstGeom>
          <a:noFill/>
          <a:ln w="3810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sp>
        <p:nvSpPr>
          <p:cNvPr id="6" name="TextBox 5">
            <a:extLst>
              <a:ext uri="{FF2B5EF4-FFF2-40B4-BE49-F238E27FC236}">
                <a16:creationId xmlns:a16="http://schemas.microsoft.com/office/drawing/2014/main" id="{6C6E46D1-9928-6F5D-9E42-D7E1F30C0432}"/>
              </a:ext>
            </a:extLst>
          </p:cNvPr>
          <p:cNvSpPr txBox="1"/>
          <p:nvPr/>
        </p:nvSpPr>
        <p:spPr>
          <a:xfrm>
            <a:off x="394109" y="1048757"/>
            <a:ext cx="11530798" cy="661667"/>
          </a:xfrm>
          <a:prstGeom prst="rect">
            <a:avLst/>
          </a:prstGeom>
          <a:noFill/>
          <a:ln w="9525" algn="ctr">
            <a:noFill/>
            <a:miter lim="800000"/>
            <a:headEnd/>
            <a:tailEnd/>
          </a:ln>
        </p:spPr>
        <p:txBody>
          <a:bodyPr wrap="square" lIns="91440" tIns="0" rIns="91440" bIns="0" rtlCol="0" anchor="t" anchorCtr="0">
            <a:noAutofit/>
          </a:bodyPr>
          <a:lstStyle/>
          <a:p>
            <a:pPr algn="just">
              <a:lnSpc>
                <a:spcPct val="120000"/>
              </a:lnSpc>
              <a:spcAft>
                <a:spcPts val="600"/>
              </a:spcAft>
              <a:buSzPct val="100000"/>
              <a:defRPr/>
            </a:pPr>
            <a:r>
              <a:rPr lang="en-US" sz="1100" dirty="0">
                <a:solidFill>
                  <a:schemeClr val="tx2"/>
                </a:solidFill>
                <a:latin typeface="+mn-lt"/>
              </a:rPr>
              <a:t>Deloitte will provide support to Salam during internal audit to ensure the efficiency of resilience procedures and their conformity to standard operating procedures as well as government regulations. </a:t>
            </a:r>
          </a:p>
        </p:txBody>
      </p:sp>
      <p:sp>
        <p:nvSpPr>
          <p:cNvPr id="7" name="Rectangle 6">
            <a:extLst>
              <a:ext uri="{FF2B5EF4-FFF2-40B4-BE49-F238E27FC236}">
                <a16:creationId xmlns:a16="http://schemas.microsoft.com/office/drawing/2014/main" id="{14D9002B-DD0E-EFD1-A216-9AEB531F0521}"/>
              </a:ext>
            </a:extLst>
          </p:cNvPr>
          <p:cNvSpPr/>
          <p:nvPr/>
        </p:nvSpPr>
        <p:spPr bwMode="gray">
          <a:xfrm>
            <a:off x="210696" y="1784252"/>
            <a:ext cx="11770607" cy="4834428"/>
          </a:xfrm>
          <a:prstGeom prst="rect">
            <a:avLst/>
          </a:prstGeom>
          <a:noFill/>
          <a:ln w="19050" algn="ctr">
            <a:solidFill>
              <a:schemeClr val="accent2"/>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AE" sz="1600" b="1" dirty="0">
              <a:solidFill>
                <a:schemeClr val="accent2"/>
              </a:solidFill>
            </a:endParaRPr>
          </a:p>
        </p:txBody>
      </p:sp>
      <p:pic>
        <p:nvPicPr>
          <p:cNvPr id="12" name="Picture 11">
            <a:extLst>
              <a:ext uri="{FF2B5EF4-FFF2-40B4-BE49-F238E27FC236}">
                <a16:creationId xmlns:a16="http://schemas.microsoft.com/office/drawing/2014/main" id="{0100AEC9-B961-33D1-CF6C-D74C246D49DA}"/>
              </a:ext>
            </a:extLst>
          </p:cNvPr>
          <p:cNvPicPr>
            <a:picLocks noChangeAspect="1"/>
          </p:cNvPicPr>
          <p:nvPr/>
        </p:nvPicPr>
        <p:blipFill>
          <a:blip r:embed="rId2"/>
          <a:stretch>
            <a:fillRect/>
          </a:stretch>
        </p:blipFill>
        <p:spPr>
          <a:xfrm>
            <a:off x="9185616" y="1535515"/>
            <a:ext cx="733646" cy="733646"/>
          </a:xfrm>
          <a:prstGeom prst="rect">
            <a:avLst/>
          </a:prstGeom>
        </p:spPr>
      </p:pic>
      <p:sp>
        <p:nvSpPr>
          <p:cNvPr id="13" name="TextBox 12">
            <a:extLst>
              <a:ext uri="{FF2B5EF4-FFF2-40B4-BE49-F238E27FC236}">
                <a16:creationId xmlns:a16="http://schemas.microsoft.com/office/drawing/2014/main" id="{33DDE945-E8CA-2113-0778-A7C5E1D6F168}"/>
              </a:ext>
            </a:extLst>
          </p:cNvPr>
          <p:cNvSpPr txBox="1"/>
          <p:nvPr/>
        </p:nvSpPr>
        <p:spPr>
          <a:xfrm>
            <a:off x="7778883" y="2503883"/>
            <a:ext cx="3547112" cy="14773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285750" indent="-285750">
              <a:lnSpc>
                <a:spcPct val="150000"/>
              </a:lnSpc>
              <a:buFont typeface="Wingdings" panose="05000000000000000000" pitchFamily="2" charset="2"/>
              <a:buChar char="ü"/>
              <a:defRPr/>
            </a:pPr>
            <a:r>
              <a:rPr lang="en-US" sz="1100" kern="1200" dirty="0">
                <a:solidFill>
                  <a:prstClr val="black"/>
                </a:solidFill>
                <a:latin typeface="+mn-lt"/>
                <a:ea typeface="Verdana" panose="020B0604030504040204" pitchFamily="34" charset="0"/>
                <a:cs typeface="Open Sans Light" panose="020B0306030504020204" pitchFamily="34" charset="0"/>
              </a:rPr>
              <a:t>Support / conduct Internal Audit of the overall BCMS Program (outsourced or co-sourced, to be agreed).</a:t>
            </a:r>
          </a:p>
          <a:p>
            <a:pPr marL="285750" indent="-285750">
              <a:lnSpc>
                <a:spcPct val="150000"/>
              </a:lnSpc>
              <a:buFont typeface="Wingdings" panose="05000000000000000000" pitchFamily="2" charset="2"/>
              <a:buChar char="ü"/>
              <a:defRPr/>
            </a:pPr>
            <a:r>
              <a:rPr lang="en-US" sz="1100" kern="1200" dirty="0">
                <a:solidFill>
                  <a:prstClr val="black"/>
                </a:solidFill>
                <a:latin typeface="+mn-lt"/>
                <a:ea typeface="Verdana" panose="020B0604030504040204" pitchFamily="34" charset="0"/>
                <a:cs typeface="Open Sans Light" panose="020B0306030504020204" pitchFamily="34" charset="0"/>
              </a:rPr>
              <a:t>Internal audit report</a:t>
            </a:r>
          </a:p>
          <a:p>
            <a:pPr marL="285750" indent="-285750">
              <a:lnSpc>
                <a:spcPct val="150000"/>
              </a:lnSpc>
              <a:buFont typeface="Wingdings" panose="05000000000000000000" pitchFamily="2" charset="2"/>
              <a:buChar char="ü"/>
              <a:defRPr/>
            </a:pPr>
            <a:r>
              <a:rPr lang="en-US" sz="1100" kern="1200" dirty="0">
                <a:solidFill>
                  <a:prstClr val="black"/>
                </a:solidFill>
                <a:latin typeface="+mn-lt"/>
                <a:ea typeface="Verdana" panose="020B0604030504040204" pitchFamily="34" charset="0"/>
                <a:cs typeface="Open Sans Light" panose="020B0306030504020204" pitchFamily="34" charset="0"/>
              </a:rPr>
              <a:t>Presentation to Salam management</a:t>
            </a:r>
          </a:p>
          <a:p>
            <a:pPr marL="285750" indent="-285750">
              <a:lnSpc>
                <a:spcPct val="150000"/>
              </a:lnSpc>
              <a:buFont typeface="Wingdings" panose="05000000000000000000" pitchFamily="2" charset="2"/>
              <a:buChar char="ü"/>
            </a:pPr>
            <a:endParaRPr lang="en-US" sz="1100" dirty="0">
              <a:solidFill>
                <a:schemeClr val="tx2"/>
              </a:solidFill>
              <a:latin typeface="+mn-lt"/>
            </a:endParaRPr>
          </a:p>
          <a:p>
            <a:pPr marR="0" algn="l" defTabSz="914400" rtl="0" fontAlgn="auto" latinLnBrk="0" hangingPunct="0">
              <a:lnSpc>
                <a:spcPct val="100000"/>
              </a:lnSpc>
              <a:spcBef>
                <a:spcPts val="0"/>
              </a:spcBef>
              <a:spcAft>
                <a:spcPts val="0"/>
              </a:spcAft>
              <a:buClrTx/>
              <a:buSzTx/>
              <a:tabLst/>
            </a:pPr>
            <a:endParaRPr kumimoji="0" lang="en-AE" sz="1100" b="0" i="0" u="none" strike="noStrike" cap="none" spc="0" normalizeH="0" baseline="0" dirty="0">
              <a:ln>
                <a:noFill/>
              </a:ln>
              <a:solidFill>
                <a:srgbClr val="000000"/>
              </a:solidFill>
              <a:effectLst/>
              <a:uFillTx/>
              <a:latin typeface="+mn-lt"/>
              <a:ea typeface="Open Sans Light"/>
              <a:cs typeface="Open Sans Light"/>
              <a:sym typeface="Open Sans Light"/>
            </a:endParaRPr>
          </a:p>
        </p:txBody>
      </p:sp>
      <p:sp>
        <p:nvSpPr>
          <p:cNvPr id="14" name="TextBox 13">
            <a:extLst>
              <a:ext uri="{FF2B5EF4-FFF2-40B4-BE49-F238E27FC236}">
                <a16:creationId xmlns:a16="http://schemas.microsoft.com/office/drawing/2014/main" id="{74E8D412-29B6-7CB8-793B-7E0D9E36ADE2}"/>
              </a:ext>
            </a:extLst>
          </p:cNvPr>
          <p:cNvSpPr txBox="1"/>
          <p:nvPr/>
        </p:nvSpPr>
        <p:spPr>
          <a:xfrm>
            <a:off x="628665" y="2228374"/>
            <a:ext cx="6290405" cy="22467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285750" indent="-285750">
              <a:lnSpc>
                <a:spcPct val="150000"/>
              </a:lnSpc>
              <a:buFont typeface="Wingdings" panose="05000000000000000000" pitchFamily="2" charset="2"/>
              <a:buChar char="ü"/>
              <a:defRPr sz="1800">
                <a:solidFill>
                  <a:schemeClr val="tx2"/>
                </a:solidFill>
                <a:latin typeface="+mn-lt"/>
              </a:defRPr>
            </a:lvl1pPr>
          </a:lstStyle>
          <a:p>
            <a:pPr marL="0" indent="0" algn="just">
              <a:lnSpc>
                <a:spcPct val="120000"/>
              </a:lnSpc>
              <a:spcAft>
                <a:spcPts val="600"/>
              </a:spcAft>
              <a:buSzPct val="100000"/>
              <a:buNone/>
              <a:defRPr/>
            </a:pPr>
            <a:r>
              <a:rPr lang="en-US" sz="1100" kern="1200" dirty="0">
                <a:solidFill>
                  <a:prstClr val="black"/>
                </a:solidFill>
                <a:ea typeface="Verdana" panose="020B0604030504040204" pitchFamily="34" charset="0"/>
                <a:cs typeface="Open Sans Light" panose="020B0306030504020204" pitchFamily="34" charset="0"/>
              </a:rPr>
              <a:t>As part of Phase 7, Deloitte will perform the following activities:</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Prepare the necessary documentation and records that are expected to be reviewed by the external certification body as well as the internal audit team.</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Assist auditors during internal / external audits in gathering the necessary evidence and guide them in identifying the appropriate corrective actions.</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Create and update a  corrective-action tracker in which our consultant will report any identified non-conformity and the relevant corrective action. </a:t>
            </a:r>
          </a:p>
          <a:p>
            <a:pPr algn="just">
              <a:lnSpc>
                <a:spcPct val="120000"/>
              </a:lnSpc>
              <a:spcAft>
                <a:spcPts val="600"/>
              </a:spcAft>
              <a:buSzPct val="100000"/>
              <a:buFont typeface="Wingdings" panose="05000000000000000000" pitchFamily="2" charset="2"/>
              <a:buChar char="Ø"/>
              <a:defRPr/>
            </a:pPr>
            <a:r>
              <a:rPr lang="en-US" sz="1100" kern="1200" dirty="0">
                <a:solidFill>
                  <a:prstClr val="black"/>
                </a:solidFill>
                <a:ea typeface="Verdana" panose="020B0604030504040204" pitchFamily="34" charset="0"/>
                <a:cs typeface="Open Sans Light" panose="020B0306030504020204" pitchFamily="34" charset="0"/>
              </a:rPr>
              <a:t>Ensure that Salam tackles every non-conformity and advise on  implementing all corrective actions in a timely manner.</a:t>
            </a:r>
          </a:p>
        </p:txBody>
      </p:sp>
      <p:sp>
        <p:nvSpPr>
          <p:cNvPr id="4" name="Rectangle 3">
            <a:extLst>
              <a:ext uri="{FF2B5EF4-FFF2-40B4-BE49-F238E27FC236}">
                <a16:creationId xmlns:a16="http://schemas.microsoft.com/office/drawing/2014/main" id="{28A346D3-AA0E-88C7-49EA-C7AB03F68197}"/>
              </a:ext>
            </a:extLst>
          </p:cNvPr>
          <p:cNvSpPr/>
          <p:nvPr/>
        </p:nvSpPr>
        <p:spPr>
          <a:xfrm>
            <a:off x="10091426" y="5022254"/>
            <a:ext cx="1422120" cy="153500"/>
          </a:xfrm>
          <a:prstGeom prst="rect">
            <a:avLst/>
          </a:prstGeom>
          <a:noFill/>
          <a:ln w="2540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1pPr>
            <a:lvl2pPr marL="0" marR="0" indent="4572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2pPr>
            <a:lvl3pPr marL="0" marR="0" indent="9144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3pPr>
            <a:lvl4pPr marL="0" marR="0" indent="13716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4pPr>
            <a:lvl5pPr marL="0" marR="0" indent="18288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5pPr>
            <a:lvl6pPr marL="0" marR="0" indent="22860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6pPr>
            <a:lvl7pPr marL="0" marR="0" indent="27432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7pPr>
            <a:lvl8pPr marL="0" marR="0" indent="32004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8pPr>
            <a:lvl9pPr marL="0" marR="0" indent="36576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9pPr>
          </a:lstStyle>
          <a:p>
            <a:pPr marL="0" marR="0" lvl="0" indent="0" defTabSz="1219170" eaLnBrk="1" fontAlgn="auto" latinLnBrk="0" hangingPunct="1">
              <a:lnSpc>
                <a:spcPct val="100000"/>
              </a:lnSpc>
              <a:spcBef>
                <a:spcPts val="0"/>
              </a:spcBef>
              <a:spcAft>
                <a:spcPts val="0"/>
              </a:spcAft>
              <a:buClrTx/>
              <a:buSzPct val="65000"/>
              <a:buFontTx/>
              <a:buNone/>
              <a:tabLst/>
              <a:defRPr/>
            </a:pPr>
            <a:r>
              <a:rPr lang="en-US" sz="600" b="1" kern="1200" dirty="0">
                <a:solidFill>
                  <a:srgbClr val="86BC25"/>
                </a:solidFill>
                <a:latin typeface="Calibri" panose="020F0502020204030204" pitchFamily="34" charset="0"/>
                <a:ea typeface="Open Sans Light" panose="020B0306030504020204" pitchFamily="34" charset="0"/>
                <a:cs typeface="Calibri" panose="020F0502020204030204" pitchFamily="34" charset="0"/>
              </a:rPr>
              <a:t>Internal Audit Report Template</a:t>
            </a:r>
          </a:p>
        </p:txBody>
      </p:sp>
      <p:pic>
        <p:nvPicPr>
          <p:cNvPr id="8" name="Picture 7">
            <a:extLst>
              <a:ext uri="{FF2B5EF4-FFF2-40B4-BE49-F238E27FC236}">
                <a16:creationId xmlns:a16="http://schemas.microsoft.com/office/drawing/2014/main" id="{531E45F6-FC67-C51A-9801-72EFF3B303A5}"/>
              </a:ext>
            </a:extLst>
          </p:cNvPr>
          <p:cNvPicPr>
            <a:picLocks noChangeAspect="1"/>
          </p:cNvPicPr>
          <p:nvPr/>
        </p:nvPicPr>
        <p:blipFill>
          <a:blip r:embed="rId3"/>
          <a:stretch>
            <a:fillRect/>
          </a:stretch>
        </p:blipFill>
        <p:spPr>
          <a:xfrm>
            <a:off x="7778883" y="4211092"/>
            <a:ext cx="2424889" cy="1882927"/>
          </a:xfrm>
          <a:prstGeom prst="rect">
            <a:avLst/>
          </a:prstGeom>
        </p:spPr>
      </p:pic>
      <p:sp>
        <p:nvSpPr>
          <p:cNvPr id="9" name="Rectangle 8">
            <a:extLst>
              <a:ext uri="{FF2B5EF4-FFF2-40B4-BE49-F238E27FC236}">
                <a16:creationId xmlns:a16="http://schemas.microsoft.com/office/drawing/2014/main" id="{D8F82CFD-A23A-F9CF-B686-5E34E577D893}"/>
              </a:ext>
            </a:extLst>
          </p:cNvPr>
          <p:cNvSpPr/>
          <p:nvPr/>
        </p:nvSpPr>
        <p:spPr>
          <a:xfrm>
            <a:off x="7735833" y="4054626"/>
            <a:ext cx="1984638" cy="156465"/>
          </a:xfrm>
          <a:prstGeom prst="rect">
            <a:avLst/>
          </a:prstGeom>
          <a:noFill/>
          <a:ln w="2540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1pPr>
            <a:lvl2pPr marL="0" marR="0" indent="4572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2pPr>
            <a:lvl3pPr marL="0" marR="0" indent="9144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3pPr>
            <a:lvl4pPr marL="0" marR="0" indent="13716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4pPr>
            <a:lvl5pPr marL="0" marR="0" indent="18288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5pPr>
            <a:lvl6pPr marL="0" marR="0" indent="22860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6pPr>
            <a:lvl7pPr marL="0" marR="0" indent="27432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7pPr>
            <a:lvl8pPr marL="0" marR="0" indent="32004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8pPr>
            <a:lvl9pPr marL="0" marR="0" indent="36576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9pPr>
          </a:lstStyle>
          <a:p>
            <a:pPr marL="0" marR="0" lvl="0" indent="0" defTabSz="1219170" eaLnBrk="1" fontAlgn="auto" latinLnBrk="0" hangingPunct="1">
              <a:lnSpc>
                <a:spcPct val="100000"/>
              </a:lnSpc>
              <a:spcBef>
                <a:spcPts val="0"/>
              </a:spcBef>
              <a:spcAft>
                <a:spcPts val="0"/>
              </a:spcAft>
              <a:buClrTx/>
              <a:buSzPct val="65000"/>
              <a:buFontTx/>
              <a:buNone/>
              <a:tabLst/>
              <a:defRPr/>
            </a:pPr>
            <a:r>
              <a:rPr lang="en-US" sz="600" b="1" kern="1200" dirty="0">
                <a:solidFill>
                  <a:srgbClr val="86BC25"/>
                </a:solidFill>
                <a:latin typeface="Calibri" panose="020F0502020204030204" pitchFamily="34" charset="0"/>
                <a:ea typeface="Open Sans Light" panose="020B0306030504020204" pitchFamily="34" charset="0"/>
                <a:cs typeface="Calibri" panose="020F0502020204030204" pitchFamily="34" charset="0"/>
              </a:rPr>
              <a:t>Internal Audit Report Template – KPI Reporting</a:t>
            </a:r>
          </a:p>
        </p:txBody>
      </p:sp>
      <p:pic>
        <p:nvPicPr>
          <p:cNvPr id="16" name="Picture 15">
            <a:extLst>
              <a:ext uri="{FF2B5EF4-FFF2-40B4-BE49-F238E27FC236}">
                <a16:creationId xmlns:a16="http://schemas.microsoft.com/office/drawing/2014/main" id="{522F67A9-525B-C233-4B7B-D22737E635A6}"/>
              </a:ext>
            </a:extLst>
          </p:cNvPr>
          <p:cNvPicPr>
            <a:picLocks noChangeAspect="1"/>
          </p:cNvPicPr>
          <p:nvPr/>
        </p:nvPicPr>
        <p:blipFill>
          <a:blip r:embed="rId4"/>
          <a:stretch>
            <a:fillRect/>
          </a:stretch>
        </p:blipFill>
        <p:spPr>
          <a:xfrm>
            <a:off x="9405818" y="5175754"/>
            <a:ext cx="1897032" cy="1157095"/>
          </a:xfrm>
          <a:prstGeom prst="rect">
            <a:avLst/>
          </a:prstGeom>
        </p:spPr>
      </p:pic>
      <p:sp>
        <p:nvSpPr>
          <p:cNvPr id="18" name="TextBox 17">
            <a:extLst>
              <a:ext uri="{FF2B5EF4-FFF2-40B4-BE49-F238E27FC236}">
                <a16:creationId xmlns:a16="http://schemas.microsoft.com/office/drawing/2014/main" id="{58B2E7CF-BAC7-A5AE-DD6A-68589EB1F0F8}"/>
              </a:ext>
            </a:extLst>
          </p:cNvPr>
          <p:cNvSpPr txBox="1"/>
          <p:nvPr/>
        </p:nvSpPr>
        <p:spPr>
          <a:xfrm rot="19785134">
            <a:off x="8321692" y="4819729"/>
            <a:ext cx="2041430" cy="261610"/>
          </a:xfrm>
          <a:prstGeom prst="rect">
            <a:avLst/>
          </a:prstGeom>
          <a:solidFill>
            <a:schemeClr val="tx1"/>
          </a:solidFill>
          <a:ln>
            <a:solidFill>
              <a:schemeClr val="accent2"/>
            </a:solid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or Illustration Purposes Only</a:t>
            </a:r>
          </a:p>
        </p:txBody>
      </p:sp>
      <p:sp>
        <p:nvSpPr>
          <p:cNvPr id="15" name="Title 1">
            <a:extLst>
              <a:ext uri="{FF2B5EF4-FFF2-40B4-BE49-F238E27FC236}">
                <a16:creationId xmlns:a16="http://schemas.microsoft.com/office/drawing/2014/main" id="{9FF90582-304C-8AED-2E50-AB8ABD86D626}"/>
              </a:ext>
            </a:extLst>
          </p:cNvPr>
          <p:cNvSpPr txBox="1">
            <a:spLocks/>
          </p:cNvSpPr>
          <p:nvPr/>
        </p:nvSpPr>
        <p:spPr>
          <a:xfrm>
            <a:off x="411480" y="402587"/>
            <a:ext cx="11252200" cy="334102"/>
          </a:xfrm>
          <a:prstGeom prst="rect">
            <a:avLst/>
          </a:prstGeom>
        </p:spPr>
        <p:txBody>
          <a:bodyPr vert="horz" wrap="square" lIns="0" tIns="0" rIns="0" bIns="0" rtlCol="0" anchor="t" anchorCtr="0">
            <a:noAutofit/>
          </a:bodyPr>
          <a:lstStyle>
            <a:lvl1pPr>
              <a:defRPr sz="2400" b="0" i="0">
                <a:solidFill>
                  <a:srgbClr val="86BC25"/>
                </a:solidFill>
                <a:latin typeface="Calibri" panose="020F0502020204030204" pitchFamily="34" charset="0"/>
                <a:ea typeface="Verdana" panose="020B0604030504040204" pitchFamily="34" charset="0"/>
                <a:cs typeface="Calibri" panose="020F0502020204030204" pitchFamily="34" charset="0"/>
              </a:defRPr>
            </a:lvl1pPr>
          </a:lstStyle>
          <a:p>
            <a:pPr hangingPunct="1">
              <a:spcBef>
                <a:spcPct val="0"/>
              </a:spcBef>
              <a:defRPr/>
            </a:pPr>
            <a:r>
              <a:rPr lang="en-US" sz="2000" dirty="0">
                <a:solidFill>
                  <a:schemeClr val="tx2">
                    <a:lumMod val="50000"/>
                  </a:schemeClr>
                </a:solidFill>
                <a:latin typeface="+mn-lt"/>
                <a:ea typeface="Open Sans Semibold" panose="020B0706030804020204" pitchFamily="34" charset="0"/>
                <a:cs typeface="Open Sans Semibold" panose="020B0706030804020204" pitchFamily="34" charset="0"/>
              </a:rPr>
              <a:t>Approach and Methodology</a:t>
            </a:r>
          </a:p>
        </p:txBody>
      </p:sp>
      <p:sp>
        <p:nvSpPr>
          <p:cNvPr id="17" name="TextBox 16">
            <a:extLst>
              <a:ext uri="{FF2B5EF4-FFF2-40B4-BE49-F238E27FC236}">
                <a16:creationId xmlns:a16="http://schemas.microsoft.com/office/drawing/2014/main" id="{E72D22CF-30FA-46E6-A427-1CFF51A57365}"/>
              </a:ext>
            </a:extLst>
          </p:cNvPr>
          <p:cNvSpPr txBox="1"/>
          <p:nvPr/>
        </p:nvSpPr>
        <p:spPr>
          <a:xfrm>
            <a:off x="3132509" y="1647820"/>
            <a:ext cx="1542233" cy="246221"/>
          </a:xfrm>
          <a:prstGeom prst="rect">
            <a:avLst/>
          </a:prstGeom>
          <a:solidFill>
            <a:schemeClr val="bg1"/>
          </a:solidFill>
          <a:ln>
            <a:solidFill>
              <a:schemeClr val="accent2"/>
            </a:solidFill>
          </a:ln>
        </p:spPr>
        <p:txBody>
          <a:bodyPr wrap="square" lIns="0" tIns="0" rIns="0" bIns="0" rtlCol="0">
            <a:spAutoFit/>
          </a:bodyPr>
          <a:lstStyle/>
          <a:p>
            <a:pPr algn="ctr">
              <a:spcBef>
                <a:spcPts val="600"/>
              </a:spcBef>
              <a:buSzPct val="100000"/>
            </a:pPr>
            <a:r>
              <a:rPr lang="en-US" sz="1600" b="1" dirty="0">
                <a:solidFill>
                  <a:schemeClr val="accent2"/>
                </a:solidFill>
                <a:latin typeface="+mn-lt"/>
              </a:rPr>
              <a:t>Key Activities</a:t>
            </a:r>
            <a:endParaRPr lang="en-AE" sz="1600" b="1" dirty="0">
              <a:solidFill>
                <a:schemeClr val="accent2"/>
              </a:solidFill>
              <a:latin typeface="+mn-lt"/>
            </a:endParaRPr>
          </a:p>
        </p:txBody>
      </p:sp>
      <p:sp>
        <p:nvSpPr>
          <p:cNvPr id="19" name="TextBox 18">
            <a:extLst>
              <a:ext uri="{FF2B5EF4-FFF2-40B4-BE49-F238E27FC236}">
                <a16:creationId xmlns:a16="http://schemas.microsoft.com/office/drawing/2014/main" id="{0C81CA47-6BA4-904B-674B-771636761756}"/>
              </a:ext>
            </a:extLst>
          </p:cNvPr>
          <p:cNvSpPr txBox="1"/>
          <p:nvPr/>
        </p:nvSpPr>
        <p:spPr>
          <a:xfrm rot="5400000">
            <a:off x="11456364" y="3983555"/>
            <a:ext cx="1051570" cy="246221"/>
          </a:xfrm>
          <a:prstGeom prst="rect">
            <a:avLst/>
          </a:prstGeom>
          <a:solidFill>
            <a:schemeClr val="bg1"/>
          </a:solidFill>
          <a:ln>
            <a:solidFill>
              <a:schemeClr val="accent2"/>
            </a:solidFill>
          </a:ln>
        </p:spPr>
        <p:txBody>
          <a:bodyPr wrap="none" lIns="0" tIns="0" rIns="0" bIns="0" rtlCol="0">
            <a:spAutoFit/>
          </a:bodyPr>
          <a:lstStyle/>
          <a:p>
            <a:pPr algn="ctr">
              <a:spcBef>
                <a:spcPts val="600"/>
              </a:spcBef>
              <a:buSzPct val="100000"/>
            </a:pPr>
            <a:r>
              <a:rPr lang="en-US" sz="1600" b="1" dirty="0">
                <a:solidFill>
                  <a:schemeClr val="accent2"/>
                </a:solidFill>
                <a:latin typeface="+mn-lt"/>
              </a:rPr>
              <a:t>Deliverables</a:t>
            </a:r>
            <a:endParaRPr lang="en-AE" sz="1600" b="1" dirty="0">
              <a:solidFill>
                <a:schemeClr val="accent2"/>
              </a:solidFill>
              <a:latin typeface="+mn-lt"/>
            </a:endParaRPr>
          </a:p>
        </p:txBody>
      </p:sp>
      <p:sp>
        <p:nvSpPr>
          <p:cNvPr id="20" name="Text Placeholder 20">
            <a:extLst>
              <a:ext uri="{FF2B5EF4-FFF2-40B4-BE49-F238E27FC236}">
                <a16:creationId xmlns:a16="http://schemas.microsoft.com/office/drawing/2014/main" id="{1C283DC2-85F3-5E8C-988C-1D87F0FF6E48}"/>
              </a:ext>
            </a:extLst>
          </p:cNvPr>
          <p:cNvSpPr txBox="1">
            <a:spLocks/>
          </p:cNvSpPr>
          <p:nvPr/>
        </p:nvSpPr>
        <p:spPr>
          <a:xfrm>
            <a:off x="411480"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lvl="0" indent="0">
              <a:spcBef>
                <a:spcPts val="0"/>
              </a:spcBef>
              <a:spcAft>
                <a:spcPts val="1333"/>
              </a:spcAft>
              <a:buNone/>
              <a:defRPr/>
            </a:pPr>
            <a:r>
              <a:rPr lang="en-US" sz="1400" b="1" dirty="0">
                <a:solidFill>
                  <a:srgbClr val="575757"/>
                </a:solidFill>
                <a:latin typeface="+mn-lt"/>
                <a:ea typeface="Open Sans Light" panose="020B0306030504020204" pitchFamily="34" charset="0"/>
                <a:cs typeface="Open Sans Light" panose="020B0306030504020204" pitchFamily="34" charset="0"/>
              </a:rPr>
              <a:t>Phase 9: Business Continuity Internal Audit &amp; Management Review</a:t>
            </a:r>
          </a:p>
        </p:txBody>
      </p:sp>
    </p:spTree>
    <p:extLst>
      <p:ext uri="{BB962C8B-B14F-4D97-AF65-F5344CB8AC3E}">
        <p14:creationId xmlns:p14="http://schemas.microsoft.com/office/powerpoint/2010/main" val="1818102993"/>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2" name="Title 1"/>
          <p:cNvSpPr txBox="1">
            <a:spLocks noGrp="1"/>
          </p:cNvSpPr>
          <p:nvPr>
            <p:ph type="title"/>
          </p:nvPr>
        </p:nvSpPr>
        <p:spPr>
          <a:prstGeom prst="rect">
            <a:avLst/>
          </a:prstGeom>
        </p:spPr>
        <p:txBody>
          <a:bodyPr/>
          <a:lstStyle/>
          <a:p>
            <a:r>
              <a:rPr lang="en-US" dirty="0">
                <a:latin typeface="+mn-lt"/>
              </a:rPr>
              <a:t>Project Timeline</a:t>
            </a:r>
            <a:endParaRPr dirty="0">
              <a:latin typeface="+mn-lt"/>
            </a:endParaRPr>
          </a:p>
        </p:txBody>
      </p:sp>
      <p:sp>
        <p:nvSpPr>
          <p:cNvPr id="3" name="TextBox 2">
            <a:extLst>
              <a:ext uri="{FF2B5EF4-FFF2-40B4-BE49-F238E27FC236}">
                <a16:creationId xmlns:a16="http://schemas.microsoft.com/office/drawing/2014/main" id="{EB781409-9258-CF75-0649-AFB1716B0206}"/>
              </a:ext>
            </a:extLst>
          </p:cNvPr>
          <p:cNvSpPr txBox="1"/>
          <p:nvPr/>
        </p:nvSpPr>
        <p:spPr>
          <a:xfrm>
            <a:off x="478516" y="2622626"/>
            <a:ext cx="10263277" cy="19389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1219170" rtl="0" eaLnBrk="1" fontAlgn="auto" latinLnBrk="0" hangingPunct="1">
              <a:lnSpc>
                <a:spcPct val="100000"/>
              </a:lnSpc>
              <a:spcBef>
                <a:spcPts val="4800"/>
              </a:spcBef>
              <a:spcAft>
                <a:spcPts val="1200"/>
              </a:spcAft>
              <a:buClrTx/>
              <a:buSzPct val="100000"/>
              <a:buFont typeface="Arial" panose="020B0604020202020204" pitchFamily="34" charset="0"/>
              <a:buNone/>
              <a:tabLst/>
              <a:defRPr/>
            </a:pPr>
            <a:r>
              <a:rPr kumimoji="0" lang="en-US" sz="2400" b="0" i="0" u="none" strike="noStrike" kern="120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rPr>
              <a:t>Deloitte has developed a streamlined approach to assist Salam in addressing its requirements. We expect to mobilize our team of consultants in two (02) weeks after signing the engagement letter and anticipate that it will require 6 months to execute the project, followed by the secondment period based on the delivery model selected by Salam.</a:t>
            </a:r>
          </a:p>
        </p:txBody>
      </p:sp>
    </p:spTree>
    <p:extLst>
      <p:ext uri="{BB962C8B-B14F-4D97-AF65-F5344CB8AC3E}">
        <p14:creationId xmlns:p14="http://schemas.microsoft.com/office/powerpoint/2010/main" val="1693645011"/>
      </p:ext>
    </p:extLst>
  </p:cSld>
  <p:clrMapOvr>
    <a:masterClrMapping/>
  </p:clrMapOvr>
  <p:transition spd="slow">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CD537564-9393-DCB0-508C-A78BE497E15E}"/>
              </a:ext>
            </a:extLst>
          </p:cNvPr>
          <p:cNvSpPr txBox="1">
            <a:spLocks/>
          </p:cNvSpPr>
          <p:nvPr/>
        </p:nvSpPr>
        <p:spPr>
          <a:xfrm>
            <a:off x="397228" y="1035980"/>
            <a:ext cx="11337109" cy="403072"/>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600"/>
              </a:spcAft>
              <a:buClrTx/>
              <a:buSzPct val="100000"/>
              <a:buFont typeface="Arial" panose="020B0604020202020204" pitchFamily="34" charset="0"/>
              <a:buNone/>
              <a:tabLst/>
              <a:defRPr/>
            </a:pPr>
            <a:r>
              <a:rPr kumimoji="0" lang="en-US" sz="1100" b="0" i="0" u="none" strike="noStrike" kern="1200" cap="none" spc="0" normalizeH="0" baseline="0" noProof="0" dirty="0">
                <a:ln>
                  <a:noFill/>
                </a:ln>
                <a:solidFill>
                  <a:schemeClr val="tx2">
                    <a:lumMod val="50000"/>
                  </a:schemeClr>
                </a:solidFill>
                <a:effectLst/>
                <a:uLnTx/>
                <a:uFillTx/>
                <a:ea typeface="Open Sans Light" panose="020B0306030504020204" pitchFamily="34" charset="0"/>
                <a:cs typeface="Open Sans Light" panose="020B0306030504020204" pitchFamily="34" charset="0"/>
              </a:rPr>
              <a:t>The following is a representative project timeline for the project. We estimate that the engagement will be completed over 6 months period</a:t>
            </a:r>
            <a:r>
              <a:rPr lang="en-US" sz="1100" dirty="0">
                <a:solidFill>
                  <a:schemeClr val="tx2">
                    <a:lumMod val="50000"/>
                  </a:schemeClr>
                </a:solidFill>
                <a:ea typeface="Open Sans Light" panose="020B0306030504020204" pitchFamily="34" charset="0"/>
                <a:cs typeface="Open Sans Light" panose="020B0306030504020204" pitchFamily="34" charset="0"/>
              </a:rPr>
              <a:t>, followed by secondment of BCM Expert.</a:t>
            </a:r>
            <a:endParaRPr kumimoji="0" lang="en-US" sz="1100" b="0" i="0" u="none" strike="noStrike" kern="1200" cap="none" spc="0" normalizeH="0" baseline="0" noProof="0" dirty="0">
              <a:ln>
                <a:noFill/>
              </a:ln>
              <a:solidFill>
                <a:schemeClr val="tx2">
                  <a:lumMod val="50000"/>
                </a:schemeClr>
              </a:solidFill>
              <a:effectLst/>
              <a:uLnTx/>
              <a:uFillTx/>
              <a:ea typeface="Open Sans Light" panose="020B0306030504020204" pitchFamily="34" charset="0"/>
              <a:cs typeface="Open Sans Light" panose="020B0306030504020204" pitchFamily="34" charset="0"/>
            </a:endParaRPr>
          </a:p>
        </p:txBody>
      </p:sp>
      <p:sp>
        <p:nvSpPr>
          <p:cNvPr id="5" name="Rectangle 4">
            <a:extLst>
              <a:ext uri="{FF2B5EF4-FFF2-40B4-BE49-F238E27FC236}">
                <a16:creationId xmlns:a16="http://schemas.microsoft.com/office/drawing/2014/main" id="{73BAA790-FE7B-E03B-2C71-7FAEFECCC5A0}"/>
              </a:ext>
            </a:extLst>
          </p:cNvPr>
          <p:cNvSpPr/>
          <p:nvPr/>
        </p:nvSpPr>
        <p:spPr>
          <a:xfrm>
            <a:off x="475013" y="5661858"/>
            <a:ext cx="11252204" cy="539670"/>
          </a:xfrm>
          <a:prstGeom prst="rect">
            <a:avLst/>
          </a:prstGeom>
        </p:spPr>
        <p:txBody>
          <a:bodyPr vert="horz" lIns="0" tIns="0" rIns="0" bIns="0" rtlCol="0">
            <a:noAutofit/>
          </a:bodyPr>
          <a:lstStyle/>
          <a:p>
            <a:pPr marL="0" marR="0" lvl="0" indent="0" algn="just" defTabSz="914400" eaLnBrk="1" fontAlgn="auto" latinLnBrk="0" hangingPunct="1">
              <a:lnSpc>
                <a:spcPct val="120000"/>
              </a:lnSpc>
              <a:spcBef>
                <a:spcPts val="0"/>
              </a:spcBef>
              <a:spcAft>
                <a:spcPts val="1200"/>
              </a:spcAft>
              <a:buClrTx/>
              <a:buSzPct val="100000"/>
              <a:buFont typeface="Arial" panose="020B0604020202020204" pitchFamily="34" charset="0"/>
              <a:buNone/>
              <a:tabLst/>
              <a:defRPr/>
            </a:pPr>
            <a:r>
              <a:rPr kumimoji="0" lang="en-US" sz="1100" b="0" i="1" u="none" strike="noStrike" kern="0" cap="none" spc="0" normalizeH="0" baseline="0" noProof="0" dirty="0">
                <a:ln>
                  <a:noFill/>
                </a:ln>
                <a:solidFill>
                  <a:schemeClr val="tx2">
                    <a:lumMod val="50000"/>
                  </a:schemeClr>
                </a:solidFill>
                <a:effectLst/>
                <a:uLnTx/>
                <a:uFillTx/>
                <a:latin typeface="+mn-lt"/>
                <a:ea typeface="Open Sans Light" panose="020B0306030504020204" pitchFamily="34" charset="0"/>
                <a:cs typeface="Open Sans Light" panose="020B0306030504020204" pitchFamily="34" charset="0"/>
              </a:rPr>
              <a:t>Delays caused by </a:t>
            </a:r>
            <a:r>
              <a:rPr lang="en-US" sz="1100" b="1" i="1" dirty="0">
                <a:solidFill>
                  <a:schemeClr val="accent1"/>
                </a:solidFill>
                <a:latin typeface="+mn-lt"/>
                <a:ea typeface="Open Sans Light" panose="020B0306030504020204" pitchFamily="34" charset="0"/>
                <a:cs typeface="Open Sans Light" panose="020B0306030504020204" pitchFamily="34" charset="0"/>
              </a:rPr>
              <a:t>Salam </a:t>
            </a:r>
            <a:r>
              <a:rPr kumimoji="0" lang="en-US" sz="1100" b="0" i="1" u="none" strike="noStrike" kern="0" cap="none" spc="0" normalizeH="0" baseline="0" noProof="0" dirty="0">
                <a:ln>
                  <a:noFill/>
                </a:ln>
                <a:solidFill>
                  <a:schemeClr val="tx2">
                    <a:lumMod val="50000"/>
                  </a:schemeClr>
                </a:solidFill>
                <a:effectLst/>
                <a:uLnTx/>
                <a:uFillTx/>
                <a:latin typeface="+mn-lt"/>
                <a:ea typeface="Open Sans Light" panose="020B0306030504020204" pitchFamily="34" charset="0"/>
                <a:cs typeface="Open Sans Light" panose="020B0306030504020204" pitchFamily="34" charset="0"/>
              </a:rPr>
              <a:t>personnel will be monitored and brought to </a:t>
            </a:r>
            <a:r>
              <a:rPr lang="en-US" sz="1100" b="1" i="1" dirty="0">
                <a:solidFill>
                  <a:schemeClr val="accent1"/>
                </a:solidFill>
                <a:latin typeface="+mn-lt"/>
                <a:ea typeface="Open Sans Light" panose="020B0306030504020204" pitchFamily="34" charset="0"/>
                <a:cs typeface="Open Sans Light" panose="020B0306030504020204" pitchFamily="34" charset="0"/>
              </a:rPr>
              <a:t>Salam </a:t>
            </a:r>
            <a:r>
              <a:rPr kumimoji="0" lang="en-US" sz="1100" b="0" i="1" u="none" strike="noStrike" kern="0" cap="none" spc="0" normalizeH="0" baseline="0" noProof="0" dirty="0">
                <a:ln>
                  <a:noFill/>
                </a:ln>
                <a:solidFill>
                  <a:schemeClr val="tx2">
                    <a:lumMod val="50000"/>
                  </a:schemeClr>
                </a:solidFill>
                <a:effectLst/>
                <a:uLnTx/>
                <a:uFillTx/>
                <a:latin typeface="+mn-lt"/>
                <a:ea typeface="Open Sans Light" panose="020B0306030504020204" pitchFamily="34" charset="0"/>
                <a:cs typeface="Open Sans Light" panose="020B0306030504020204" pitchFamily="34" charset="0"/>
              </a:rPr>
              <a:t>management’s attention as part of the engagement management reporting processes. These delays may add to the total number of man-days required to complete the engagement. In this case, Deloitte reserves the right to pass on any additional fees / costs that are linked to these delays.  We will notify you promptly of any circumstances we encounter that could significantly affect our estimate.</a:t>
            </a:r>
          </a:p>
        </p:txBody>
      </p:sp>
      <p:graphicFrame>
        <p:nvGraphicFramePr>
          <p:cNvPr id="12" name="Table 11">
            <a:extLst>
              <a:ext uri="{FF2B5EF4-FFF2-40B4-BE49-F238E27FC236}">
                <a16:creationId xmlns:a16="http://schemas.microsoft.com/office/drawing/2014/main" id="{D1C24D4A-34E8-8CE6-1234-DCFE6B606C4C}"/>
              </a:ext>
            </a:extLst>
          </p:cNvPr>
          <p:cNvGraphicFramePr>
            <a:graphicFrameLocks noGrp="1"/>
          </p:cNvGraphicFramePr>
          <p:nvPr>
            <p:extLst>
              <p:ext uri="{D42A27DB-BD31-4B8C-83A1-F6EECF244321}">
                <p14:modId xmlns:p14="http://schemas.microsoft.com/office/powerpoint/2010/main" val="1277355463"/>
              </p:ext>
            </p:extLst>
          </p:nvPr>
        </p:nvGraphicFramePr>
        <p:xfrm>
          <a:off x="447261" y="1613914"/>
          <a:ext cx="11586241" cy="3795017"/>
        </p:xfrm>
        <a:graphic>
          <a:graphicData uri="http://schemas.openxmlformats.org/drawingml/2006/table">
            <a:tbl>
              <a:tblPr firstRow="1" bandRow="1"/>
              <a:tblGrid>
                <a:gridCol w="1908313">
                  <a:extLst>
                    <a:ext uri="{9D8B030D-6E8A-4147-A177-3AD203B41FA5}">
                      <a16:colId xmlns:a16="http://schemas.microsoft.com/office/drawing/2014/main" val="20000"/>
                    </a:ext>
                  </a:extLst>
                </a:gridCol>
                <a:gridCol w="403247">
                  <a:extLst>
                    <a:ext uri="{9D8B030D-6E8A-4147-A177-3AD203B41FA5}">
                      <a16:colId xmlns:a16="http://schemas.microsoft.com/office/drawing/2014/main" val="1749046293"/>
                    </a:ext>
                  </a:extLst>
                </a:gridCol>
                <a:gridCol w="403247">
                  <a:extLst>
                    <a:ext uri="{9D8B030D-6E8A-4147-A177-3AD203B41FA5}">
                      <a16:colId xmlns:a16="http://schemas.microsoft.com/office/drawing/2014/main" val="3390278813"/>
                    </a:ext>
                  </a:extLst>
                </a:gridCol>
                <a:gridCol w="403247">
                  <a:extLst>
                    <a:ext uri="{9D8B030D-6E8A-4147-A177-3AD203B41FA5}">
                      <a16:colId xmlns:a16="http://schemas.microsoft.com/office/drawing/2014/main" val="2837185390"/>
                    </a:ext>
                  </a:extLst>
                </a:gridCol>
                <a:gridCol w="403247">
                  <a:extLst>
                    <a:ext uri="{9D8B030D-6E8A-4147-A177-3AD203B41FA5}">
                      <a16:colId xmlns:a16="http://schemas.microsoft.com/office/drawing/2014/main" val="1882832175"/>
                    </a:ext>
                  </a:extLst>
                </a:gridCol>
                <a:gridCol w="403247">
                  <a:extLst>
                    <a:ext uri="{9D8B030D-6E8A-4147-A177-3AD203B41FA5}">
                      <a16:colId xmlns:a16="http://schemas.microsoft.com/office/drawing/2014/main" val="965399948"/>
                    </a:ext>
                  </a:extLst>
                </a:gridCol>
                <a:gridCol w="403247">
                  <a:extLst>
                    <a:ext uri="{9D8B030D-6E8A-4147-A177-3AD203B41FA5}">
                      <a16:colId xmlns:a16="http://schemas.microsoft.com/office/drawing/2014/main" val="1660691216"/>
                    </a:ext>
                  </a:extLst>
                </a:gridCol>
                <a:gridCol w="403247">
                  <a:extLst>
                    <a:ext uri="{9D8B030D-6E8A-4147-A177-3AD203B41FA5}">
                      <a16:colId xmlns:a16="http://schemas.microsoft.com/office/drawing/2014/main" val="1548466295"/>
                    </a:ext>
                  </a:extLst>
                </a:gridCol>
                <a:gridCol w="403247">
                  <a:extLst>
                    <a:ext uri="{9D8B030D-6E8A-4147-A177-3AD203B41FA5}">
                      <a16:colId xmlns:a16="http://schemas.microsoft.com/office/drawing/2014/main" val="3164314351"/>
                    </a:ext>
                  </a:extLst>
                </a:gridCol>
                <a:gridCol w="403247">
                  <a:extLst>
                    <a:ext uri="{9D8B030D-6E8A-4147-A177-3AD203B41FA5}">
                      <a16:colId xmlns:a16="http://schemas.microsoft.com/office/drawing/2014/main" val="1908834453"/>
                    </a:ext>
                  </a:extLst>
                </a:gridCol>
                <a:gridCol w="403247">
                  <a:extLst>
                    <a:ext uri="{9D8B030D-6E8A-4147-A177-3AD203B41FA5}">
                      <a16:colId xmlns:a16="http://schemas.microsoft.com/office/drawing/2014/main" val="3996218582"/>
                    </a:ext>
                  </a:extLst>
                </a:gridCol>
                <a:gridCol w="403247">
                  <a:extLst>
                    <a:ext uri="{9D8B030D-6E8A-4147-A177-3AD203B41FA5}">
                      <a16:colId xmlns:a16="http://schemas.microsoft.com/office/drawing/2014/main" val="3068763069"/>
                    </a:ext>
                  </a:extLst>
                </a:gridCol>
                <a:gridCol w="403247">
                  <a:extLst>
                    <a:ext uri="{9D8B030D-6E8A-4147-A177-3AD203B41FA5}">
                      <a16:colId xmlns:a16="http://schemas.microsoft.com/office/drawing/2014/main" val="645721644"/>
                    </a:ext>
                  </a:extLst>
                </a:gridCol>
                <a:gridCol w="403247">
                  <a:extLst>
                    <a:ext uri="{9D8B030D-6E8A-4147-A177-3AD203B41FA5}">
                      <a16:colId xmlns:a16="http://schemas.microsoft.com/office/drawing/2014/main" val="3493214117"/>
                    </a:ext>
                  </a:extLst>
                </a:gridCol>
                <a:gridCol w="403247">
                  <a:extLst>
                    <a:ext uri="{9D8B030D-6E8A-4147-A177-3AD203B41FA5}">
                      <a16:colId xmlns:a16="http://schemas.microsoft.com/office/drawing/2014/main" val="715782880"/>
                    </a:ext>
                  </a:extLst>
                </a:gridCol>
                <a:gridCol w="403247">
                  <a:extLst>
                    <a:ext uri="{9D8B030D-6E8A-4147-A177-3AD203B41FA5}">
                      <a16:colId xmlns:a16="http://schemas.microsoft.com/office/drawing/2014/main" val="517423420"/>
                    </a:ext>
                  </a:extLst>
                </a:gridCol>
                <a:gridCol w="403247">
                  <a:extLst>
                    <a:ext uri="{9D8B030D-6E8A-4147-A177-3AD203B41FA5}">
                      <a16:colId xmlns:a16="http://schemas.microsoft.com/office/drawing/2014/main" val="4085466749"/>
                    </a:ext>
                  </a:extLst>
                </a:gridCol>
                <a:gridCol w="403247">
                  <a:extLst>
                    <a:ext uri="{9D8B030D-6E8A-4147-A177-3AD203B41FA5}">
                      <a16:colId xmlns:a16="http://schemas.microsoft.com/office/drawing/2014/main" val="3762310340"/>
                    </a:ext>
                  </a:extLst>
                </a:gridCol>
                <a:gridCol w="403247">
                  <a:extLst>
                    <a:ext uri="{9D8B030D-6E8A-4147-A177-3AD203B41FA5}">
                      <a16:colId xmlns:a16="http://schemas.microsoft.com/office/drawing/2014/main" val="429933715"/>
                    </a:ext>
                  </a:extLst>
                </a:gridCol>
                <a:gridCol w="403247">
                  <a:extLst>
                    <a:ext uri="{9D8B030D-6E8A-4147-A177-3AD203B41FA5}">
                      <a16:colId xmlns:a16="http://schemas.microsoft.com/office/drawing/2014/main" val="3943891301"/>
                    </a:ext>
                  </a:extLst>
                </a:gridCol>
                <a:gridCol w="403247">
                  <a:extLst>
                    <a:ext uri="{9D8B030D-6E8A-4147-A177-3AD203B41FA5}">
                      <a16:colId xmlns:a16="http://schemas.microsoft.com/office/drawing/2014/main" val="311015184"/>
                    </a:ext>
                  </a:extLst>
                </a:gridCol>
                <a:gridCol w="403247">
                  <a:extLst>
                    <a:ext uri="{9D8B030D-6E8A-4147-A177-3AD203B41FA5}">
                      <a16:colId xmlns:a16="http://schemas.microsoft.com/office/drawing/2014/main" val="46159140"/>
                    </a:ext>
                  </a:extLst>
                </a:gridCol>
                <a:gridCol w="403247">
                  <a:extLst>
                    <a:ext uri="{9D8B030D-6E8A-4147-A177-3AD203B41FA5}">
                      <a16:colId xmlns:a16="http://schemas.microsoft.com/office/drawing/2014/main" val="3997676633"/>
                    </a:ext>
                  </a:extLst>
                </a:gridCol>
                <a:gridCol w="403247">
                  <a:extLst>
                    <a:ext uri="{9D8B030D-6E8A-4147-A177-3AD203B41FA5}">
                      <a16:colId xmlns:a16="http://schemas.microsoft.com/office/drawing/2014/main" val="1248734742"/>
                    </a:ext>
                  </a:extLst>
                </a:gridCol>
                <a:gridCol w="403247">
                  <a:extLst>
                    <a:ext uri="{9D8B030D-6E8A-4147-A177-3AD203B41FA5}">
                      <a16:colId xmlns:a16="http://schemas.microsoft.com/office/drawing/2014/main" val="2087381962"/>
                    </a:ext>
                  </a:extLst>
                </a:gridCol>
              </a:tblGrid>
              <a:tr h="217980">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normalizeH="0" baseline="0" noProof="0" dirty="0">
                          <a:ln>
                            <a:noFill/>
                          </a:ln>
                          <a:solidFill>
                            <a:schemeClr val="tx1"/>
                          </a:solidFill>
                          <a:effectLst/>
                          <a:latin typeface="+mn-lt"/>
                          <a:ea typeface="Verdana" panose="020B0604030504040204" pitchFamily="34" charset="0"/>
                          <a:cs typeface="Calibri" panose="020F0502020204030204" pitchFamily="34" charset="0"/>
                        </a:rPr>
                        <a:t>Project Phases</a:t>
                      </a:r>
                    </a:p>
                  </a:txBody>
                  <a:tcPr marL="110836" marR="110836" marT="40329" marB="40329" anchor="ctr">
                    <a:lnL w="12700" cmpd="sng">
                      <a:solidFill>
                        <a:srgbClr val="FFFFFF"/>
                      </a:solidFill>
                    </a:lnL>
                    <a:lnR w="12700" cap="flat" cmpd="sng" algn="ctr">
                      <a:solidFill>
                        <a:srgbClr val="FFFFFF"/>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046A38"/>
                    </a:solidFill>
                  </a:tcPr>
                </a:tc>
                <a:tc gridSpan="4">
                  <a:txBody>
                    <a:bodyPr/>
                    <a:lstStyle/>
                    <a:p>
                      <a:pPr algn="ct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Month 1</a:t>
                      </a:r>
                      <a:endParaRPr lang="en-US" dirty="0"/>
                    </a:p>
                  </a:txBody>
                  <a:tcPr marL="110836" marR="110836" marT="40329" marB="40329"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46A38"/>
                    </a:solidFill>
                  </a:tcPr>
                </a:tc>
                <a:tc hMerge="1">
                  <a:txBody>
                    <a:bodyPr/>
                    <a:lstStyle/>
                    <a:p>
                      <a:endParaRPr lang="en-US"/>
                    </a:p>
                  </a:txBody>
                  <a:tcPr>
                    <a:lnL w="12700" cap="flat" cmpd="sng" algn="ctr">
                      <a:solidFill>
                        <a:srgbClr val="FFFFFF"/>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gridSpan="4">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Month 2</a:t>
                      </a:r>
                    </a:p>
                  </a:txBody>
                  <a:tcPr marL="110836" marR="110836" marT="40329" marB="40329"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46A38"/>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Month 3</a:t>
                      </a:r>
                    </a:p>
                  </a:txBody>
                  <a:tcPr marL="110836" marR="110836" marT="40329" marB="40329"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46A38"/>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Month 4</a:t>
                      </a:r>
                    </a:p>
                  </a:txBody>
                  <a:tcPr marL="110836" marR="110836" marT="40329" marB="40329"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46A38"/>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Month 5</a:t>
                      </a:r>
                    </a:p>
                  </a:txBody>
                  <a:tcPr marL="110836" marR="110836" marT="40329" marB="40329"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46A38"/>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Month 6</a:t>
                      </a:r>
                    </a:p>
                  </a:txBody>
                  <a:tcPr marL="110836" marR="110836" marT="40329" marB="40329"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46A38"/>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360771">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u="none" strike="noStrike" kern="1200" cap="none" normalizeH="0" baseline="0" noProof="0">
                        <a:ln>
                          <a:noFill/>
                        </a:ln>
                        <a:solidFill>
                          <a:schemeClr val="tx1"/>
                        </a:solidFill>
                        <a:effectLst/>
                        <a:latin typeface="Calibri" panose="020F0502020204030204" pitchFamily="34" charset="0"/>
                        <a:ea typeface="Verdana" panose="020B0604030504040204" pitchFamily="34" charset="0"/>
                        <a:cs typeface="Calibri" panose="020F0502020204030204" pitchFamily="34" charset="0"/>
                      </a:endParaRPr>
                    </a:p>
                  </a:txBody>
                  <a:tcPr marL="110836" marR="110836" marT="40329" marB="40329" anchor="ctr">
                    <a:lnL w="12700" cmpd="sng">
                      <a:solidFill>
                        <a:srgbClr val="FFFFFF"/>
                      </a:solidFill>
                    </a:lnL>
                    <a:lnR w="12700" cap="flat" cmpd="sng" algn="ctr">
                      <a:solidFill>
                        <a:srgbClr val="FFFFFF"/>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1</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2</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3</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4</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5</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6</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7</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8</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9</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1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11</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12</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13</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14</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15</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16</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17</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18</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19</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2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21</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22</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23</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mn-lt"/>
                          <a:ea typeface="Verdana" panose="020B0604030504040204" pitchFamily="34" charset="0"/>
                          <a:cs typeface="Calibri" panose="020F0502020204030204" pitchFamily="34" charset="0"/>
                        </a:rPr>
                        <a:t>W24</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extLst>
                  <a:ext uri="{0D108BD9-81ED-4DB2-BD59-A6C34878D82A}">
                    <a16:rowId xmlns:a16="http://schemas.microsoft.com/office/drawing/2014/main" val="1653467409"/>
                  </a:ext>
                </a:extLst>
              </a:tr>
              <a:tr h="3279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rgbClr val="000000"/>
                          </a:solidFill>
                          <a:latin typeface="+mn-lt"/>
                          <a:ea typeface="Open Sans Light" panose="020B0306030504020204" pitchFamily="34" charset="0"/>
                          <a:cs typeface="Open Sans Light" panose="020B0306030504020204" pitchFamily="34" charset="0"/>
                        </a:rPr>
                        <a:t>Phase 1: Project Initiation</a:t>
                      </a:r>
                      <a:endParaRPr lang="en-AE" sz="900" dirty="0">
                        <a:solidFill>
                          <a:srgbClr val="000000"/>
                        </a:solidFill>
                        <a:latin typeface="+mn-lt"/>
                        <a:ea typeface="Open Sans Light" panose="020B0306030504020204" pitchFamily="34" charset="0"/>
                        <a:cs typeface="Open Sans Light" panose="020B0306030504020204" pitchFamily="34" charset="0"/>
                      </a:endParaRPr>
                    </a:p>
                  </a:txBody>
                  <a:tcPr>
                    <a:lnL w="12700" cmpd="sng">
                      <a:solidFill>
                        <a:srgbClr val="FFFFFF"/>
                      </a:solidFill>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gridSpan="4">
                  <a:txBody>
                    <a:bodyPr/>
                    <a:lstStyle/>
                    <a:p>
                      <a:endParaRPr lang="en-US" dirty="0"/>
                    </a:p>
                  </a:txBody>
                  <a:tcPr anchor="ctr">
                    <a:lnL w="12700" cap="flat" cmpd="sng" algn="ctr">
                      <a:solidFill>
                        <a:srgbClr val="D0D0CE"/>
                      </a:solidFill>
                      <a:prstDash val="sysDash"/>
                      <a:round/>
                      <a:headEnd type="none" w="med" len="med"/>
                      <a:tailEnd type="none" w="med" len="med"/>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lnL w="12700" cap="flat" cmpd="sng" algn="ctr">
                      <a:solidFill>
                        <a:srgbClr val="D0D0CE"/>
                      </a:solidFill>
                      <a:prstDash val="sysDash"/>
                      <a:round/>
                      <a:headEnd type="none" w="med" len="med"/>
                      <a:tailEnd type="none" w="med" len="med"/>
                    </a:lnL>
                    <a:lnT w="6350" cap="flat" cmpd="sng" algn="ctr">
                      <a:solidFill>
                        <a:srgbClr val="FFFFFF">
                          <a:lumMod val="50000"/>
                        </a:srgbClr>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gridSpan="4">
                  <a:txBody>
                    <a:bodyPr/>
                    <a:lstStyle/>
                    <a:p>
                      <a:endParaRPr kumimoji="0" lang="en-US" sz="1400" b="1"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12700" cap="flat" cmpd="sng" algn="ctr">
                      <a:solidFill>
                        <a:srgbClr val="D0D0CE"/>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1"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1" u="none" strike="noStrike" kern="1200" cap="none" normalizeH="0" baseline="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1"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1"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925892190"/>
                  </a:ext>
                </a:extLst>
              </a:tr>
              <a:tr h="327973">
                <a:tc>
                  <a:txBody>
                    <a:bodyPr/>
                    <a:lstStyle/>
                    <a:p>
                      <a:r>
                        <a:rPr lang="en-US" sz="900" kern="1200" dirty="0">
                          <a:solidFill>
                            <a:srgbClr val="000000"/>
                          </a:solidFill>
                          <a:latin typeface="+mn-lt"/>
                          <a:ea typeface="Open Sans Light" panose="020B0306030504020204" pitchFamily="34" charset="0"/>
                          <a:cs typeface="Open Sans Light" panose="020B0306030504020204" pitchFamily="34" charset="0"/>
                        </a:rPr>
                        <a:t>Phase 2: Business Continuity Gap Analysis</a:t>
                      </a:r>
                    </a:p>
                  </a:txBody>
                  <a:tcPr>
                    <a:lnL w="12700" cmpd="sng">
                      <a:solidFill>
                        <a:srgbClr val="FFFFFF"/>
                      </a:solidFill>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gridSpan="4">
                  <a:txBody>
                    <a:bodyPr/>
                    <a:lstStyle/>
                    <a:p>
                      <a:endParaRPr lang="en-US" dirty="0"/>
                    </a:p>
                  </a:txBody>
                  <a:tcPr anchor="ctr">
                    <a:lnL w="12700" cap="flat" cmpd="sng" algn="ctr">
                      <a:solidFill>
                        <a:srgbClr val="D0D0CE"/>
                      </a:solidFill>
                      <a:prstDash val="sysDash"/>
                      <a:round/>
                      <a:headEnd type="none" w="med" len="med"/>
                      <a:tailEnd type="none" w="med" len="med"/>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ap="flat" cmpd="sng" algn="ctr">
                      <a:solidFill>
                        <a:srgbClr val="D0D0CE"/>
                      </a:solidFill>
                      <a:prstDash val="sysDash"/>
                      <a:round/>
                      <a:headEnd type="none" w="med" len="med"/>
                      <a:tailEnd type="none" w="med" len="med"/>
                    </a:lnL>
                  </a:tcPr>
                </a:tc>
                <a:tc hMerge="1">
                  <a:txBody>
                    <a:bodyPr/>
                    <a:lstStyle/>
                    <a:p>
                      <a:endParaRPr lang="en-US"/>
                    </a:p>
                  </a:txBody>
                  <a:tcPr anchor="ctr">
                    <a:lnL w="12700" cap="flat" cmpd="sng" algn="ctr">
                      <a:solidFill>
                        <a:srgbClr val="D0D0CE"/>
                      </a:solidFill>
                      <a:prstDash val="sysDash"/>
                      <a:round/>
                      <a:headEnd type="none" w="med" len="med"/>
                      <a:tailEnd type="none" w="med" len="med"/>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4">
                  <a:txBody>
                    <a:bodyPr/>
                    <a:lstStyle/>
                    <a:p>
                      <a:endParaRPr kumimoji="0" lang="en-US" sz="1400" b="0"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12700" cap="flat" cmpd="sng" algn="ctr">
                      <a:solidFill>
                        <a:srgbClr val="D0D0CE"/>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0"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0"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0" u="none" strike="noStrike" kern="1200" cap="none" normalizeH="0" baseline="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0"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16146909"/>
                  </a:ext>
                </a:extLst>
              </a:tr>
              <a:tr h="360771">
                <a:tc>
                  <a:txBody>
                    <a:bodyPr/>
                    <a:lstStyle/>
                    <a:p>
                      <a:r>
                        <a:rPr lang="en-US" sz="900" kern="1200" dirty="0">
                          <a:solidFill>
                            <a:srgbClr val="000000"/>
                          </a:solidFill>
                          <a:latin typeface="+mn-lt"/>
                          <a:ea typeface="Open Sans Light" panose="020B0306030504020204" pitchFamily="34" charset="0"/>
                          <a:cs typeface="Open Sans Light" panose="020B0306030504020204" pitchFamily="34" charset="0"/>
                        </a:rPr>
                        <a:t>Phase 3: Business Continuity Governance Framework</a:t>
                      </a:r>
                    </a:p>
                  </a:txBody>
                  <a:tcPr>
                    <a:lnL w="12700" cmpd="sng">
                      <a:solidFill>
                        <a:srgbClr val="FFFFFF"/>
                      </a:solidFill>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gridSpan="4">
                  <a:txBody>
                    <a:bodyPr/>
                    <a:lstStyle/>
                    <a:p>
                      <a:endParaRPr lang="en-US" dirty="0"/>
                    </a:p>
                  </a:txBody>
                  <a:tcPr anchor="ctr">
                    <a:lnL w="12700" cap="flat" cmpd="sng" algn="ctr">
                      <a:solidFill>
                        <a:srgbClr val="D0D0CE"/>
                      </a:solidFill>
                      <a:prstDash val="sysDash"/>
                      <a:round/>
                      <a:headEnd type="none" w="med" len="med"/>
                      <a:tailEnd type="none" w="med" len="med"/>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lnL w="12700" cap="flat" cmpd="sng" algn="ctr">
                      <a:solidFill>
                        <a:srgbClr val="D0D0CE"/>
                      </a:solidFill>
                      <a:prstDash val="sysDash"/>
                      <a:round/>
                      <a:headEnd type="none" w="med" len="med"/>
                      <a:tailEnd type="none" w="med" len="med"/>
                    </a:lnL>
                  </a:tcPr>
                </a:tc>
                <a:tc hMerge="1">
                  <a:txBody>
                    <a:bodyPr/>
                    <a:lstStyle/>
                    <a:p>
                      <a:endParaRPr lang="en-US"/>
                    </a:p>
                  </a:txBody>
                  <a:tcPr anchor="ctr">
                    <a:lnL w="12700" cap="flat" cmpd="sng" algn="ctr">
                      <a:solidFill>
                        <a:srgbClr val="D0D0CE"/>
                      </a:solidFill>
                      <a:prstDash val="sysDash"/>
                      <a:round/>
                      <a:headEnd type="none" w="med" len="med"/>
                      <a:tailEnd type="none" w="med" len="med"/>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gridSpan="4">
                  <a:txBody>
                    <a:bodyPr/>
                    <a:lstStyle/>
                    <a:p>
                      <a:endParaRPr kumimoji="0" lang="en-US" sz="1400" b="1" u="none" strike="noStrike" kern="1200" cap="none" normalizeH="0" baseline="0">
                        <a:ln>
                          <a:noFill/>
                        </a:ln>
                        <a:solidFill>
                          <a:schemeClr val="tx1"/>
                        </a:solidFill>
                        <a:effectLst/>
                        <a:latin typeface="+mn-lt"/>
                        <a:ea typeface="Verdana" panose="020B0604030504040204" pitchFamily="34" charset="0"/>
                        <a:cs typeface="Calibri" panose="020F0502020204030204" pitchFamily="34" charset="0"/>
                      </a:endParaRPr>
                    </a:p>
                  </a:txBody>
                  <a:tcPr anchor="ctr">
                    <a:lnL w="12700" cap="flat" cmpd="sng" algn="ctr">
                      <a:solidFill>
                        <a:srgbClr val="D0D0CE"/>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1" u="none" strike="noStrike" kern="1200" cap="none" normalizeH="0" baseline="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1"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1"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1"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001073019"/>
                  </a:ext>
                </a:extLst>
              </a:tr>
              <a:tr h="327973">
                <a:tc>
                  <a:txBody>
                    <a:bodyPr/>
                    <a:lstStyle/>
                    <a:p>
                      <a:r>
                        <a:rPr lang="en-US" sz="900" kern="1200" dirty="0">
                          <a:solidFill>
                            <a:srgbClr val="000000"/>
                          </a:solidFill>
                          <a:latin typeface="+mn-lt"/>
                          <a:ea typeface="Open Sans Light" panose="020B0306030504020204" pitchFamily="34" charset="0"/>
                          <a:cs typeface="Open Sans Light" panose="020B0306030504020204" pitchFamily="34" charset="0"/>
                        </a:rPr>
                        <a:t>Phase 4: Business Impact Analysis</a:t>
                      </a:r>
                    </a:p>
                  </a:txBody>
                  <a:tcPr>
                    <a:lnL w="12700" cmpd="sng">
                      <a:solidFill>
                        <a:srgbClr val="FFFFFF"/>
                      </a:solidFill>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gridSpan="4">
                  <a:txBody>
                    <a:bodyPr/>
                    <a:lstStyle/>
                    <a:p>
                      <a:endParaRPr lang="en-US" dirty="0"/>
                    </a:p>
                  </a:txBody>
                  <a:tcPr anchor="ctr">
                    <a:lnL w="12700" cap="flat" cmpd="sng" algn="ctr">
                      <a:solidFill>
                        <a:srgbClr val="D0D0CE"/>
                      </a:solidFill>
                      <a:prstDash val="sysDash"/>
                      <a:round/>
                      <a:headEnd type="none" w="med" len="med"/>
                      <a:tailEnd type="none" w="med" len="med"/>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ap="flat" cmpd="sng" algn="ctr">
                      <a:solidFill>
                        <a:srgbClr val="D0D0CE"/>
                      </a:solidFill>
                      <a:prstDash val="sysDash"/>
                      <a:round/>
                      <a:headEnd type="none" w="med" len="med"/>
                      <a:tailEnd type="none" w="med" len="med"/>
                    </a:lnL>
                  </a:tcPr>
                </a:tc>
                <a:tc hMerge="1">
                  <a:txBody>
                    <a:bodyPr/>
                    <a:lstStyle/>
                    <a:p>
                      <a:endParaRPr lang="en-US"/>
                    </a:p>
                  </a:txBody>
                  <a:tcPr anchor="ctr">
                    <a:lnL w="12700" cap="flat" cmpd="sng" algn="ctr">
                      <a:solidFill>
                        <a:srgbClr val="D0D0CE"/>
                      </a:solidFill>
                      <a:prstDash val="sysDash"/>
                      <a:round/>
                      <a:headEnd type="none" w="med" len="med"/>
                      <a:tailEnd type="none" w="med" len="med"/>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4">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u="none" strike="noStrike" kern="1200" cap="none" normalizeH="0" baseline="0" noProof="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12700" cap="flat" cmpd="sng" algn="ctr">
                      <a:solidFill>
                        <a:srgbClr val="D0D0CE"/>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u="none" strike="noStrike" kern="1200" cap="none" normalizeH="0" baseline="0" noProof="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u="none" strike="noStrike" kern="1200" cap="none" normalizeH="0" baseline="0" noProof="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u="none" strike="noStrike" kern="1200" cap="none" normalizeH="0" baseline="0" noProof="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u="none" strike="noStrike" kern="1200" cap="none" normalizeH="0" baseline="0" noProof="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69956359"/>
                  </a:ext>
                </a:extLst>
              </a:tr>
              <a:tr h="360771">
                <a:tc>
                  <a:txBody>
                    <a:bodyPr/>
                    <a:lstStyle/>
                    <a:p>
                      <a:pPr marL="0" algn="l" defTabSz="914400" rtl="0" eaLnBrk="1" latinLnBrk="0" hangingPunct="1"/>
                      <a:r>
                        <a:rPr lang="en-US" sz="900" kern="1200" dirty="0">
                          <a:solidFill>
                            <a:srgbClr val="000000"/>
                          </a:solidFill>
                          <a:latin typeface="+mn-lt"/>
                          <a:ea typeface="Open Sans Light" panose="020B0306030504020204" pitchFamily="34" charset="0"/>
                          <a:cs typeface="Open Sans Light" panose="020B0306030504020204" pitchFamily="34" charset="0"/>
                        </a:rPr>
                        <a:t>Phase 5: Business Continuity Risk Assessment</a:t>
                      </a:r>
                    </a:p>
                  </a:txBody>
                  <a:tcPr>
                    <a:lnL w="12700" cmpd="sng">
                      <a:solidFill>
                        <a:srgbClr val="FFFFFF"/>
                      </a:solidFill>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gridSpan="4">
                  <a:txBody>
                    <a:bodyPr/>
                    <a:lstStyle/>
                    <a:p>
                      <a:endParaRPr lang="en-US"/>
                    </a:p>
                  </a:txBody>
                  <a:tcPr anchor="ctr">
                    <a:lnL w="12700" cap="flat" cmpd="sng" algn="ctr">
                      <a:solidFill>
                        <a:srgbClr val="D0D0CE"/>
                      </a:solidFill>
                      <a:prstDash val="sysDash"/>
                      <a:round/>
                      <a:headEnd type="none" w="med" len="med"/>
                      <a:tailEnd type="none" w="med" len="med"/>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ap="flat" cmpd="sng" algn="ctr">
                      <a:solidFill>
                        <a:srgbClr val="D0D0CE"/>
                      </a:solidFill>
                      <a:prstDash val="sysDash"/>
                      <a:round/>
                      <a:headEnd type="none" w="med" len="med"/>
                      <a:tailEnd type="none" w="med" len="med"/>
                    </a:lnL>
                  </a:tcPr>
                </a:tc>
                <a:tc hMerge="1">
                  <a:txBody>
                    <a:bodyPr/>
                    <a:lstStyle/>
                    <a:p>
                      <a:endParaRPr lang="en-US"/>
                    </a:p>
                  </a:txBody>
                  <a:tcPr anchor="ctr">
                    <a:lnL w="12700" cap="flat" cmpd="sng" algn="ctr">
                      <a:solidFill>
                        <a:srgbClr val="D0D0CE"/>
                      </a:solidFill>
                      <a:prstDash val="sysDash"/>
                      <a:round/>
                      <a:headEnd type="none" w="med" len="med"/>
                      <a:tailEnd type="none" w="med" len="med"/>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4">
                  <a:txBody>
                    <a:bodyPr/>
                    <a:lstStyle/>
                    <a:p>
                      <a:endParaRPr kumimoji="0" lang="en-US" sz="1400" b="0"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12700" cap="flat" cmpd="sng" algn="ctr">
                      <a:solidFill>
                        <a:srgbClr val="D0D0CE"/>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0"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0"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0"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0"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360771">
                <a:tc>
                  <a:txBody>
                    <a:bodyPr/>
                    <a:lstStyle/>
                    <a:p>
                      <a:pPr marL="0" algn="l" defTabSz="914400" rtl="0" eaLnBrk="1" latinLnBrk="0" hangingPunct="1"/>
                      <a:r>
                        <a:rPr lang="en-US" sz="900" kern="1200" dirty="0">
                          <a:solidFill>
                            <a:srgbClr val="000000"/>
                          </a:solidFill>
                          <a:latin typeface="+mn-lt"/>
                          <a:ea typeface="Open Sans Light" panose="020B0306030504020204" pitchFamily="34" charset="0"/>
                          <a:cs typeface="Open Sans Light" panose="020B0306030504020204" pitchFamily="34" charset="0"/>
                        </a:rPr>
                        <a:t>Phase 6: Business Continuity Recovery Strategy and Plans</a:t>
                      </a:r>
                    </a:p>
                  </a:txBody>
                  <a:tcPr>
                    <a:lnL w="12700" cmpd="sng">
                      <a:solidFill>
                        <a:srgbClr val="FFFFFF"/>
                      </a:solidFill>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gridSpan="4">
                  <a:txBody>
                    <a:bodyPr/>
                    <a:lstStyle/>
                    <a:p>
                      <a:endParaRPr lang="en-US" dirty="0"/>
                    </a:p>
                  </a:txBody>
                  <a:tcPr anchor="ctr">
                    <a:lnL w="12700" cap="flat" cmpd="sng" algn="ctr">
                      <a:solidFill>
                        <a:srgbClr val="D0D0CE"/>
                      </a:solidFill>
                      <a:prstDash val="sysDash"/>
                      <a:round/>
                      <a:headEnd type="none" w="med" len="med"/>
                      <a:tailEnd type="none" w="med" len="med"/>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ap="flat" cmpd="sng" algn="ctr">
                      <a:solidFill>
                        <a:srgbClr val="D0D0CE"/>
                      </a:solidFill>
                      <a:prstDash val="sysDash"/>
                      <a:round/>
                      <a:headEnd type="none" w="med" len="med"/>
                      <a:tailEnd type="none" w="med" len="med"/>
                    </a:lnL>
                  </a:tcPr>
                </a:tc>
                <a:tc hMerge="1">
                  <a:txBody>
                    <a:bodyPr/>
                    <a:lstStyle/>
                    <a:p>
                      <a:endParaRPr lang="en-US"/>
                    </a:p>
                  </a:txBody>
                  <a:tcPr anchor="ctr">
                    <a:lnL w="12700" cap="flat" cmpd="sng" algn="ctr">
                      <a:solidFill>
                        <a:srgbClr val="D0D0CE"/>
                      </a:solidFill>
                      <a:prstDash val="sysDash"/>
                      <a:round/>
                      <a:headEnd type="none" w="med" len="med"/>
                      <a:tailEnd type="none" w="med" len="med"/>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4">
                  <a:txBody>
                    <a:bodyPr/>
                    <a:lstStyle/>
                    <a:p>
                      <a:endParaRPr kumimoji="0" lang="en-US" sz="1400" b="0" u="none" strike="noStrike" kern="1200" cap="none" normalizeH="0" baseline="0">
                        <a:ln>
                          <a:noFill/>
                        </a:ln>
                        <a:solidFill>
                          <a:schemeClr val="tx1"/>
                        </a:solidFill>
                        <a:effectLst/>
                        <a:latin typeface="+mn-lt"/>
                        <a:ea typeface="Verdana" panose="020B0604030504040204" pitchFamily="34" charset="0"/>
                        <a:cs typeface="Calibri" panose="020F0502020204030204" pitchFamily="34" charset="0"/>
                      </a:endParaRPr>
                    </a:p>
                  </a:txBody>
                  <a:tcPr anchor="ctr">
                    <a:lnL w="12700" cap="flat" cmpd="sng" algn="ctr">
                      <a:solidFill>
                        <a:srgbClr val="D0D0CE"/>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0"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0"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0"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0"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37438561"/>
                  </a:ext>
                </a:extLst>
              </a:tr>
              <a:tr h="360771">
                <a:tc>
                  <a:txBody>
                    <a:bodyPr/>
                    <a:lstStyle/>
                    <a:p>
                      <a:pPr marL="0" algn="l" defTabSz="914400" rtl="0" eaLnBrk="1" latinLnBrk="0" hangingPunct="1"/>
                      <a:r>
                        <a:rPr lang="en-US" sz="900" kern="1200" dirty="0">
                          <a:solidFill>
                            <a:srgbClr val="000000"/>
                          </a:solidFill>
                          <a:latin typeface="+mn-lt"/>
                          <a:ea typeface="Open Sans Light" panose="020B0306030504020204" pitchFamily="34" charset="0"/>
                          <a:cs typeface="Open Sans Light" panose="020B0306030504020204" pitchFamily="34" charset="0"/>
                        </a:rPr>
                        <a:t>Phase 7: Business Continuity Training &amp; Awareness</a:t>
                      </a:r>
                    </a:p>
                  </a:txBody>
                  <a:tcPr>
                    <a:lnL w="12700" cmpd="sng">
                      <a:solidFill>
                        <a:srgbClr val="FFFFFF"/>
                      </a:solidFill>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gridSpan="4">
                  <a:txBody>
                    <a:bodyPr/>
                    <a:lstStyle/>
                    <a:p>
                      <a:endParaRPr lang="en-US"/>
                    </a:p>
                  </a:txBody>
                  <a:tcPr anchor="ctr">
                    <a:lnL w="12700" cap="flat" cmpd="sng" algn="ctr">
                      <a:solidFill>
                        <a:srgbClr val="D0D0CE"/>
                      </a:solidFill>
                      <a:prstDash val="sysDash"/>
                      <a:round/>
                      <a:headEnd type="none" w="med" len="med"/>
                      <a:tailEnd type="none" w="med" len="med"/>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lnL w="12700" cap="flat" cmpd="sng" algn="ctr">
                      <a:solidFill>
                        <a:srgbClr val="D0D0CE"/>
                      </a:solidFill>
                      <a:prstDash val="sysDash"/>
                      <a:round/>
                      <a:headEnd type="none" w="med" len="med"/>
                      <a:tailEnd type="none" w="med" len="med"/>
                    </a:lnL>
                  </a:tcPr>
                </a:tc>
                <a:tc hMerge="1">
                  <a:txBody>
                    <a:bodyPr/>
                    <a:lstStyle/>
                    <a:p>
                      <a:endParaRPr lang="en-US"/>
                    </a:p>
                  </a:txBody>
                  <a:tcPr anchor="ctr">
                    <a:lnL w="12700" cap="flat" cmpd="sng" algn="ctr">
                      <a:solidFill>
                        <a:srgbClr val="D0D0CE"/>
                      </a:solidFill>
                      <a:prstDash val="sysDash"/>
                      <a:round/>
                      <a:headEnd type="none" w="med" len="med"/>
                      <a:tailEnd type="none" w="med" len="med"/>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gridSpan="4">
                  <a:txBody>
                    <a:bodyPr/>
                    <a:lstStyle/>
                    <a:p>
                      <a:endParaRPr kumimoji="0" lang="en-US" sz="1400" b="1"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12700" cap="flat" cmpd="sng" algn="ctr">
                      <a:solidFill>
                        <a:srgbClr val="D0D0CE"/>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1" u="none" strike="noStrike" kern="1200" cap="none" normalizeH="0" baseline="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1"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1"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1"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886071975"/>
                  </a:ext>
                </a:extLst>
              </a:tr>
              <a:tr h="360771">
                <a:tc>
                  <a:txBody>
                    <a:bodyPr/>
                    <a:lstStyle/>
                    <a:p>
                      <a:pPr marL="0" algn="l" defTabSz="914400" rtl="0" eaLnBrk="1" latinLnBrk="0" hangingPunct="1"/>
                      <a:r>
                        <a:rPr lang="en-US" sz="900" kern="1200" dirty="0">
                          <a:solidFill>
                            <a:srgbClr val="000000"/>
                          </a:solidFill>
                          <a:latin typeface="+mn-lt"/>
                          <a:ea typeface="Open Sans Light" panose="020B0306030504020204" pitchFamily="34" charset="0"/>
                          <a:cs typeface="Open Sans Light" panose="020B0306030504020204" pitchFamily="34" charset="0"/>
                        </a:rPr>
                        <a:t>Phase 8: Business Continuity Testing &amp; Performance Monitoring</a:t>
                      </a:r>
                    </a:p>
                  </a:txBody>
                  <a:tcPr>
                    <a:lnL w="12700" cmpd="sng">
                      <a:solidFill>
                        <a:srgbClr val="FFFFFF"/>
                      </a:solidFill>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gridSpan="4">
                  <a:txBody>
                    <a:bodyPr/>
                    <a:lstStyle/>
                    <a:p>
                      <a:endParaRPr lang="en-US" dirty="0"/>
                    </a:p>
                  </a:txBody>
                  <a:tcPr anchor="ctr">
                    <a:lnL w="12700" cap="flat" cmpd="sng" algn="ctr">
                      <a:solidFill>
                        <a:srgbClr val="D0D0CE"/>
                      </a:solidFill>
                      <a:prstDash val="sysDash"/>
                      <a:round/>
                      <a:headEnd type="none" w="med" len="med"/>
                      <a:tailEnd type="none" w="med" len="med"/>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lnL w="12700" cap="flat" cmpd="sng" algn="ctr">
                      <a:solidFill>
                        <a:srgbClr val="D0D0CE"/>
                      </a:solidFill>
                      <a:prstDash val="sysDash"/>
                      <a:round/>
                      <a:headEnd type="none" w="med" len="med"/>
                      <a:tailEnd type="none" w="med" len="med"/>
                    </a:lnL>
                  </a:tcPr>
                </a:tc>
                <a:tc hMerge="1">
                  <a:txBody>
                    <a:bodyPr/>
                    <a:lstStyle/>
                    <a:p>
                      <a:endParaRPr lang="en-US"/>
                    </a:p>
                  </a:txBody>
                  <a:tcPr anchor="ctr">
                    <a:lnL w="12700" cap="flat" cmpd="sng" algn="ctr">
                      <a:solidFill>
                        <a:srgbClr val="D0D0CE"/>
                      </a:solidFill>
                      <a:prstDash val="sysDash"/>
                      <a:round/>
                      <a:headEnd type="none" w="med" len="med"/>
                      <a:tailEnd type="none" w="med" len="med"/>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gridSpan="4">
                  <a:txBody>
                    <a:bodyPr/>
                    <a:lstStyle/>
                    <a:p>
                      <a:endParaRPr kumimoji="0" lang="en-US" sz="1400" b="1" u="none" strike="noStrike" kern="1200" cap="none" normalizeH="0" baseline="0">
                        <a:ln>
                          <a:noFill/>
                        </a:ln>
                        <a:solidFill>
                          <a:schemeClr val="tx1"/>
                        </a:solidFill>
                        <a:effectLst/>
                        <a:latin typeface="+mn-lt"/>
                        <a:ea typeface="Verdana" panose="020B0604030504040204" pitchFamily="34" charset="0"/>
                        <a:cs typeface="Calibri" panose="020F0502020204030204" pitchFamily="34" charset="0"/>
                      </a:endParaRPr>
                    </a:p>
                  </a:txBody>
                  <a:tcPr anchor="ctr">
                    <a:lnL w="12700" cap="flat" cmpd="sng" algn="ctr">
                      <a:solidFill>
                        <a:srgbClr val="D0D0CE"/>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1" u="none" strike="noStrike" kern="1200" cap="none" normalizeH="0" baseline="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1" u="none" strike="noStrike" kern="1200" cap="none" normalizeH="0" baseline="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1"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1"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991070357"/>
                  </a:ext>
                </a:extLst>
              </a:tr>
              <a:tr h="360771">
                <a:tc>
                  <a:txBody>
                    <a:bodyPr/>
                    <a:lstStyle/>
                    <a:p>
                      <a:pPr marL="0" algn="l" defTabSz="914400" rtl="0" eaLnBrk="1" latinLnBrk="0" hangingPunct="1"/>
                      <a:r>
                        <a:rPr lang="en-US" sz="900" kern="1200" dirty="0">
                          <a:solidFill>
                            <a:srgbClr val="000000"/>
                          </a:solidFill>
                          <a:latin typeface="+mn-lt"/>
                          <a:ea typeface="Open Sans Light" panose="020B0306030504020204" pitchFamily="34" charset="0"/>
                          <a:cs typeface="Open Sans Light" panose="020B0306030504020204" pitchFamily="34" charset="0"/>
                        </a:rPr>
                        <a:t>Phase 9: Business Continuity Internal Audit &amp; Management Review</a:t>
                      </a:r>
                    </a:p>
                  </a:txBody>
                  <a:tcPr>
                    <a:lnL w="12700" cmpd="sng">
                      <a:solidFill>
                        <a:srgbClr val="FFFFFF"/>
                      </a:solidFill>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gridSpan="4">
                  <a:txBody>
                    <a:bodyPr/>
                    <a:lstStyle/>
                    <a:p>
                      <a:endParaRPr lang="en-US" dirty="0"/>
                    </a:p>
                  </a:txBody>
                  <a:tcPr anchor="ctr">
                    <a:lnL w="12700" cap="flat" cmpd="sng" algn="ctr">
                      <a:solidFill>
                        <a:srgbClr val="D0D0CE"/>
                      </a:solidFill>
                      <a:prstDash val="sysDash"/>
                      <a:round/>
                      <a:headEnd type="none" w="med" len="med"/>
                      <a:tailEnd type="none" w="med" len="med"/>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lnL w="12700" cap="flat" cmpd="sng" algn="ctr">
                      <a:solidFill>
                        <a:srgbClr val="D0D0CE"/>
                      </a:solidFill>
                      <a:prstDash val="sysDash"/>
                      <a:round/>
                      <a:headEnd type="none" w="med" len="med"/>
                      <a:tailEnd type="none" w="med" len="med"/>
                    </a:lnL>
                  </a:tcPr>
                </a:tc>
                <a:tc hMerge="1">
                  <a:txBody>
                    <a:bodyPr/>
                    <a:lstStyle/>
                    <a:p>
                      <a:endParaRPr lang="en-US" dirty="0"/>
                    </a:p>
                  </a:txBody>
                  <a:tcPr anchor="ctr">
                    <a:lnL w="12700" cap="flat" cmpd="sng" algn="ctr">
                      <a:solidFill>
                        <a:srgbClr val="D0D0CE"/>
                      </a:solidFill>
                      <a:prstDash val="sysDash"/>
                      <a:round/>
                      <a:headEnd type="none" w="med" len="med"/>
                      <a:tailEnd type="none" w="med" len="med"/>
                    </a:lnL>
                    <a:lnR w="12700" cap="flat" cmpd="sng" algn="ctr">
                      <a:solidFill>
                        <a:srgbClr val="D0D0CE"/>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gridSpan="4">
                  <a:txBody>
                    <a:bodyPr/>
                    <a:lstStyle/>
                    <a:p>
                      <a:endParaRPr kumimoji="0" lang="en-US" sz="1400" b="1" u="none" strike="noStrike" kern="1200" cap="none" normalizeH="0" baseline="0">
                        <a:ln>
                          <a:noFill/>
                        </a:ln>
                        <a:solidFill>
                          <a:schemeClr val="tx1"/>
                        </a:solidFill>
                        <a:effectLst/>
                        <a:latin typeface="+mn-lt"/>
                        <a:ea typeface="Verdana" panose="020B0604030504040204" pitchFamily="34" charset="0"/>
                        <a:cs typeface="Calibri" panose="020F0502020204030204" pitchFamily="34" charset="0"/>
                      </a:endParaRPr>
                    </a:p>
                  </a:txBody>
                  <a:tcPr anchor="ctr">
                    <a:lnL w="12700" cap="flat" cmpd="sng" algn="ctr">
                      <a:solidFill>
                        <a:srgbClr val="D0D0CE"/>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1"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1" u="none" strike="noStrike" kern="1200" cap="none" normalizeH="0" baseline="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1" u="none" strike="noStrike" kern="1200" cap="none" normalizeH="0" baseline="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kumimoji="0" lang="en-US" sz="1400" b="1" u="none" strike="noStrike" kern="1200" cap="none" normalizeH="0" baseline="0" dirty="0">
                        <a:ln>
                          <a:noFill/>
                        </a:ln>
                        <a:solidFill>
                          <a:schemeClr val="tx1"/>
                        </a:solidFill>
                        <a:effectLst/>
                        <a:latin typeface="+mn-lt"/>
                        <a:ea typeface="Verdana" panose="020B0604030504040204" pitchFamily="34" charset="0"/>
                        <a:cs typeface="Calibri" panose="020F0502020204030204" pitchFamily="34" charset="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244012049"/>
                  </a:ext>
                </a:extLst>
              </a:tr>
            </a:tbl>
          </a:graphicData>
        </a:graphic>
      </p:graphicFrame>
      <p:sp>
        <p:nvSpPr>
          <p:cNvPr id="14" name="Rectangle 13">
            <a:extLst>
              <a:ext uri="{FF2B5EF4-FFF2-40B4-BE49-F238E27FC236}">
                <a16:creationId xmlns:a16="http://schemas.microsoft.com/office/drawing/2014/main" id="{5BD96137-8E4A-3E77-5AC1-028BD6FB8E79}"/>
              </a:ext>
            </a:extLst>
          </p:cNvPr>
          <p:cNvSpPr/>
          <p:nvPr/>
        </p:nvSpPr>
        <p:spPr>
          <a:xfrm>
            <a:off x="2368283" y="2220278"/>
            <a:ext cx="798757" cy="283704"/>
          </a:xfrm>
          <a:prstGeom prst="rect">
            <a:avLst/>
          </a:prstGeom>
          <a:solidFill>
            <a:srgbClr val="86BC25"/>
          </a:solidFill>
          <a:ln w="9525" cap="flat" cmpd="sng" algn="ctr">
            <a:noFill/>
            <a:prstDash val="solid"/>
          </a:ln>
          <a:effectLst/>
        </p:spPr>
        <p:txBody>
          <a:bodyPr lIns="82251" tIns="41127" rIns="82251" bIns="41127" rtlCol="0" anchor="ctr"/>
          <a:lstStyle/>
          <a:p>
            <a:pPr algn="ctr" defTabSz="822538">
              <a:defRPr/>
            </a:pPr>
            <a:endParaRPr lang="en-US" sz="1600" kern="0" dirty="0">
              <a:solidFill>
                <a:srgbClr val="FFFFFF"/>
              </a:solidFill>
              <a:latin typeface="Calibri" panose="020F0502020204030204" pitchFamily="34" charset="0"/>
              <a:ea typeface="Verdana" panose="020B0604030504040204" pitchFamily="34" charset="0"/>
              <a:cs typeface="Calibri" panose="020F0502020204030204" pitchFamily="34" charset="0"/>
            </a:endParaRPr>
          </a:p>
        </p:txBody>
      </p:sp>
      <p:sp>
        <p:nvSpPr>
          <p:cNvPr id="15" name="Rectangle 14">
            <a:extLst>
              <a:ext uri="{FF2B5EF4-FFF2-40B4-BE49-F238E27FC236}">
                <a16:creationId xmlns:a16="http://schemas.microsoft.com/office/drawing/2014/main" id="{5033307B-9D9B-5EDA-02D3-1DB2514666C8}"/>
              </a:ext>
            </a:extLst>
          </p:cNvPr>
          <p:cNvSpPr/>
          <p:nvPr/>
        </p:nvSpPr>
        <p:spPr>
          <a:xfrm>
            <a:off x="3176261" y="2550642"/>
            <a:ext cx="1182207" cy="310935"/>
          </a:xfrm>
          <a:prstGeom prst="rect">
            <a:avLst/>
          </a:prstGeom>
          <a:solidFill>
            <a:srgbClr val="86BC25"/>
          </a:solidFill>
          <a:ln w="9525" cap="flat" cmpd="sng" algn="ctr">
            <a:noFill/>
            <a:prstDash val="solid"/>
          </a:ln>
          <a:effectLst/>
        </p:spPr>
        <p:txBody>
          <a:bodyPr lIns="82251" tIns="41127" rIns="82251" bIns="41127" rtlCol="0" anchor="ctr"/>
          <a:lstStyle/>
          <a:p>
            <a:pPr algn="ctr" defTabSz="822538">
              <a:defRPr/>
            </a:pPr>
            <a:endParaRPr lang="en-US" sz="1600" kern="0">
              <a:solidFill>
                <a:srgbClr val="FFFFFF"/>
              </a:solidFill>
              <a:latin typeface="Calibri" panose="020F0502020204030204" pitchFamily="34" charset="0"/>
              <a:ea typeface="Verdana" panose="020B0604030504040204" pitchFamily="34" charset="0"/>
              <a:cs typeface="Calibri" panose="020F0502020204030204" pitchFamily="34" charset="0"/>
            </a:endParaRPr>
          </a:p>
        </p:txBody>
      </p:sp>
      <p:sp>
        <p:nvSpPr>
          <p:cNvPr id="16" name="Rectangle 15">
            <a:extLst>
              <a:ext uri="{FF2B5EF4-FFF2-40B4-BE49-F238E27FC236}">
                <a16:creationId xmlns:a16="http://schemas.microsoft.com/office/drawing/2014/main" id="{22066664-4ED0-6D5B-43DF-D6E56BE84521}"/>
              </a:ext>
            </a:extLst>
          </p:cNvPr>
          <p:cNvSpPr/>
          <p:nvPr/>
        </p:nvSpPr>
        <p:spPr>
          <a:xfrm>
            <a:off x="3976362" y="2904155"/>
            <a:ext cx="1195215" cy="325234"/>
          </a:xfrm>
          <a:prstGeom prst="rect">
            <a:avLst/>
          </a:prstGeom>
          <a:solidFill>
            <a:srgbClr val="86BC25"/>
          </a:solidFill>
          <a:ln w="9525" cap="flat" cmpd="sng" algn="ctr">
            <a:noFill/>
            <a:prstDash val="solid"/>
          </a:ln>
          <a:effectLst/>
        </p:spPr>
        <p:txBody>
          <a:bodyPr lIns="82251" tIns="41127" rIns="82251" bIns="41127" rtlCol="0" anchor="ctr"/>
          <a:lstStyle/>
          <a:p>
            <a:pPr algn="ctr" defTabSz="822538">
              <a:defRPr/>
            </a:pPr>
            <a:endParaRPr lang="en-US" sz="1600" kern="0">
              <a:solidFill>
                <a:srgbClr val="FFFFFF"/>
              </a:solidFill>
              <a:latin typeface="Calibri" panose="020F0502020204030204" pitchFamily="34" charset="0"/>
              <a:ea typeface="Verdana" panose="020B060403050404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96887EC2-FA84-5ADD-B491-AD22214A9FB8}"/>
              </a:ext>
            </a:extLst>
          </p:cNvPr>
          <p:cNvSpPr/>
          <p:nvPr/>
        </p:nvSpPr>
        <p:spPr>
          <a:xfrm>
            <a:off x="7946295" y="4337867"/>
            <a:ext cx="1679210" cy="303142"/>
          </a:xfrm>
          <a:prstGeom prst="rect">
            <a:avLst/>
          </a:prstGeom>
          <a:solidFill>
            <a:srgbClr val="86BC25"/>
          </a:solidFill>
          <a:ln w="9525" cap="flat" cmpd="sng" algn="ctr">
            <a:noFill/>
            <a:prstDash val="solid"/>
          </a:ln>
          <a:effectLst/>
        </p:spPr>
        <p:txBody>
          <a:bodyPr lIns="82251" tIns="41127" rIns="82251" bIns="41127" rtlCol="0" anchor="ctr"/>
          <a:lstStyle/>
          <a:p>
            <a:pPr algn="ctr" defTabSz="822538">
              <a:defRPr/>
            </a:pPr>
            <a:endParaRPr lang="en-US" sz="1600" kern="0">
              <a:solidFill>
                <a:srgbClr val="FFFFFF"/>
              </a:solidFill>
              <a:latin typeface="Calibri" panose="020F0502020204030204" pitchFamily="34" charset="0"/>
              <a:ea typeface="Verdana" panose="020B060403050404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id="{F3408A6F-BAB4-3348-2101-D103A797A6DD}"/>
              </a:ext>
            </a:extLst>
          </p:cNvPr>
          <p:cNvSpPr/>
          <p:nvPr/>
        </p:nvSpPr>
        <p:spPr>
          <a:xfrm>
            <a:off x="5180870" y="3265425"/>
            <a:ext cx="2418248" cy="299167"/>
          </a:xfrm>
          <a:prstGeom prst="rect">
            <a:avLst/>
          </a:prstGeom>
          <a:solidFill>
            <a:srgbClr val="86BC25"/>
          </a:solidFill>
          <a:ln w="9525" cap="flat" cmpd="sng" algn="ctr">
            <a:noFill/>
            <a:prstDash val="solid"/>
          </a:ln>
          <a:effectLst/>
        </p:spPr>
        <p:txBody>
          <a:bodyPr lIns="82251" tIns="41127" rIns="82251" bIns="41127" rtlCol="0" anchor="ctr"/>
          <a:lstStyle/>
          <a:p>
            <a:pPr algn="ctr" defTabSz="822538">
              <a:defRPr/>
            </a:pPr>
            <a:endParaRPr lang="en-US" sz="1600" kern="0">
              <a:solidFill>
                <a:srgbClr val="FFFFFF"/>
              </a:solidFill>
              <a:latin typeface="Calibri" panose="020F0502020204030204" pitchFamily="34" charset="0"/>
              <a:ea typeface="Verdana" panose="020B0604030504040204" pitchFamily="34" charset="0"/>
              <a:cs typeface="Calibri" panose="020F0502020204030204" pitchFamily="34" charset="0"/>
            </a:endParaRPr>
          </a:p>
        </p:txBody>
      </p:sp>
      <p:sp>
        <p:nvSpPr>
          <p:cNvPr id="19" name="Rectangle 18">
            <a:extLst>
              <a:ext uri="{FF2B5EF4-FFF2-40B4-BE49-F238E27FC236}">
                <a16:creationId xmlns:a16="http://schemas.microsoft.com/office/drawing/2014/main" id="{02F0D5CD-28EF-9623-8D1C-A4B990CB50B2}"/>
              </a:ext>
            </a:extLst>
          </p:cNvPr>
          <p:cNvSpPr/>
          <p:nvPr/>
        </p:nvSpPr>
        <p:spPr>
          <a:xfrm>
            <a:off x="6004940" y="3970496"/>
            <a:ext cx="2787540" cy="309235"/>
          </a:xfrm>
          <a:prstGeom prst="rect">
            <a:avLst/>
          </a:prstGeom>
          <a:solidFill>
            <a:srgbClr val="86BC25"/>
          </a:solidFill>
          <a:ln w="9525" cap="flat" cmpd="sng" algn="ctr">
            <a:noFill/>
            <a:prstDash val="solid"/>
          </a:ln>
          <a:effectLst/>
        </p:spPr>
        <p:txBody>
          <a:bodyPr lIns="82251" tIns="41127" rIns="82251" bIns="41127" rtlCol="0" anchor="ctr"/>
          <a:lstStyle/>
          <a:p>
            <a:pPr algn="ctr" defTabSz="822538">
              <a:defRPr/>
            </a:pPr>
            <a:endParaRPr lang="en-US" sz="1600" kern="0">
              <a:solidFill>
                <a:srgbClr val="FFFFFF"/>
              </a:solidFill>
              <a:latin typeface="Calibri" panose="020F0502020204030204" pitchFamily="34" charset="0"/>
              <a:ea typeface="Verdana" panose="020B060403050404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5F533C60-5A09-511D-335A-36E575E02C92}"/>
              </a:ext>
            </a:extLst>
          </p:cNvPr>
          <p:cNvSpPr/>
          <p:nvPr/>
        </p:nvSpPr>
        <p:spPr>
          <a:xfrm>
            <a:off x="9243100" y="4705625"/>
            <a:ext cx="1582186" cy="309405"/>
          </a:xfrm>
          <a:prstGeom prst="rect">
            <a:avLst/>
          </a:prstGeom>
          <a:solidFill>
            <a:srgbClr val="86BC25"/>
          </a:solidFill>
          <a:ln w="9525" cap="flat" cmpd="sng" algn="ctr">
            <a:noFill/>
            <a:prstDash val="solid"/>
          </a:ln>
          <a:effectLst/>
        </p:spPr>
        <p:txBody>
          <a:bodyPr lIns="82251" tIns="41127" rIns="82251" bIns="41127" rtlCol="0" anchor="ctr"/>
          <a:lstStyle/>
          <a:p>
            <a:pPr algn="ctr" defTabSz="822538">
              <a:defRPr/>
            </a:pPr>
            <a:endParaRPr lang="en-US" sz="1600" kern="0">
              <a:solidFill>
                <a:srgbClr val="FFFFFF"/>
              </a:solidFill>
              <a:latin typeface="Calibri" panose="020F0502020204030204" pitchFamily="34" charset="0"/>
              <a:ea typeface="Verdana" panose="020B060403050404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C93A96FB-0AC9-F0F2-6BB0-6F3FAA6EABF5}"/>
              </a:ext>
            </a:extLst>
          </p:cNvPr>
          <p:cNvSpPr/>
          <p:nvPr/>
        </p:nvSpPr>
        <p:spPr>
          <a:xfrm>
            <a:off x="10845841" y="5071287"/>
            <a:ext cx="1152803" cy="309405"/>
          </a:xfrm>
          <a:prstGeom prst="rect">
            <a:avLst/>
          </a:prstGeom>
          <a:solidFill>
            <a:srgbClr val="86BC25"/>
          </a:solidFill>
          <a:ln w="9525" cap="flat" cmpd="sng" algn="ctr">
            <a:noFill/>
            <a:prstDash val="solid"/>
          </a:ln>
          <a:effectLst/>
        </p:spPr>
        <p:txBody>
          <a:bodyPr lIns="82251" tIns="41127" rIns="82251" bIns="41127" rtlCol="0" anchor="ctr"/>
          <a:lstStyle/>
          <a:p>
            <a:pPr algn="ctr" defTabSz="822538">
              <a:defRPr/>
            </a:pPr>
            <a:endParaRPr lang="en-US" sz="1600" kern="0">
              <a:solidFill>
                <a:srgbClr val="FFFFFF"/>
              </a:solidFill>
              <a:latin typeface="Calibri" panose="020F0502020204030204" pitchFamily="34" charset="0"/>
              <a:ea typeface="Verdana" panose="020B0604030504040204" pitchFamily="34" charset="0"/>
              <a:cs typeface="Calibri" panose="020F0502020204030204" pitchFamily="34" charset="0"/>
            </a:endParaRPr>
          </a:p>
        </p:txBody>
      </p:sp>
      <p:sp>
        <p:nvSpPr>
          <p:cNvPr id="24" name="Rectangle 23">
            <a:extLst>
              <a:ext uri="{FF2B5EF4-FFF2-40B4-BE49-F238E27FC236}">
                <a16:creationId xmlns:a16="http://schemas.microsoft.com/office/drawing/2014/main" id="{70650D72-37C0-06AD-6952-6C578B371E18}"/>
              </a:ext>
            </a:extLst>
          </p:cNvPr>
          <p:cNvSpPr/>
          <p:nvPr/>
        </p:nvSpPr>
        <p:spPr>
          <a:xfrm>
            <a:off x="5180870" y="3611714"/>
            <a:ext cx="2418248" cy="308233"/>
          </a:xfrm>
          <a:prstGeom prst="rect">
            <a:avLst/>
          </a:prstGeom>
          <a:solidFill>
            <a:srgbClr val="86BC25"/>
          </a:solidFill>
          <a:ln w="9525" cap="flat" cmpd="sng" algn="ctr">
            <a:noFill/>
            <a:prstDash val="solid"/>
          </a:ln>
          <a:effectLst/>
        </p:spPr>
        <p:txBody>
          <a:bodyPr lIns="82251" tIns="41127" rIns="82251" bIns="41127" rtlCol="0" anchor="ctr"/>
          <a:lstStyle/>
          <a:p>
            <a:pPr algn="ctr" defTabSz="822538">
              <a:defRPr/>
            </a:pPr>
            <a:endParaRPr lang="en-US" sz="1600" kern="0" dirty="0">
              <a:solidFill>
                <a:srgbClr val="FFFFFF"/>
              </a:solidFill>
              <a:latin typeface="Calibri" panose="020F0502020204030204" pitchFamily="34" charset="0"/>
              <a:ea typeface="Verdana" panose="020B0604030504040204" pitchFamily="34" charset="0"/>
              <a:cs typeface="Calibri" panose="020F0502020204030204" pitchFamily="34" charset="0"/>
            </a:endParaRPr>
          </a:p>
        </p:txBody>
      </p:sp>
      <p:sp>
        <p:nvSpPr>
          <p:cNvPr id="7" name="Text Placeholder 20">
            <a:extLst>
              <a:ext uri="{FF2B5EF4-FFF2-40B4-BE49-F238E27FC236}">
                <a16:creationId xmlns:a16="http://schemas.microsoft.com/office/drawing/2014/main" id="{755FCA41-5A7C-153F-18B2-B6AE69B84DE5}"/>
              </a:ext>
            </a:extLst>
          </p:cNvPr>
          <p:cNvSpPr txBox="1">
            <a:spLocks/>
          </p:cNvSpPr>
          <p:nvPr/>
        </p:nvSpPr>
        <p:spPr>
          <a:xfrm>
            <a:off x="411480"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lvl="0" indent="0">
              <a:spcBef>
                <a:spcPts val="0"/>
              </a:spcBef>
              <a:spcAft>
                <a:spcPts val="1333"/>
              </a:spcAft>
              <a:buNone/>
              <a:defRPr/>
            </a:pPr>
            <a:r>
              <a:rPr lang="en-US" sz="1400" b="1" dirty="0">
                <a:solidFill>
                  <a:srgbClr val="575757"/>
                </a:solidFill>
                <a:latin typeface="+mn-lt"/>
                <a:ea typeface="Open Sans Light" panose="020B0306030504020204" pitchFamily="34" charset="0"/>
                <a:cs typeface="Open Sans Light" panose="020B0306030504020204" pitchFamily="34" charset="0"/>
              </a:rPr>
              <a:t>Project Execution Timeline</a:t>
            </a:r>
          </a:p>
        </p:txBody>
      </p:sp>
      <p:sp>
        <p:nvSpPr>
          <p:cNvPr id="10" name="Title 1">
            <a:extLst>
              <a:ext uri="{FF2B5EF4-FFF2-40B4-BE49-F238E27FC236}">
                <a16:creationId xmlns:a16="http://schemas.microsoft.com/office/drawing/2014/main" id="{E4790B8A-6C5F-D7D1-E5FC-02FBBDD5BDA3}"/>
              </a:ext>
            </a:extLst>
          </p:cNvPr>
          <p:cNvSpPr txBox="1">
            <a:spLocks/>
          </p:cNvSpPr>
          <p:nvPr/>
        </p:nvSpPr>
        <p:spPr>
          <a:xfrm>
            <a:off x="411480" y="402587"/>
            <a:ext cx="11252200" cy="334102"/>
          </a:xfrm>
          <a:prstGeom prst="rect">
            <a:avLst/>
          </a:prstGeom>
        </p:spPr>
        <p:txBody>
          <a:bodyPr vert="horz" wrap="square" lIns="0" tIns="0" rIns="0" bIns="0" rtlCol="0" anchor="t" anchorCtr="0">
            <a:noAutofit/>
          </a:bodyPr>
          <a:lstStyle>
            <a:lvl1pPr>
              <a:defRPr sz="2400" b="0" i="0">
                <a:solidFill>
                  <a:srgbClr val="86BC25"/>
                </a:solidFill>
                <a:latin typeface="Calibri" panose="020F0502020204030204" pitchFamily="34" charset="0"/>
                <a:ea typeface="Verdana" panose="020B0604030504040204" pitchFamily="34" charset="0"/>
                <a:cs typeface="Calibri" panose="020F0502020204030204" pitchFamily="34" charset="0"/>
              </a:defRPr>
            </a:lvl1pPr>
          </a:lstStyle>
          <a:p>
            <a:pPr hangingPunct="1">
              <a:spcBef>
                <a:spcPct val="0"/>
              </a:spcBef>
              <a:defRPr/>
            </a:pPr>
            <a:r>
              <a:rPr lang="en-US" sz="2000" dirty="0">
                <a:solidFill>
                  <a:schemeClr val="tx2">
                    <a:lumMod val="50000"/>
                  </a:schemeClr>
                </a:solidFill>
                <a:latin typeface="+mn-lt"/>
                <a:ea typeface="Open Sans Semibold" panose="020B0706030804020204" pitchFamily="34" charset="0"/>
                <a:cs typeface="Open Sans Semibold" panose="020B0706030804020204" pitchFamily="34" charset="0"/>
              </a:rPr>
              <a:t>Timeline</a:t>
            </a:r>
          </a:p>
        </p:txBody>
      </p:sp>
    </p:spTree>
    <p:extLst>
      <p:ext uri="{BB962C8B-B14F-4D97-AF65-F5344CB8AC3E}">
        <p14:creationId xmlns:p14="http://schemas.microsoft.com/office/powerpoint/2010/main" val="4197928976"/>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2" name="Title 1"/>
          <p:cNvSpPr txBox="1">
            <a:spLocks noGrp="1"/>
          </p:cNvSpPr>
          <p:nvPr>
            <p:ph type="title"/>
          </p:nvPr>
        </p:nvSpPr>
        <p:spPr>
          <a:prstGeom prst="rect">
            <a:avLst/>
          </a:prstGeom>
        </p:spPr>
        <p:txBody>
          <a:bodyPr/>
          <a:lstStyle/>
          <a:p>
            <a:r>
              <a:rPr lang="en-US" dirty="0">
                <a:latin typeface="+mn-lt"/>
              </a:rPr>
              <a:t>Our Team</a:t>
            </a:r>
            <a:endParaRPr dirty="0">
              <a:latin typeface="+mn-lt"/>
            </a:endParaRPr>
          </a:p>
        </p:txBody>
      </p:sp>
      <p:sp>
        <p:nvSpPr>
          <p:cNvPr id="2" name="TextBox 1">
            <a:extLst>
              <a:ext uri="{FF2B5EF4-FFF2-40B4-BE49-F238E27FC236}">
                <a16:creationId xmlns:a16="http://schemas.microsoft.com/office/drawing/2014/main" id="{6E671ADA-B264-17D5-4EF2-F9E8FE1560E5}"/>
              </a:ext>
            </a:extLst>
          </p:cNvPr>
          <p:cNvSpPr txBox="1"/>
          <p:nvPr/>
        </p:nvSpPr>
        <p:spPr>
          <a:xfrm>
            <a:off x="478516" y="2622626"/>
            <a:ext cx="10263277" cy="270843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1219170" rtl="0" eaLnBrk="1" fontAlgn="auto" latinLnBrk="0" hangingPunct="1">
              <a:lnSpc>
                <a:spcPct val="100000"/>
              </a:lnSpc>
              <a:spcBef>
                <a:spcPts val="4800"/>
              </a:spcBef>
              <a:spcAft>
                <a:spcPts val="1200"/>
              </a:spcAft>
              <a:buClrTx/>
              <a:buSzPct val="100000"/>
              <a:buFont typeface="Arial" panose="020B0604020202020204" pitchFamily="34" charset="0"/>
              <a:buNone/>
              <a:tabLst/>
              <a:defRPr/>
            </a:pPr>
            <a:r>
              <a:rPr kumimoji="0" lang="en-US" sz="2400" b="0" i="0" u="none" strike="noStrike" kern="120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rPr>
              <a:t>Members of our core team have prior experience with similar organizations and have relevant certifications.</a:t>
            </a:r>
          </a:p>
          <a:p>
            <a:pPr marL="0" marR="0" lvl="0" indent="0" algn="l" defTabSz="1219170" rtl="0" eaLnBrk="1" fontAlgn="auto" latinLnBrk="0" hangingPunct="1">
              <a:lnSpc>
                <a:spcPct val="100000"/>
              </a:lnSpc>
              <a:spcBef>
                <a:spcPts val="4800"/>
              </a:spcBef>
              <a:spcAft>
                <a:spcPts val="1200"/>
              </a:spcAft>
              <a:buClrTx/>
              <a:buSzPct val="100000"/>
              <a:buFont typeface="Arial" panose="020B0604020202020204" pitchFamily="34" charset="0"/>
              <a:buNone/>
              <a:tabLst/>
              <a:defRPr/>
            </a:pPr>
            <a:r>
              <a:rPr kumimoji="0" lang="en-US" sz="2400" b="0" i="0" u="none" strike="noStrike" kern="1200" cap="none" spc="0" normalizeH="0" baseline="0" noProof="0" dirty="0">
                <a:ln>
                  <a:noFill/>
                </a:ln>
                <a:solidFill>
                  <a:sysClr val="window" lastClr="FFFFFF"/>
                </a:solidFill>
                <a:effectLst/>
                <a:uLnTx/>
                <a:uFillTx/>
                <a:latin typeface="Calibri" panose="020F0502020204030204" pitchFamily="34" charset="0"/>
                <a:ea typeface="+mn-ea"/>
                <a:cs typeface="Calibri" panose="020F0502020204030204" pitchFamily="34" charset="0"/>
              </a:rPr>
              <a:t>We believe it is all about people who make the difference. Therefore, we have carefully structured a multidisciplinary team which has the required technical skills, industry knowledge and previous experience of working on similar projects.</a:t>
            </a:r>
          </a:p>
        </p:txBody>
      </p:sp>
    </p:spTree>
    <p:extLst>
      <p:ext uri="{BB962C8B-B14F-4D97-AF65-F5344CB8AC3E}">
        <p14:creationId xmlns:p14="http://schemas.microsoft.com/office/powerpoint/2010/main" val="3957932871"/>
      </p:ext>
    </p:extLst>
  </p:cSld>
  <p:clrMapOvr>
    <a:masterClrMapping/>
  </p:clrMapOvr>
  <p:transition spd="slow">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F5787B5C-2596-A3D4-64B6-F2E2A59735E0}"/>
              </a:ext>
            </a:extLst>
          </p:cNvPr>
          <p:cNvGraphicFramePr>
            <a:graphicFrameLocks noGrp="1"/>
          </p:cNvGraphicFramePr>
          <p:nvPr>
            <p:extLst>
              <p:ext uri="{D42A27DB-BD31-4B8C-83A1-F6EECF244321}">
                <p14:modId xmlns:p14="http://schemas.microsoft.com/office/powerpoint/2010/main" val="1987079011"/>
              </p:ext>
            </p:extLst>
          </p:nvPr>
        </p:nvGraphicFramePr>
        <p:xfrm>
          <a:off x="8047494" y="1030375"/>
          <a:ext cx="3674605" cy="4423799"/>
        </p:xfrm>
        <a:graphic>
          <a:graphicData uri="http://schemas.openxmlformats.org/drawingml/2006/table">
            <a:tbl>
              <a:tblPr firstRow="1" bandRow="1"/>
              <a:tblGrid>
                <a:gridCol w="1538340">
                  <a:extLst>
                    <a:ext uri="{9D8B030D-6E8A-4147-A177-3AD203B41FA5}">
                      <a16:colId xmlns:a16="http://schemas.microsoft.com/office/drawing/2014/main" val="20000"/>
                    </a:ext>
                  </a:extLst>
                </a:gridCol>
                <a:gridCol w="2136265">
                  <a:extLst>
                    <a:ext uri="{9D8B030D-6E8A-4147-A177-3AD203B41FA5}">
                      <a16:colId xmlns:a16="http://schemas.microsoft.com/office/drawing/2014/main" val="20001"/>
                    </a:ext>
                  </a:extLst>
                </a:gridCol>
              </a:tblGrid>
              <a:tr h="438945">
                <a:tc>
                  <a:txBody>
                    <a:bodyPr/>
                    <a:lstStyle>
                      <a:lvl1pPr marL="0" algn="l" defTabSz="1219170" rtl="0" eaLnBrk="1" latinLnBrk="0" hangingPunct="1">
                        <a:defRPr sz="2400" b="1" kern="1200">
                          <a:solidFill>
                            <a:schemeClr val="bg1"/>
                          </a:solidFill>
                          <a:latin typeface="Verdana"/>
                        </a:defRPr>
                      </a:lvl1pPr>
                      <a:lvl2pPr marL="609585" algn="l" defTabSz="1219170" rtl="0" eaLnBrk="1" latinLnBrk="0" hangingPunct="1">
                        <a:defRPr sz="2400" b="1" kern="1200">
                          <a:solidFill>
                            <a:schemeClr val="bg1"/>
                          </a:solidFill>
                          <a:latin typeface="Verdana"/>
                        </a:defRPr>
                      </a:lvl2pPr>
                      <a:lvl3pPr marL="1219170" algn="l" defTabSz="1219170" rtl="0" eaLnBrk="1" latinLnBrk="0" hangingPunct="1">
                        <a:defRPr sz="2400" b="1" kern="1200">
                          <a:solidFill>
                            <a:schemeClr val="bg1"/>
                          </a:solidFill>
                          <a:latin typeface="Verdana"/>
                        </a:defRPr>
                      </a:lvl3pPr>
                      <a:lvl4pPr marL="1828754" algn="l" defTabSz="1219170" rtl="0" eaLnBrk="1" latinLnBrk="0" hangingPunct="1">
                        <a:defRPr sz="2400" b="1" kern="1200">
                          <a:solidFill>
                            <a:schemeClr val="bg1"/>
                          </a:solidFill>
                          <a:latin typeface="Verdana"/>
                        </a:defRPr>
                      </a:lvl4pPr>
                      <a:lvl5pPr marL="2438339" algn="l" defTabSz="1219170" rtl="0" eaLnBrk="1" latinLnBrk="0" hangingPunct="1">
                        <a:defRPr sz="2400" b="1" kern="1200">
                          <a:solidFill>
                            <a:schemeClr val="bg1"/>
                          </a:solidFill>
                          <a:latin typeface="Verdana"/>
                        </a:defRPr>
                      </a:lvl5pPr>
                      <a:lvl6pPr marL="3047924" algn="l" defTabSz="1219170" rtl="0" eaLnBrk="1" latinLnBrk="0" hangingPunct="1">
                        <a:defRPr sz="2400" b="1" kern="1200">
                          <a:solidFill>
                            <a:schemeClr val="bg1"/>
                          </a:solidFill>
                          <a:latin typeface="Verdana"/>
                        </a:defRPr>
                      </a:lvl6pPr>
                      <a:lvl7pPr marL="3657509" algn="l" defTabSz="1219170" rtl="0" eaLnBrk="1" latinLnBrk="0" hangingPunct="1">
                        <a:defRPr sz="2400" b="1" kern="1200">
                          <a:solidFill>
                            <a:schemeClr val="bg1"/>
                          </a:solidFill>
                          <a:latin typeface="Verdana"/>
                        </a:defRPr>
                      </a:lvl7pPr>
                      <a:lvl8pPr marL="4267093" algn="l" defTabSz="1219170" rtl="0" eaLnBrk="1" latinLnBrk="0" hangingPunct="1">
                        <a:defRPr sz="2400" b="1" kern="1200">
                          <a:solidFill>
                            <a:schemeClr val="bg1"/>
                          </a:solidFill>
                          <a:latin typeface="Verdana"/>
                        </a:defRPr>
                      </a:lvl8pPr>
                      <a:lvl9pPr marL="4876678" algn="l" defTabSz="1219170" rtl="0" eaLnBrk="1" latinLnBrk="0" hangingPunct="1">
                        <a:defRPr sz="2400" b="1" kern="1200">
                          <a:solidFill>
                            <a:schemeClr val="bg1"/>
                          </a:solidFill>
                          <a:latin typeface="Verdana"/>
                        </a:defRPr>
                      </a:lvl9pPr>
                    </a:lstStyle>
                    <a:p>
                      <a:pPr algn="ctr"/>
                      <a:r>
                        <a:rPr lang="en-US" sz="1400" b="0" dirty="0">
                          <a:latin typeface="+mn-lt"/>
                          <a:ea typeface="Open Sans Light" panose="020B0306030504020204" pitchFamily="34" charset="0"/>
                          <a:cs typeface="Open Sans Light" panose="020B0306030504020204" pitchFamily="34" charset="0"/>
                        </a:rPr>
                        <a:t>Roles</a:t>
                      </a:r>
                    </a:p>
                  </a:txBody>
                  <a:tcPr anchor="ctr">
                    <a:lnL w="12700" cap="flat" cmpd="sng" algn="ctr">
                      <a:solidFill>
                        <a:schemeClr val="bg2"/>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1219170" rtl="0" eaLnBrk="1" latinLnBrk="0" hangingPunct="1">
                        <a:defRPr sz="2400" b="1" kern="1200">
                          <a:solidFill>
                            <a:schemeClr val="bg1"/>
                          </a:solidFill>
                          <a:latin typeface="Verdana"/>
                        </a:defRPr>
                      </a:lvl1pPr>
                      <a:lvl2pPr marL="609585" algn="l" defTabSz="1219170" rtl="0" eaLnBrk="1" latinLnBrk="0" hangingPunct="1">
                        <a:defRPr sz="2400" b="1" kern="1200">
                          <a:solidFill>
                            <a:schemeClr val="bg1"/>
                          </a:solidFill>
                          <a:latin typeface="Verdana"/>
                        </a:defRPr>
                      </a:lvl2pPr>
                      <a:lvl3pPr marL="1219170" algn="l" defTabSz="1219170" rtl="0" eaLnBrk="1" latinLnBrk="0" hangingPunct="1">
                        <a:defRPr sz="2400" b="1" kern="1200">
                          <a:solidFill>
                            <a:schemeClr val="bg1"/>
                          </a:solidFill>
                          <a:latin typeface="Verdana"/>
                        </a:defRPr>
                      </a:lvl3pPr>
                      <a:lvl4pPr marL="1828754" algn="l" defTabSz="1219170" rtl="0" eaLnBrk="1" latinLnBrk="0" hangingPunct="1">
                        <a:defRPr sz="2400" b="1" kern="1200">
                          <a:solidFill>
                            <a:schemeClr val="bg1"/>
                          </a:solidFill>
                          <a:latin typeface="Verdana"/>
                        </a:defRPr>
                      </a:lvl4pPr>
                      <a:lvl5pPr marL="2438339" algn="l" defTabSz="1219170" rtl="0" eaLnBrk="1" latinLnBrk="0" hangingPunct="1">
                        <a:defRPr sz="2400" b="1" kern="1200">
                          <a:solidFill>
                            <a:schemeClr val="bg1"/>
                          </a:solidFill>
                          <a:latin typeface="Verdana"/>
                        </a:defRPr>
                      </a:lvl5pPr>
                      <a:lvl6pPr marL="3047924" algn="l" defTabSz="1219170" rtl="0" eaLnBrk="1" latinLnBrk="0" hangingPunct="1">
                        <a:defRPr sz="2400" b="1" kern="1200">
                          <a:solidFill>
                            <a:schemeClr val="bg1"/>
                          </a:solidFill>
                          <a:latin typeface="Verdana"/>
                        </a:defRPr>
                      </a:lvl6pPr>
                      <a:lvl7pPr marL="3657509" algn="l" defTabSz="1219170" rtl="0" eaLnBrk="1" latinLnBrk="0" hangingPunct="1">
                        <a:defRPr sz="2400" b="1" kern="1200">
                          <a:solidFill>
                            <a:schemeClr val="bg1"/>
                          </a:solidFill>
                          <a:latin typeface="Verdana"/>
                        </a:defRPr>
                      </a:lvl7pPr>
                      <a:lvl8pPr marL="4267093" algn="l" defTabSz="1219170" rtl="0" eaLnBrk="1" latinLnBrk="0" hangingPunct="1">
                        <a:defRPr sz="2400" b="1" kern="1200">
                          <a:solidFill>
                            <a:schemeClr val="bg1"/>
                          </a:solidFill>
                          <a:latin typeface="Verdana"/>
                        </a:defRPr>
                      </a:lvl8pPr>
                      <a:lvl9pPr marL="4876678" algn="l" defTabSz="1219170" rtl="0" eaLnBrk="1" latinLnBrk="0" hangingPunct="1">
                        <a:defRPr sz="2400" b="1" kern="1200">
                          <a:solidFill>
                            <a:schemeClr val="bg1"/>
                          </a:solidFill>
                          <a:latin typeface="Verdana"/>
                        </a:defRPr>
                      </a:lvl9pPr>
                    </a:lstStyle>
                    <a:p>
                      <a:pPr algn="ctr"/>
                      <a:r>
                        <a:rPr lang="en-US" sz="1400" b="0">
                          <a:latin typeface="+mn-lt"/>
                          <a:ea typeface="Open Sans Light" panose="020B0306030504020204" pitchFamily="34" charset="0"/>
                          <a:cs typeface="Open Sans Light" panose="020B0306030504020204" pitchFamily="34" charset="0"/>
                        </a:rPr>
                        <a:t>Responsibilities</a:t>
                      </a:r>
                    </a:p>
                  </a:txBody>
                  <a:tcPr anchor="ctr">
                    <a:lnL w="3175" cap="flat" cmpd="sng" algn="ctr">
                      <a:solidFill>
                        <a:sysClr val="window" lastClr="FFFFFF"/>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913446">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algn="ctr"/>
                      <a:r>
                        <a:rPr lang="en-US" sz="1000" b="0" dirty="0">
                          <a:solidFill>
                            <a:schemeClr val="bg1"/>
                          </a:solidFill>
                          <a:latin typeface="+mn-lt"/>
                          <a:ea typeface="Open Sans Light" panose="020B0306030504020204" pitchFamily="34" charset="0"/>
                          <a:cs typeface="Open Sans Light" panose="020B0306030504020204" pitchFamily="34" charset="0"/>
                        </a:rPr>
                        <a:t>Engagement Leadership</a:t>
                      </a:r>
                    </a:p>
                  </a:txBody>
                  <a:tcPr anchor="ctr">
                    <a:lnL w="12700" cap="flat" cmpd="sng" algn="ctr">
                      <a:solidFill>
                        <a:schemeClr val="bg2"/>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3175" cap="flat" cmpd="sng" algn="ctr">
                      <a:solidFill>
                        <a:sysClr val="window" lastClr="FFFFFF"/>
                      </a:solidFill>
                      <a:prstDash val="solid"/>
                      <a:round/>
                      <a:headEnd type="none" w="med" len="med"/>
                      <a:tailEnd type="none" w="med" len="med"/>
                    </a:lnT>
                    <a:lnB w="31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115888" marR="0" lvl="1" indent="-115888" algn="l" defTabSz="914400" rtl="0" eaLnBrk="1" fontAlgn="base" latinLnBrk="0" hangingPunct="1">
                        <a:lnSpc>
                          <a:spcPct val="100000"/>
                        </a:lnSpc>
                        <a:spcBef>
                          <a:spcPts val="300"/>
                        </a:spcBef>
                        <a:spcAft>
                          <a:spcPct val="0"/>
                        </a:spcAft>
                        <a:buClrTx/>
                        <a:buSzTx/>
                        <a:buFont typeface="Arial" panose="020B0604020202020204" pitchFamily="34" charset="0"/>
                        <a:buChar char="•"/>
                        <a:tabLst/>
                        <a:defRPr/>
                      </a:pPr>
                      <a:r>
                        <a:rPr lang="en-US" sz="1000" b="0" i="0" u="none" strike="noStrike" kern="1200" cap="none" spc="0" baseline="0" dirty="0">
                          <a:solidFill>
                            <a:schemeClr val="tx2">
                              <a:lumMod val="50000"/>
                            </a:schemeClr>
                          </a:solidFill>
                          <a:uFillTx/>
                          <a:latin typeface="+mn-lt"/>
                          <a:ea typeface="Open Sans Light" panose="020B0306030504020204" pitchFamily="34" charset="0"/>
                          <a:cs typeface="Open Sans Light" panose="020B0306030504020204" pitchFamily="34" charset="0"/>
                          <a:sym typeface="Open Sans Light"/>
                        </a:rPr>
                        <a:t>Overall responsibility for planning, coordination and delivery of project outputs.</a:t>
                      </a:r>
                    </a:p>
                    <a:p>
                      <a:pPr marL="115888" marR="0" lvl="1" indent="-115888" algn="l" defTabSz="914400" rtl="0" eaLnBrk="1" fontAlgn="base" latinLnBrk="0" hangingPunct="1">
                        <a:lnSpc>
                          <a:spcPct val="100000"/>
                        </a:lnSpc>
                        <a:spcBef>
                          <a:spcPts val="300"/>
                        </a:spcBef>
                        <a:spcAft>
                          <a:spcPct val="0"/>
                        </a:spcAft>
                        <a:buClrTx/>
                        <a:buSzTx/>
                        <a:buFont typeface="Arial" panose="020B0604020202020204" pitchFamily="34" charset="0"/>
                        <a:buChar char="•"/>
                        <a:tabLst/>
                        <a:defRPr/>
                      </a:pPr>
                      <a:r>
                        <a:rPr lang="en-US" sz="1000" b="0" i="0" u="none" strike="noStrike" kern="1200" cap="none" spc="0" baseline="0" dirty="0">
                          <a:solidFill>
                            <a:schemeClr val="tx2">
                              <a:lumMod val="50000"/>
                            </a:schemeClr>
                          </a:solidFill>
                          <a:uFillTx/>
                          <a:latin typeface="+mn-lt"/>
                          <a:ea typeface="Open Sans Light" panose="020B0306030504020204" pitchFamily="34" charset="0"/>
                          <a:cs typeface="Open Sans Light" panose="020B0306030504020204" pitchFamily="34" charset="0"/>
                          <a:sym typeface="Open Sans Light"/>
                        </a:rPr>
                        <a:t>Identify and assign appropriate resources to the project.</a:t>
                      </a:r>
                    </a:p>
                  </a:txBody>
                  <a:tcPr anchor="ctr">
                    <a:lnL w="3175" cap="flat" cmpd="sng" algn="ctr">
                      <a:solidFill>
                        <a:sysClr val="window" lastClr="FFFFFF"/>
                      </a:solidFill>
                      <a:prstDash val="solid"/>
                      <a:round/>
                      <a:headEnd type="none" w="med" len="med"/>
                      <a:tailEnd type="none" w="med" len="med"/>
                    </a:lnL>
                    <a:lnR w="12700" cap="flat" cmpd="sng" algn="ctr">
                      <a:solidFill>
                        <a:schemeClr val="bg2"/>
                      </a:solidFill>
                      <a:prstDash val="solid"/>
                      <a:round/>
                      <a:headEnd type="none" w="med" len="med"/>
                      <a:tailEnd type="none" w="med" len="med"/>
                    </a:lnR>
                    <a:lnT w="3175" cap="flat" cmpd="sng" algn="ctr">
                      <a:solidFill>
                        <a:sysClr val="window" lastClr="FFFFFF"/>
                      </a:solidFill>
                      <a:prstDash val="solid"/>
                      <a:round/>
                      <a:headEnd type="none" w="med" len="med"/>
                      <a:tailEnd type="none" w="med" len="med"/>
                    </a:lnT>
                    <a:lnB w="31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71704">
                <a:tc rowSpan="2">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algn="ctr"/>
                      <a:r>
                        <a:rPr lang="en-US" sz="1000" b="0" dirty="0">
                          <a:solidFill>
                            <a:schemeClr val="bg1"/>
                          </a:solidFill>
                          <a:latin typeface="+mn-lt"/>
                          <a:ea typeface="Open Sans Light" panose="020B0306030504020204" pitchFamily="34" charset="0"/>
                          <a:cs typeface="Open Sans Light" panose="020B0306030504020204" pitchFamily="34" charset="0"/>
                        </a:rPr>
                        <a:t>Engagement Management and Subject Matter Experts</a:t>
                      </a:r>
                    </a:p>
                  </a:txBody>
                  <a:tcPr anchor="ctr">
                    <a:lnL w="12700" cap="flat" cmpd="sng" algn="ctr">
                      <a:solidFill>
                        <a:schemeClr val="bg2"/>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3175" cap="flat" cmpd="sng" algn="ctr">
                      <a:solidFill>
                        <a:sysClr val="window" lastClr="FFFFFF"/>
                      </a:solidFill>
                      <a:prstDash val="solid"/>
                      <a:round/>
                      <a:headEnd type="none" w="med" len="med"/>
                      <a:tailEnd type="none" w="med" len="med"/>
                    </a:lnT>
                    <a:lnB w="31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46A38"/>
                    </a:solidFill>
                  </a:tcPr>
                </a:tc>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115888" marR="0" lvl="1" indent="-115888" algn="l" defTabSz="914400" rtl="0" eaLnBrk="1" fontAlgn="base" latinLnBrk="0" hangingPunct="1">
                        <a:lnSpc>
                          <a:spcPct val="100000"/>
                        </a:lnSpc>
                        <a:spcBef>
                          <a:spcPts val="300"/>
                        </a:spcBef>
                        <a:spcAft>
                          <a:spcPct val="0"/>
                        </a:spcAft>
                        <a:buClrTx/>
                        <a:buSzTx/>
                        <a:buFont typeface="Arial" panose="020B0604020202020204" pitchFamily="34" charset="0"/>
                        <a:buChar char="•"/>
                        <a:tabLst/>
                        <a:defRPr/>
                      </a:pPr>
                      <a:r>
                        <a:rPr lang="en-US" sz="1000" b="0" i="0" u="none" strike="noStrike" kern="1200" cap="none" spc="0" baseline="0" dirty="0">
                          <a:solidFill>
                            <a:schemeClr val="tx2">
                              <a:lumMod val="50000"/>
                            </a:schemeClr>
                          </a:solidFill>
                          <a:uFillTx/>
                          <a:latin typeface="+mn-lt"/>
                          <a:ea typeface="Open Sans Light" panose="020B0306030504020204" pitchFamily="34" charset="0"/>
                          <a:cs typeface="Open Sans Light" panose="020B0306030504020204" pitchFamily="34" charset="0"/>
                          <a:sym typeface="Open Sans Light"/>
                        </a:rPr>
                        <a:t>Ensure objectives are met within timing and scope outlined.</a:t>
                      </a:r>
                    </a:p>
                    <a:p>
                      <a:pPr marL="115888" marR="0" lvl="1" indent="-115888" algn="l" defTabSz="914400" rtl="0" eaLnBrk="1" fontAlgn="base" latinLnBrk="0" hangingPunct="1">
                        <a:lnSpc>
                          <a:spcPct val="100000"/>
                        </a:lnSpc>
                        <a:spcBef>
                          <a:spcPts val="300"/>
                        </a:spcBef>
                        <a:spcAft>
                          <a:spcPct val="0"/>
                        </a:spcAft>
                        <a:buClrTx/>
                        <a:buSzTx/>
                        <a:buFont typeface="Arial" panose="020B0604020202020204" pitchFamily="34" charset="0"/>
                        <a:buChar char="•"/>
                        <a:tabLst/>
                        <a:defRPr/>
                      </a:pPr>
                      <a:r>
                        <a:rPr lang="en-US" sz="1000" b="0" i="0" u="none" strike="noStrike" kern="1200" cap="none" spc="0" baseline="0" dirty="0">
                          <a:solidFill>
                            <a:schemeClr val="tx2">
                              <a:lumMod val="50000"/>
                            </a:schemeClr>
                          </a:solidFill>
                          <a:uFillTx/>
                          <a:latin typeface="+mn-lt"/>
                          <a:ea typeface="Open Sans Light" panose="020B0306030504020204" pitchFamily="34" charset="0"/>
                          <a:cs typeface="Open Sans Light" panose="020B0306030504020204" pitchFamily="34" charset="0"/>
                          <a:sym typeface="Open Sans Light"/>
                        </a:rPr>
                        <a:t>Manage day-to-day activities. </a:t>
                      </a:r>
                    </a:p>
                    <a:p>
                      <a:pPr marL="115888" marR="0" lvl="1" indent="-115888" algn="l" defTabSz="914400" rtl="0" eaLnBrk="1" fontAlgn="base" latinLnBrk="0" hangingPunct="1">
                        <a:lnSpc>
                          <a:spcPct val="100000"/>
                        </a:lnSpc>
                        <a:spcBef>
                          <a:spcPts val="300"/>
                        </a:spcBef>
                        <a:spcAft>
                          <a:spcPct val="0"/>
                        </a:spcAft>
                        <a:buClrTx/>
                        <a:buSzTx/>
                        <a:buFont typeface="Arial" panose="020B0604020202020204" pitchFamily="34" charset="0"/>
                        <a:buChar char="•"/>
                        <a:tabLst/>
                        <a:defRPr/>
                      </a:pPr>
                      <a:r>
                        <a:rPr lang="en-US" sz="1000" b="0" i="0" u="none" strike="noStrike" kern="1200" cap="none" spc="0" baseline="0" dirty="0">
                          <a:solidFill>
                            <a:schemeClr val="tx2">
                              <a:lumMod val="50000"/>
                            </a:schemeClr>
                          </a:solidFill>
                          <a:uFillTx/>
                          <a:latin typeface="+mn-lt"/>
                          <a:ea typeface="Open Sans Light" panose="020B0306030504020204" pitchFamily="34" charset="0"/>
                          <a:cs typeface="Open Sans Light" panose="020B0306030504020204" pitchFamily="34" charset="0"/>
                          <a:sym typeface="Open Sans Light"/>
                        </a:rPr>
                        <a:t>Provide regular status updates to  respective management as required.</a:t>
                      </a:r>
                    </a:p>
                  </a:txBody>
                  <a:tcPr anchor="ctr">
                    <a:lnL w="3175" cap="flat" cmpd="sng" algn="ctr">
                      <a:solidFill>
                        <a:sysClr val="window" lastClr="FFFFFF"/>
                      </a:solidFill>
                      <a:prstDash val="solid"/>
                      <a:round/>
                      <a:headEnd type="none" w="med" len="med"/>
                      <a:tailEnd type="none" w="med" len="med"/>
                    </a:lnL>
                    <a:lnR w="12700" cap="flat" cmpd="sng" algn="ctr">
                      <a:solidFill>
                        <a:schemeClr val="bg2"/>
                      </a:solidFill>
                      <a:prstDash val="solid"/>
                      <a:round/>
                      <a:headEnd type="none" w="med" len="med"/>
                      <a:tailEnd type="none" w="med" len="med"/>
                    </a:lnR>
                    <a:lnT w="3175" cap="flat" cmpd="sng" algn="ctr">
                      <a:solidFill>
                        <a:sysClr val="window" lastClr="FFFFFF"/>
                      </a:solidFill>
                      <a:prstDash val="solid"/>
                      <a:round/>
                      <a:headEnd type="none" w="med" len="med"/>
                      <a:tailEnd type="none" w="med" len="med"/>
                    </a:lnT>
                    <a:lnB w="31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28053332"/>
                  </a:ext>
                </a:extLst>
              </a:tr>
              <a:tr h="405976">
                <a:tc vMerge="1">
                  <a:txBody>
                    <a:bodyPr/>
                    <a:lstStyle/>
                    <a:p>
                      <a:pPr algn="ctr"/>
                      <a:r>
                        <a:rPr lang="en-US" sz="900" b="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Subject Matter Expert (SME)</a:t>
                      </a:r>
                    </a:p>
                  </a:txBody>
                  <a:tcPr anchor="ctr">
                    <a:lnL w="12700" cap="flat" cmpd="sng" algn="ctr">
                      <a:solidFill>
                        <a:schemeClr val="bg2"/>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3175" cap="flat" cmpd="sng" algn="ctr">
                      <a:solidFill>
                        <a:sysClr val="window" lastClr="FFFFFF"/>
                      </a:solidFill>
                      <a:prstDash val="solid"/>
                      <a:round/>
                      <a:headEnd type="none" w="med" len="med"/>
                      <a:tailEnd type="none" w="med" len="med"/>
                    </a:lnT>
                    <a:lnB w="31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p>
                      <a:pPr marL="115888" marR="0" lvl="1" indent="-115888" algn="l" defTabSz="914400" rtl="0" eaLnBrk="1" fontAlgn="base" latinLnBrk="0" hangingPunct="1">
                        <a:lnSpc>
                          <a:spcPct val="100000"/>
                        </a:lnSpc>
                        <a:spcBef>
                          <a:spcPts val="300"/>
                        </a:spcBef>
                        <a:spcAft>
                          <a:spcPct val="0"/>
                        </a:spcAft>
                        <a:buClrTx/>
                        <a:buSzTx/>
                        <a:buFont typeface="Arial" panose="020B0604020202020204" pitchFamily="34" charset="0"/>
                        <a:buChar char="•"/>
                        <a:tabLst/>
                        <a:defRPr/>
                      </a:pPr>
                      <a:r>
                        <a:rPr lang="en-US" sz="1000" b="0" i="0" u="none" strike="noStrike" kern="1200" cap="none" spc="0" baseline="0" dirty="0">
                          <a:solidFill>
                            <a:schemeClr val="tx2">
                              <a:lumMod val="50000"/>
                            </a:schemeClr>
                          </a:solidFill>
                          <a:uFillTx/>
                          <a:latin typeface="+mn-lt"/>
                          <a:ea typeface="Open Sans Light" panose="020B0306030504020204" pitchFamily="34" charset="0"/>
                          <a:cs typeface="Open Sans Light" panose="020B0306030504020204" pitchFamily="34" charset="0"/>
                          <a:sym typeface="Open Sans Light"/>
                        </a:rPr>
                        <a:t>Provide guidance on the challenges and complicated topics.</a:t>
                      </a:r>
                    </a:p>
                  </a:txBody>
                  <a:tcPr anchor="ctr">
                    <a:lnL w="3175" cap="flat" cmpd="sng" algn="ctr">
                      <a:solidFill>
                        <a:sysClr val="window" lastClr="FFFFFF"/>
                      </a:solidFill>
                      <a:prstDash val="solid"/>
                      <a:round/>
                      <a:headEnd type="none" w="med" len="med"/>
                      <a:tailEnd type="none" w="med" len="med"/>
                    </a:lnL>
                    <a:lnR w="12700" cap="flat" cmpd="sng" algn="ctr">
                      <a:solidFill>
                        <a:schemeClr val="bg2"/>
                      </a:solidFill>
                      <a:prstDash val="solid"/>
                      <a:round/>
                      <a:headEnd type="none" w="med" len="med"/>
                      <a:tailEnd type="none" w="med" len="med"/>
                    </a:lnR>
                    <a:lnT w="3175" cap="flat" cmpd="sng" algn="ctr">
                      <a:solidFill>
                        <a:sysClr val="window" lastClr="FFFFFF"/>
                      </a:solidFill>
                      <a:prstDash val="solid"/>
                      <a:round/>
                      <a:headEnd type="none" w="med" len="med"/>
                      <a:tailEnd type="none" w="med" len="med"/>
                    </a:lnT>
                    <a:lnB w="31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76786304"/>
                  </a:ext>
                </a:extLst>
              </a:tr>
              <a:tr h="1393728">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algn="ctr"/>
                      <a:r>
                        <a:rPr lang="en-US" sz="1000" b="0" dirty="0">
                          <a:solidFill>
                            <a:schemeClr val="bg1"/>
                          </a:solidFill>
                          <a:latin typeface="+mn-lt"/>
                          <a:ea typeface="Open Sans Light" panose="020B0306030504020204" pitchFamily="34" charset="0"/>
                          <a:cs typeface="Open Sans Light" panose="020B0306030504020204" pitchFamily="34" charset="0"/>
                        </a:rPr>
                        <a:t>Core Team</a:t>
                      </a:r>
                      <a:endParaRPr lang="en-US" sz="1000" b="0" dirty="0">
                        <a:solidFill>
                          <a:srgbClr val="046A38"/>
                        </a:solidFill>
                        <a:latin typeface="+mn-lt"/>
                        <a:ea typeface="Open Sans Light" panose="020B0306030504020204" pitchFamily="34" charset="0"/>
                        <a:cs typeface="Open Sans Light" panose="020B0306030504020204" pitchFamily="34" charset="0"/>
                      </a:endParaRPr>
                    </a:p>
                  </a:txBody>
                  <a:tcPr anchor="ctr">
                    <a:lnL w="12700" cap="flat" cmpd="sng" algn="ctr">
                      <a:solidFill>
                        <a:schemeClr val="bg2"/>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3175" cap="flat" cmpd="sng" algn="ctr">
                      <a:solidFill>
                        <a:sysClr val="window" lastClr="FFFFFF"/>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115888" marR="0" lvl="1" indent="-115888" algn="l" defTabSz="914400" rtl="0" eaLnBrk="1" fontAlgn="base" latinLnBrk="0" hangingPunct="1">
                        <a:lnSpc>
                          <a:spcPct val="100000"/>
                        </a:lnSpc>
                        <a:spcBef>
                          <a:spcPts val="300"/>
                        </a:spcBef>
                        <a:spcAft>
                          <a:spcPct val="0"/>
                        </a:spcAft>
                        <a:buClrTx/>
                        <a:buSzTx/>
                        <a:buFont typeface="Arial" panose="020B0604020202020204" pitchFamily="34" charset="0"/>
                        <a:buChar char="•"/>
                        <a:tabLst/>
                        <a:defRPr/>
                      </a:pPr>
                      <a:r>
                        <a:rPr lang="en-US" sz="1000" b="0" i="0" u="none" strike="noStrike" kern="1200" cap="none" spc="0" baseline="0" dirty="0">
                          <a:solidFill>
                            <a:schemeClr val="tx2">
                              <a:lumMod val="50000"/>
                            </a:schemeClr>
                          </a:solidFill>
                          <a:uFillTx/>
                          <a:latin typeface="+mn-lt"/>
                          <a:ea typeface="Open Sans Light" panose="020B0306030504020204" pitchFamily="34" charset="0"/>
                          <a:cs typeface="Open Sans Light" panose="020B0306030504020204" pitchFamily="34" charset="0"/>
                          <a:sym typeface="Open Sans Light"/>
                        </a:rPr>
                        <a:t>Perform fieldwork under direction of Engagement Manager.</a:t>
                      </a:r>
                    </a:p>
                    <a:p>
                      <a:pPr marL="115888" marR="0" lvl="1" indent="-115888" algn="l" defTabSz="914400" rtl="0" eaLnBrk="1" fontAlgn="base" latinLnBrk="0" hangingPunct="1">
                        <a:lnSpc>
                          <a:spcPct val="100000"/>
                        </a:lnSpc>
                        <a:spcBef>
                          <a:spcPts val="300"/>
                        </a:spcBef>
                        <a:spcAft>
                          <a:spcPct val="0"/>
                        </a:spcAft>
                        <a:buClrTx/>
                        <a:buSzTx/>
                        <a:buFont typeface="Arial" panose="020B0604020202020204" pitchFamily="34" charset="0"/>
                        <a:buChar char="•"/>
                        <a:tabLst/>
                        <a:defRPr/>
                      </a:pPr>
                      <a:r>
                        <a:rPr lang="en-US" sz="1000" b="0" i="0" u="none" strike="noStrike" kern="1200" cap="none" spc="0" baseline="0" dirty="0">
                          <a:solidFill>
                            <a:schemeClr val="tx2">
                              <a:lumMod val="50000"/>
                            </a:schemeClr>
                          </a:solidFill>
                          <a:uFillTx/>
                          <a:latin typeface="+mn-lt"/>
                          <a:ea typeface="Open Sans Light" panose="020B0306030504020204" pitchFamily="34" charset="0"/>
                          <a:cs typeface="Open Sans Light" panose="020B0306030504020204" pitchFamily="34" charset="0"/>
                          <a:sym typeface="Open Sans Light"/>
                        </a:rPr>
                        <a:t>Prepare deliverables draft</a:t>
                      </a:r>
                    </a:p>
                    <a:p>
                      <a:pPr marL="115888" marR="0" lvl="1" indent="-115888" algn="l" defTabSz="914400" rtl="0" eaLnBrk="1" fontAlgn="base" latinLnBrk="0" hangingPunct="1">
                        <a:lnSpc>
                          <a:spcPct val="100000"/>
                        </a:lnSpc>
                        <a:spcBef>
                          <a:spcPts val="300"/>
                        </a:spcBef>
                        <a:spcAft>
                          <a:spcPct val="0"/>
                        </a:spcAft>
                        <a:buClrTx/>
                        <a:buSzTx/>
                        <a:buFont typeface="Arial" panose="020B0604020202020204" pitchFamily="34" charset="0"/>
                        <a:buChar char="•"/>
                        <a:tabLst/>
                        <a:defRPr/>
                      </a:pPr>
                      <a:r>
                        <a:rPr lang="en-US" sz="1000" b="0" i="0" u="none" strike="noStrike" kern="1200" cap="none" spc="0" baseline="0" dirty="0">
                          <a:solidFill>
                            <a:schemeClr val="tx2">
                              <a:lumMod val="50000"/>
                            </a:schemeClr>
                          </a:solidFill>
                          <a:uFillTx/>
                          <a:latin typeface="+mn-lt"/>
                          <a:ea typeface="Open Sans Light" panose="020B0306030504020204" pitchFamily="34" charset="0"/>
                          <a:cs typeface="Open Sans Light" panose="020B0306030504020204" pitchFamily="34" charset="0"/>
                          <a:sym typeface="Open Sans Light"/>
                        </a:rPr>
                        <a:t>Seconded resource will be available onsite for the no. of working days per month mutually agreed between Deloitte and Salam.</a:t>
                      </a:r>
                    </a:p>
                  </a:txBody>
                  <a:tcPr anchor="ctr">
                    <a:lnL w="3175" cap="flat" cmpd="sng" algn="ctr">
                      <a:solidFill>
                        <a:sysClr val="window" lastClr="FFFFFF"/>
                      </a:solidFill>
                      <a:prstDash val="solid"/>
                      <a:round/>
                      <a:headEnd type="none" w="med" len="med"/>
                      <a:tailEnd type="none" w="med" len="med"/>
                    </a:lnL>
                    <a:lnR w="12700" cap="flat" cmpd="sng" algn="ctr">
                      <a:solidFill>
                        <a:schemeClr val="bg2"/>
                      </a:solidFill>
                      <a:prstDash val="solid"/>
                      <a:round/>
                      <a:headEnd type="none" w="med" len="med"/>
                      <a:tailEnd type="none" w="med" len="med"/>
                    </a:lnR>
                    <a:lnT w="3175" cap="flat" cmpd="sng" algn="ctr">
                      <a:solidFill>
                        <a:sysClr val="window" lastClr="FFFFFF"/>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
        <p:nvSpPr>
          <p:cNvPr id="19" name="Rectangle 2">
            <a:extLst>
              <a:ext uri="{FF2B5EF4-FFF2-40B4-BE49-F238E27FC236}">
                <a16:creationId xmlns:a16="http://schemas.microsoft.com/office/drawing/2014/main" id="{A5E17CD5-34F6-1065-7E6A-DE0D79CC0404}"/>
              </a:ext>
            </a:extLst>
          </p:cNvPr>
          <p:cNvSpPr txBox="1">
            <a:spLocks/>
          </p:cNvSpPr>
          <p:nvPr/>
        </p:nvSpPr>
        <p:spPr>
          <a:xfrm>
            <a:off x="501648" y="6184848"/>
            <a:ext cx="102592" cy="10772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1pPr>
            <a:lvl2pPr marL="0" marR="0" indent="4572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2pPr>
            <a:lvl3pPr marL="0" marR="0" indent="9144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3pPr>
            <a:lvl4pPr marL="0" marR="0" indent="13716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4pPr>
            <a:lvl5pPr marL="0" marR="0" indent="18288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5pPr>
            <a:lvl6pPr marL="0" marR="0" indent="22860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6pPr>
            <a:lvl7pPr marL="0" marR="0" indent="27432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7pPr>
            <a:lvl8pPr marL="0" marR="0" indent="32004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8pPr>
            <a:lvl9pPr marL="0" marR="0" indent="365760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US" sz="700" b="0" i="0" u="none" strike="noStrike" kern="0" cap="none" spc="0" normalizeH="0" baseline="0" noProof="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Light"/>
              </a:rPr>
              <a:pPr marL="0" marR="0" lvl="0" indent="0" algn="l" defTabSz="914400" rtl="0" eaLnBrk="1" fontAlgn="auto" latinLnBrk="0" hangingPunct="0">
                <a:lnSpc>
                  <a:spcPct val="100000"/>
                </a:lnSpc>
                <a:spcBef>
                  <a:spcPts val="0"/>
                </a:spcBef>
                <a:spcAft>
                  <a:spcPts val="0"/>
                </a:spcAft>
                <a:buClrTx/>
                <a:buSzTx/>
                <a:buFontTx/>
                <a:buNone/>
                <a:tabLst/>
                <a:defRPr/>
              </a:pPr>
              <a:t>36</a:t>
            </a:fld>
            <a:endParaRPr kumimoji="0" lang="en-US" sz="700" b="0" i="0" u="none" strike="noStrike" kern="0" cap="none" spc="0" normalizeH="0" baseline="0" noProof="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Light"/>
            </a:endParaRPr>
          </a:p>
        </p:txBody>
      </p:sp>
      <p:sp>
        <p:nvSpPr>
          <p:cNvPr id="20" name="Rectangle 19">
            <a:extLst>
              <a:ext uri="{FF2B5EF4-FFF2-40B4-BE49-F238E27FC236}">
                <a16:creationId xmlns:a16="http://schemas.microsoft.com/office/drawing/2014/main" id="{A93FF82D-A137-988F-7CAD-074CB39C94B5}"/>
              </a:ext>
            </a:extLst>
          </p:cNvPr>
          <p:cNvSpPr>
            <a:spLocks noChangeArrowheads="1"/>
          </p:cNvSpPr>
          <p:nvPr/>
        </p:nvSpPr>
        <p:spPr bwMode="auto">
          <a:xfrm>
            <a:off x="469900" y="5886508"/>
            <a:ext cx="11194736" cy="585903"/>
          </a:xfrm>
          <a:prstGeom prst="rect">
            <a:avLst/>
          </a:prstGeom>
          <a:solidFill>
            <a:sysClr val="window" lastClr="FFFFFF">
              <a:lumMod val="95000"/>
            </a:sysClr>
          </a:solidFill>
          <a:ln w="12700" algn="ctr">
            <a:noFill/>
            <a:miter lim="800000"/>
            <a:headEnd/>
            <a:tailEnd/>
          </a:ln>
        </p:spPr>
        <p:txBody>
          <a:bodyPr lIns="182880" tIns="182880" rIns="182880" bIns="182880" anchor="ctr"/>
          <a:lstStyle/>
          <a:p>
            <a:pPr marL="0" marR="0" lvl="0" indent="0" algn="just" defTabSz="907373" rtl="0" eaLnBrk="1" fontAlgn="auto" latinLnBrk="0" hangingPunct="1">
              <a:lnSpc>
                <a:spcPct val="100000"/>
              </a:lnSpc>
              <a:spcBef>
                <a:spcPts val="0"/>
              </a:spcBef>
              <a:spcAft>
                <a:spcPts val="600"/>
              </a:spcAft>
              <a:buClrTx/>
              <a:buSzTx/>
              <a:buFontTx/>
              <a:buNone/>
              <a:tabLst>
                <a:tab pos="5685252" algn="l"/>
              </a:tabLst>
              <a:defRPr/>
            </a:pPr>
            <a:r>
              <a:rPr lang="en-US" sz="1000" kern="1200" dirty="0">
                <a:solidFill>
                  <a:srgbClr val="3E3E3E"/>
                </a:solidFill>
                <a:latin typeface="+mn-lt"/>
                <a:ea typeface="Open Sans Light" panose="020B0306030504020204" pitchFamily="34" charset="0"/>
                <a:cs typeface="Open Sans Light" panose="020B0306030504020204" pitchFamily="34" charset="0"/>
              </a:rPr>
              <a:t>Deloitte Resource pool - Deloitte is the largest integrated risk consulting practice in the Middle East with more than 250 professionals. These resources can be further augmented by regional and global professionals and Subject Matter Experts (as needed); however, the SMEs are not expected to be onsite. </a:t>
            </a:r>
          </a:p>
          <a:p>
            <a:pPr marL="0" marR="0" lvl="0" indent="0" algn="just" defTabSz="907373" rtl="0" eaLnBrk="1" fontAlgn="auto" latinLnBrk="0" hangingPunct="1">
              <a:lnSpc>
                <a:spcPct val="100000"/>
              </a:lnSpc>
              <a:spcBef>
                <a:spcPts val="0"/>
              </a:spcBef>
              <a:spcAft>
                <a:spcPts val="600"/>
              </a:spcAft>
              <a:buClrTx/>
              <a:buSzTx/>
              <a:buFontTx/>
              <a:buNone/>
              <a:tabLst>
                <a:tab pos="5685252" algn="l"/>
              </a:tabLst>
              <a:defRPr/>
            </a:pPr>
            <a:r>
              <a:rPr lang="en-US" sz="1000" kern="1200" dirty="0">
                <a:solidFill>
                  <a:srgbClr val="3E3E3E"/>
                </a:solidFill>
                <a:latin typeface="+mn-lt"/>
                <a:ea typeface="Open Sans Light" panose="020B0306030504020204" pitchFamily="34" charset="0"/>
                <a:cs typeface="Open Sans Light" panose="020B0306030504020204" pitchFamily="34" charset="0"/>
              </a:rPr>
              <a:t>Deloitte reserves the right to adjust the engagement team and subject matter experts based on the exact engagement start, planning and the availability of our engagement team members.</a:t>
            </a:r>
          </a:p>
        </p:txBody>
      </p:sp>
      <p:sp>
        <p:nvSpPr>
          <p:cNvPr id="21" name="Rectangle 20">
            <a:extLst>
              <a:ext uri="{FF2B5EF4-FFF2-40B4-BE49-F238E27FC236}">
                <a16:creationId xmlns:a16="http://schemas.microsoft.com/office/drawing/2014/main" id="{A21F4DD0-27CF-2A07-1FAE-F283CE093CF2}"/>
              </a:ext>
            </a:extLst>
          </p:cNvPr>
          <p:cNvSpPr>
            <a:spLocks noChangeArrowheads="1"/>
          </p:cNvSpPr>
          <p:nvPr/>
        </p:nvSpPr>
        <p:spPr bwMode="auto">
          <a:xfrm>
            <a:off x="469900" y="5592253"/>
            <a:ext cx="11194736" cy="221847"/>
          </a:xfrm>
          <a:prstGeom prst="rect">
            <a:avLst/>
          </a:prstGeom>
          <a:solidFill>
            <a:sysClr val="window" lastClr="FFFFFF">
              <a:lumMod val="65000"/>
            </a:sysClr>
          </a:solidFill>
          <a:ln w="12700" algn="ctr">
            <a:noFill/>
            <a:miter lim="800000"/>
            <a:headEnd/>
            <a:tailEnd/>
          </a:ln>
        </p:spPr>
        <p:txBody>
          <a:bodyPr lIns="35727" tIns="35727" rIns="35727" bIns="35727" anchor="ctr"/>
          <a:lstStyle/>
          <a:p>
            <a:pPr marL="0" marR="0" lvl="0" indent="0" algn="ctr" defTabSz="907373" rtl="0" eaLnBrk="1" fontAlgn="auto" latinLnBrk="0" hangingPunct="1">
              <a:lnSpc>
                <a:spcPct val="110000"/>
              </a:lnSpc>
              <a:spcBef>
                <a:spcPts val="0"/>
              </a:spcBef>
              <a:spcAft>
                <a:spcPts val="0"/>
              </a:spcAft>
              <a:buClrTx/>
              <a:buSzTx/>
              <a:buFontTx/>
              <a:buNone/>
              <a:tabLst/>
              <a:defRPr/>
            </a:pPr>
            <a:r>
              <a:rPr kumimoji="0" lang="en-GB" sz="1200" b="0" i="0" u="none" strike="noStrike" kern="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Light"/>
              </a:rPr>
              <a:t>Deloitte Resource Pool</a:t>
            </a:r>
          </a:p>
        </p:txBody>
      </p:sp>
      <p:sp>
        <p:nvSpPr>
          <p:cNvPr id="95" name="Title 1">
            <a:extLst>
              <a:ext uri="{FF2B5EF4-FFF2-40B4-BE49-F238E27FC236}">
                <a16:creationId xmlns:a16="http://schemas.microsoft.com/office/drawing/2014/main" id="{80BBB079-581D-6267-E1AF-A28C9558D6AE}"/>
              </a:ext>
            </a:extLst>
          </p:cNvPr>
          <p:cNvSpPr txBox="1">
            <a:spLocks/>
          </p:cNvSpPr>
          <p:nvPr/>
        </p:nvSpPr>
        <p:spPr>
          <a:xfrm>
            <a:off x="411480" y="402587"/>
            <a:ext cx="11252200" cy="334102"/>
          </a:xfrm>
          <a:prstGeom prst="rect">
            <a:avLst/>
          </a:prstGeom>
        </p:spPr>
        <p:txBody>
          <a:bodyPr vert="horz" wrap="square" lIns="0" tIns="0" rIns="0" bIns="0" rtlCol="0" anchor="t" anchorCtr="0">
            <a:noAutofit/>
          </a:bodyPr>
          <a:lstStyle>
            <a:lvl1pPr>
              <a:defRPr sz="2400" b="0" i="0">
                <a:solidFill>
                  <a:srgbClr val="86BC25"/>
                </a:solidFill>
                <a:latin typeface="Calibri" panose="020F0502020204030204" pitchFamily="34" charset="0"/>
                <a:ea typeface="Verdana" panose="020B0604030504040204" pitchFamily="34" charset="0"/>
                <a:cs typeface="Calibri" panose="020F0502020204030204" pitchFamily="34" charset="0"/>
              </a:defRPr>
            </a:lvl1pPr>
          </a:lstStyle>
          <a:p>
            <a:pPr hangingPunct="1">
              <a:spcBef>
                <a:spcPct val="0"/>
              </a:spcBef>
              <a:defRPr/>
            </a:pPr>
            <a:r>
              <a:rPr lang="en-US" sz="2000" dirty="0">
                <a:solidFill>
                  <a:schemeClr val="tx2">
                    <a:lumMod val="50000"/>
                  </a:schemeClr>
                </a:solidFill>
                <a:latin typeface="+mn-lt"/>
                <a:ea typeface="Open Sans Semibold" panose="020B0706030804020204" pitchFamily="34" charset="0"/>
                <a:cs typeface="Open Sans Semibold" panose="020B0706030804020204" pitchFamily="34" charset="0"/>
              </a:rPr>
              <a:t>Our Team</a:t>
            </a:r>
          </a:p>
        </p:txBody>
      </p:sp>
      <p:sp>
        <p:nvSpPr>
          <p:cNvPr id="2" name="Rectangle 1">
            <a:extLst>
              <a:ext uri="{FF2B5EF4-FFF2-40B4-BE49-F238E27FC236}">
                <a16:creationId xmlns:a16="http://schemas.microsoft.com/office/drawing/2014/main" id="{0186CC89-3549-2116-3703-40F8AC696E92}"/>
              </a:ext>
            </a:extLst>
          </p:cNvPr>
          <p:cNvSpPr/>
          <p:nvPr/>
        </p:nvSpPr>
        <p:spPr bwMode="auto">
          <a:xfrm>
            <a:off x="465452" y="1030375"/>
            <a:ext cx="7493560" cy="1299665"/>
          </a:xfrm>
          <a:prstGeom prst="rect">
            <a:avLst/>
          </a:prstGeom>
          <a:solidFill>
            <a:srgbClr val="86BC25"/>
          </a:solidFill>
          <a:ln w="9525" cap="flat" cmpd="sng" algn="ctr">
            <a:noFill/>
            <a:prstDash val="solid"/>
            <a:round/>
            <a:headEnd type="none" w="med" len="med"/>
            <a:tailEnd type="none" w="med" len="med"/>
          </a:ln>
          <a:effectLst/>
        </p:spPr>
        <p:txBody>
          <a:bodyPr vert="horz" wrap="square" lIns="90966" tIns="45474" rIns="90966" bIns="45474" numCol="1" rtlCol="0" anchor="t" anchorCtr="0" compatLnSpc="1">
            <a:prstTxWarp prst="textNoShape">
              <a:avLst/>
            </a:prstTxWarp>
          </a:bodyPr>
          <a:lstStyle/>
          <a:p>
            <a:pPr marL="0" marR="0" lvl="0" indent="0" algn="ctr" defTabSz="907373" rtl="0" eaLnBrk="1" fontAlgn="auto" latinLnBrk="0" hangingPunct="0">
              <a:lnSpc>
                <a:spcPct val="110000"/>
              </a:lnSpc>
              <a:spcBef>
                <a:spcPts val="0"/>
              </a:spcBef>
              <a:spcAft>
                <a:spcPts val="0"/>
              </a:spcAft>
              <a:buClrTx/>
              <a:buSzTx/>
              <a:buFontTx/>
              <a:buNone/>
              <a:tabLst>
                <a:tab pos="5685252" algn="l"/>
              </a:tabLst>
              <a:defRPr/>
            </a:pPr>
            <a:r>
              <a:rPr kumimoji="0" lang="en-US" sz="1200" b="0" i="0" u="none" strike="noStrike" kern="0" cap="none" spc="0" normalizeH="0" baseline="0" noProof="0" dirty="0">
                <a:ln>
                  <a:noFill/>
                </a:ln>
                <a:solidFill>
                  <a:prstClr val="white"/>
                </a:solidFill>
                <a:effectLst/>
                <a:uLnTx/>
                <a:uFillTx/>
                <a:latin typeface="+mn-lt"/>
                <a:ea typeface="Open Sans Light" panose="020B0306030504020204" pitchFamily="34" charset="0"/>
                <a:cs typeface="Open Sans Light" panose="020B0306030504020204" pitchFamily="34" charset="0"/>
                <a:sym typeface="Open Sans Light"/>
              </a:rPr>
              <a:t>Engagement Leadership</a:t>
            </a:r>
          </a:p>
        </p:txBody>
      </p:sp>
      <p:sp>
        <p:nvSpPr>
          <p:cNvPr id="3" name="Rectangle 2">
            <a:extLst>
              <a:ext uri="{FF2B5EF4-FFF2-40B4-BE49-F238E27FC236}">
                <a16:creationId xmlns:a16="http://schemas.microsoft.com/office/drawing/2014/main" id="{82EEE00A-EDA9-797E-CB82-56978AFDB29B}"/>
              </a:ext>
            </a:extLst>
          </p:cNvPr>
          <p:cNvSpPr/>
          <p:nvPr/>
        </p:nvSpPr>
        <p:spPr bwMode="auto">
          <a:xfrm>
            <a:off x="469900" y="2436148"/>
            <a:ext cx="7484665" cy="1513341"/>
          </a:xfrm>
          <a:prstGeom prst="rect">
            <a:avLst/>
          </a:prstGeom>
          <a:solidFill>
            <a:srgbClr val="046A38"/>
          </a:solidFill>
          <a:ln w="9525" cap="flat" cmpd="sng" algn="ctr">
            <a:noFill/>
            <a:prstDash val="solid"/>
            <a:round/>
            <a:headEnd type="none" w="med" len="med"/>
            <a:tailEnd type="none" w="med" len="med"/>
          </a:ln>
          <a:effectLst/>
        </p:spPr>
        <p:txBody>
          <a:bodyPr vert="horz" wrap="square" lIns="90966" tIns="45474" rIns="90966" bIns="45474" numCol="1" rtlCol="0" anchor="t" anchorCtr="0" compatLnSpc="1">
            <a:prstTxWarp prst="textNoShape">
              <a:avLst/>
            </a:prstTxWarp>
          </a:bodyPr>
          <a:lstStyle/>
          <a:p>
            <a:pPr marL="0" marR="0" lvl="0" indent="0" algn="ctr" defTabSz="907373" rtl="0" eaLnBrk="1" fontAlgn="auto" latinLnBrk="0" hangingPunct="0">
              <a:lnSpc>
                <a:spcPct val="110000"/>
              </a:lnSpc>
              <a:spcBef>
                <a:spcPts val="0"/>
              </a:spcBef>
              <a:spcAft>
                <a:spcPts val="0"/>
              </a:spcAft>
              <a:buClrTx/>
              <a:buSzTx/>
              <a:buFontTx/>
              <a:buNone/>
              <a:tabLst>
                <a:tab pos="5685252" algn="l"/>
              </a:tabLst>
              <a:defRPr/>
            </a:pPr>
            <a:endParaRPr kumimoji="0" lang="en-US" sz="1200" b="0" i="0" u="none" strike="noStrike" kern="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Light"/>
            </a:endParaRPr>
          </a:p>
        </p:txBody>
      </p:sp>
      <p:sp>
        <p:nvSpPr>
          <p:cNvPr id="4" name="TextBox 3">
            <a:extLst>
              <a:ext uri="{FF2B5EF4-FFF2-40B4-BE49-F238E27FC236}">
                <a16:creationId xmlns:a16="http://schemas.microsoft.com/office/drawing/2014/main" id="{3E420BC3-9BD4-CFA4-48D8-D824BC4E479A}"/>
              </a:ext>
            </a:extLst>
          </p:cNvPr>
          <p:cNvSpPr txBox="1"/>
          <p:nvPr/>
        </p:nvSpPr>
        <p:spPr>
          <a:xfrm>
            <a:off x="2365401" y="2600295"/>
            <a:ext cx="3885899" cy="192104"/>
          </a:xfrm>
          <a:prstGeom prst="rect">
            <a:avLst/>
          </a:prstGeom>
          <a:noFill/>
        </p:spPr>
        <p:txBody>
          <a:bodyPr wrap="square" lIns="0" tIns="0" rIns="0" bIns="0" rtlCol="0">
            <a:spAutoFit/>
          </a:bodyPr>
          <a:lstStyle/>
          <a:p>
            <a:pPr marL="0" marR="0" lvl="0" indent="0" algn="ctr" defTabSz="907373" rtl="0" eaLnBrk="1" fontAlgn="auto" latinLnBrk="0" hangingPunct="0">
              <a:lnSpc>
                <a:spcPct val="110000"/>
              </a:lnSpc>
              <a:spcBef>
                <a:spcPts val="0"/>
              </a:spcBef>
              <a:spcAft>
                <a:spcPts val="0"/>
              </a:spcAft>
              <a:buClrTx/>
              <a:buSzTx/>
              <a:buFontTx/>
              <a:buNone/>
              <a:tabLst>
                <a:tab pos="5685252" algn="l"/>
              </a:tabLst>
              <a:defRPr/>
            </a:pPr>
            <a:r>
              <a:rPr kumimoji="0" lang="en-US" sz="1200" i="0" u="none" strike="noStrike" kern="0" cap="none" spc="0" normalizeH="0" baseline="0" noProof="0" dirty="0">
                <a:ln>
                  <a:noFill/>
                </a:ln>
                <a:solidFill>
                  <a:prstClr val="white"/>
                </a:solidFill>
                <a:effectLst/>
                <a:uLnTx/>
                <a:uFillTx/>
                <a:latin typeface="+mn-lt"/>
                <a:ea typeface="Open Sans Light" panose="020B0306030504020204" pitchFamily="34" charset="0"/>
                <a:cs typeface="Open Sans Light" panose="020B0306030504020204" pitchFamily="34" charset="0"/>
                <a:sym typeface="Open Sans Light"/>
              </a:rPr>
              <a:t>Engagement Management and Subject Matter Experts</a:t>
            </a:r>
          </a:p>
        </p:txBody>
      </p:sp>
      <p:sp>
        <p:nvSpPr>
          <p:cNvPr id="5" name="Rectangle 4">
            <a:extLst>
              <a:ext uri="{FF2B5EF4-FFF2-40B4-BE49-F238E27FC236}">
                <a16:creationId xmlns:a16="http://schemas.microsoft.com/office/drawing/2014/main" id="{EA423F95-59DC-7E5B-606F-88B4CC712827}"/>
              </a:ext>
            </a:extLst>
          </p:cNvPr>
          <p:cNvSpPr/>
          <p:nvPr/>
        </p:nvSpPr>
        <p:spPr bwMode="auto">
          <a:xfrm>
            <a:off x="465452" y="4063390"/>
            <a:ext cx="7489112" cy="1390783"/>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0966" tIns="45474" rIns="90966" bIns="45474" numCol="1" rtlCol="0" anchor="t" anchorCtr="0" compatLnSpc="1">
            <a:prstTxWarp prst="textNoShape">
              <a:avLst/>
            </a:prstTxWarp>
          </a:bodyPr>
          <a:lstStyle/>
          <a:p>
            <a:pPr marL="0" marR="0" lvl="0" indent="0" algn="ctr" defTabSz="907373" rtl="0" eaLnBrk="1" fontAlgn="auto" latinLnBrk="0" hangingPunct="1">
              <a:lnSpc>
                <a:spcPct val="110000"/>
              </a:lnSpc>
              <a:spcBef>
                <a:spcPts val="0"/>
              </a:spcBef>
              <a:spcAft>
                <a:spcPts val="0"/>
              </a:spcAft>
              <a:buClrTx/>
              <a:buSzTx/>
              <a:buFontTx/>
              <a:buNone/>
              <a:tabLst>
                <a:tab pos="5685252" algn="l"/>
              </a:tabLst>
              <a:defRPr/>
            </a:pPr>
            <a:r>
              <a:rPr kumimoji="0" lang="en-US" sz="1200" b="0" i="0" u="none" strike="noStrike" kern="0" cap="none" spc="0" normalizeH="0" baseline="0" noProof="0" dirty="0">
                <a:ln>
                  <a:noFill/>
                </a:ln>
                <a:solidFill>
                  <a:prstClr val="white"/>
                </a:solidFill>
                <a:effectLst/>
                <a:uLnTx/>
                <a:uFillTx/>
                <a:latin typeface="+mn-lt"/>
                <a:ea typeface="Open Sans Light" panose="020B0306030504020204" pitchFamily="34" charset="0"/>
                <a:cs typeface="Open Sans Light" panose="020B0306030504020204" pitchFamily="34" charset="0"/>
                <a:sym typeface="Open Sans Light"/>
              </a:rPr>
              <a:t>Core Team</a:t>
            </a:r>
            <a:endParaRPr kumimoji="0" lang="en-US" sz="1200" b="0" i="0" u="none" strike="noStrike" kern="0" cap="none" spc="0" normalizeH="0" baseline="0" noProof="0" dirty="0">
              <a:ln>
                <a:noFill/>
              </a:ln>
              <a:solidFill>
                <a:srgbClr val="046A38"/>
              </a:solidFill>
              <a:effectLst/>
              <a:uLnTx/>
              <a:uFillTx/>
              <a:latin typeface="+mn-lt"/>
              <a:ea typeface="Open Sans Light" panose="020B0306030504020204" pitchFamily="34" charset="0"/>
              <a:cs typeface="Open Sans Light" panose="020B0306030504020204" pitchFamily="34" charset="0"/>
              <a:sym typeface="Open Sans Light"/>
            </a:endParaRPr>
          </a:p>
        </p:txBody>
      </p:sp>
      <p:grpSp>
        <p:nvGrpSpPr>
          <p:cNvPr id="6" name="Group 5">
            <a:extLst>
              <a:ext uri="{FF2B5EF4-FFF2-40B4-BE49-F238E27FC236}">
                <a16:creationId xmlns:a16="http://schemas.microsoft.com/office/drawing/2014/main" id="{7C8AEE7D-9421-650F-17F1-AAF45313EA63}"/>
              </a:ext>
            </a:extLst>
          </p:cNvPr>
          <p:cNvGrpSpPr/>
          <p:nvPr/>
        </p:nvGrpSpPr>
        <p:grpSpPr>
          <a:xfrm>
            <a:off x="1229882" y="1362848"/>
            <a:ext cx="1649699" cy="797523"/>
            <a:chOff x="3115206" y="2779813"/>
            <a:chExt cx="1700784" cy="851042"/>
          </a:xfrm>
        </p:grpSpPr>
        <p:sp>
          <p:nvSpPr>
            <p:cNvPr id="7" name="Rectangle 6">
              <a:extLst>
                <a:ext uri="{FF2B5EF4-FFF2-40B4-BE49-F238E27FC236}">
                  <a16:creationId xmlns:a16="http://schemas.microsoft.com/office/drawing/2014/main" id="{72E7AF71-C733-D0A1-2AC0-FBFEE2D9AA15}"/>
                </a:ext>
              </a:extLst>
            </p:cNvPr>
            <p:cNvSpPr>
              <a:spLocks noChangeArrowheads="1"/>
            </p:cNvSpPr>
            <p:nvPr/>
          </p:nvSpPr>
          <p:spPr bwMode="auto">
            <a:xfrm>
              <a:off x="3115206" y="3054133"/>
              <a:ext cx="1700784" cy="576722"/>
            </a:xfrm>
            <a:prstGeom prst="rect">
              <a:avLst/>
            </a:prstGeom>
            <a:solidFill>
              <a:sysClr val="window" lastClr="FFFFFF">
                <a:lumMod val="95000"/>
              </a:sysClr>
            </a:solidFill>
            <a:ln w="12700" algn="ctr">
              <a:noFill/>
              <a:miter lim="800000"/>
              <a:headEnd/>
              <a:tailEnd/>
            </a:ln>
          </p:spPr>
          <p:txBody>
            <a:bodyPr lIns="35727" tIns="35727" rIns="35727" bIns="35727" anchor="ctr"/>
            <a:lstStyle/>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Nader Farid</a:t>
              </a:r>
            </a:p>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1"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Partner</a:t>
              </a:r>
            </a:p>
          </p:txBody>
        </p:sp>
        <p:sp>
          <p:nvSpPr>
            <p:cNvPr id="9" name="Text Box 10">
              <a:extLst>
                <a:ext uri="{FF2B5EF4-FFF2-40B4-BE49-F238E27FC236}">
                  <a16:creationId xmlns:a16="http://schemas.microsoft.com/office/drawing/2014/main" id="{3FFE57B7-618D-89D2-3BFA-3F549DB9025C}"/>
                </a:ext>
              </a:extLst>
            </p:cNvPr>
            <p:cNvSpPr txBox="1">
              <a:spLocks noChangeArrowheads="1"/>
            </p:cNvSpPr>
            <p:nvPr/>
          </p:nvSpPr>
          <p:spPr bwMode="auto">
            <a:xfrm>
              <a:off x="3115206" y="2779813"/>
              <a:ext cx="1700784" cy="274320"/>
            </a:xfrm>
            <a:prstGeom prst="rect">
              <a:avLst/>
            </a:prstGeom>
            <a:solidFill>
              <a:sysClr val="windowText" lastClr="000000"/>
            </a:solidFill>
            <a:ln w="12700" algn="ctr">
              <a:noFill/>
              <a:miter lim="800000"/>
              <a:headEnd/>
              <a:tailEnd type="none" w="sm" len="med"/>
            </a:ln>
          </p:spPr>
          <p:txBody>
            <a:bodyPr lIns="35727" tIns="35727" rIns="35727" bIns="35727" anchor="ctr" anchorCtr="1"/>
            <a:lstStyle/>
            <a:p>
              <a:pPr marL="0" marR="0" lvl="0" indent="0" algn="ctr" defTabSz="949615" rtl="0" eaLnBrk="1" fontAlgn="auto" latinLnBrk="0" hangingPunct="0">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sym typeface="Open Sans Light"/>
                </a:rPr>
                <a:t>Quality Assurance Partner </a:t>
              </a:r>
            </a:p>
          </p:txBody>
        </p:sp>
      </p:grpSp>
      <p:grpSp>
        <p:nvGrpSpPr>
          <p:cNvPr id="10" name="Group 9">
            <a:extLst>
              <a:ext uri="{FF2B5EF4-FFF2-40B4-BE49-F238E27FC236}">
                <a16:creationId xmlns:a16="http://schemas.microsoft.com/office/drawing/2014/main" id="{061EA202-7CF9-AD6B-1350-DFB24A49EDDA}"/>
              </a:ext>
            </a:extLst>
          </p:cNvPr>
          <p:cNvGrpSpPr/>
          <p:nvPr/>
        </p:nvGrpSpPr>
        <p:grpSpPr>
          <a:xfrm>
            <a:off x="3603091" y="1362848"/>
            <a:ext cx="1649699" cy="797523"/>
            <a:chOff x="3115206" y="2779813"/>
            <a:chExt cx="1700784" cy="851042"/>
          </a:xfrm>
        </p:grpSpPr>
        <p:sp>
          <p:nvSpPr>
            <p:cNvPr id="11" name="Rectangle 10">
              <a:extLst>
                <a:ext uri="{FF2B5EF4-FFF2-40B4-BE49-F238E27FC236}">
                  <a16:creationId xmlns:a16="http://schemas.microsoft.com/office/drawing/2014/main" id="{BA60AC73-737A-DC4C-009A-14B8F0831810}"/>
                </a:ext>
              </a:extLst>
            </p:cNvPr>
            <p:cNvSpPr>
              <a:spLocks noChangeArrowheads="1"/>
            </p:cNvSpPr>
            <p:nvPr/>
          </p:nvSpPr>
          <p:spPr bwMode="auto">
            <a:xfrm>
              <a:off x="3115206" y="3054133"/>
              <a:ext cx="1700784" cy="576722"/>
            </a:xfrm>
            <a:prstGeom prst="rect">
              <a:avLst/>
            </a:prstGeom>
            <a:solidFill>
              <a:sysClr val="window" lastClr="FFFFFF">
                <a:lumMod val="95000"/>
              </a:sysClr>
            </a:solidFill>
            <a:ln w="12700" algn="ctr">
              <a:noFill/>
              <a:miter lim="800000"/>
              <a:headEnd/>
              <a:tailEnd/>
            </a:ln>
          </p:spPr>
          <p:txBody>
            <a:bodyPr lIns="35727" tIns="35727" rIns="35727" bIns="35727" anchor="ctr"/>
            <a:lstStyle/>
            <a:p>
              <a:pPr algn="ctr" defTabSz="907373">
                <a:lnSpc>
                  <a:spcPct val="110000"/>
                </a:lnSpc>
                <a:defRPr/>
              </a:pPr>
              <a:r>
                <a:rPr kumimoji="0" lang="en-GB" sz="1000" b="0"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Tariq Ajmal</a:t>
              </a:r>
            </a:p>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1"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Partner</a:t>
              </a:r>
            </a:p>
          </p:txBody>
        </p:sp>
        <p:sp>
          <p:nvSpPr>
            <p:cNvPr id="12" name="Text Box 10">
              <a:extLst>
                <a:ext uri="{FF2B5EF4-FFF2-40B4-BE49-F238E27FC236}">
                  <a16:creationId xmlns:a16="http://schemas.microsoft.com/office/drawing/2014/main" id="{81F32A41-5993-074D-87B2-41DE2F03C677}"/>
                </a:ext>
              </a:extLst>
            </p:cNvPr>
            <p:cNvSpPr txBox="1">
              <a:spLocks noChangeArrowheads="1"/>
            </p:cNvSpPr>
            <p:nvPr/>
          </p:nvSpPr>
          <p:spPr bwMode="auto">
            <a:xfrm>
              <a:off x="3115206" y="2779813"/>
              <a:ext cx="1700784" cy="274320"/>
            </a:xfrm>
            <a:prstGeom prst="rect">
              <a:avLst/>
            </a:prstGeom>
            <a:solidFill>
              <a:sysClr val="windowText" lastClr="000000"/>
            </a:solidFill>
            <a:ln w="12700" algn="ctr">
              <a:noFill/>
              <a:miter lim="800000"/>
              <a:headEnd/>
              <a:tailEnd type="none" w="sm" len="med"/>
            </a:ln>
          </p:spPr>
          <p:txBody>
            <a:bodyPr lIns="35727" tIns="35727" rIns="35727" bIns="35727" anchor="ctr" anchorCtr="1"/>
            <a:lstStyle/>
            <a:p>
              <a:pPr marL="0" marR="0" lvl="0" indent="0" algn="ctr" defTabSz="949615" rtl="0" eaLnBrk="1" fontAlgn="auto" latinLnBrk="0" hangingPunct="0">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sym typeface="Open Sans Light"/>
                </a:rPr>
                <a:t>Engagement Partner </a:t>
              </a:r>
            </a:p>
          </p:txBody>
        </p:sp>
      </p:grpSp>
      <p:grpSp>
        <p:nvGrpSpPr>
          <p:cNvPr id="13" name="Group 12">
            <a:extLst>
              <a:ext uri="{FF2B5EF4-FFF2-40B4-BE49-F238E27FC236}">
                <a16:creationId xmlns:a16="http://schemas.microsoft.com/office/drawing/2014/main" id="{D020EEFA-F20E-1E5F-A823-E61CD3275E43}"/>
              </a:ext>
            </a:extLst>
          </p:cNvPr>
          <p:cNvGrpSpPr/>
          <p:nvPr/>
        </p:nvGrpSpPr>
        <p:grpSpPr>
          <a:xfrm>
            <a:off x="6024218" y="1362847"/>
            <a:ext cx="1649699" cy="797524"/>
            <a:chOff x="3115206" y="2779812"/>
            <a:chExt cx="1700784" cy="851043"/>
          </a:xfrm>
        </p:grpSpPr>
        <p:sp>
          <p:nvSpPr>
            <p:cNvPr id="14" name="Rectangle 13">
              <a:extLst>
                <a:ext uri="{FF2B5EF4-FFF2-40B4-BE49-F238E27FC236}">
                  <a16:creationId xmlns:a16="http://schemas.microsoft.com/office/drawing/2014/main" id="{B529CE63-8E98-7025-A2BE-E6E3FD37BB97}"/>
                </a:ext>
              </a:extLst>
            </p:cNvPr>
            <p:cNvSpPr>
              <a:spLocks noChangeArrowheads="1"/>
            </p:cNvSpPr>
            <p:nvPr/>
          </p:nvSpPr>
          <p:spPr bwMode="auto">
            <a:xfrm>
              <a:off x="3115206" y="3054133"/>
              <a:ext cx="1700784" cy="576722"/>
            </a:xfrm>
            <a:prstGeom prst="rect">
              <a:avLst/>
            </a:prstGeom>
            <a:solidFill>
              <a:sysClr val="window" lastClr="FFFFFF">
                <a:lumMod val="95000"/>
              </a:sysClr>
            </a:solidFill>
            <a:ln w="12700" algn="ctr">
              <a:noFill/>
              <a:miter lim="800000"/>
              <a:headEnd/>
              <a:tailEnd/>
            </a:ln>
          </p:spPr>
          <p:txBody>
            <a:bodyPr lIns="35727" tIns="35727" rIns="35727" bIns="35727" anchor="ctr"/>
            <a:lstStyle/>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Maarten Smulders</a:t>
              </a:r>
            </a:p>
            <a:p>
              <a:pPr marL="0" marR="0" lvl="0" indent="0" algn="ctr" defTabSz="907373" rtl="0" eaLnBrk="1" fontAlgn="auto" latinLnBrk="0" hangingPunct="0">
                <a:lnSpc>
                  <a:spcPct val="110000"/>
                </a:lnSpc>
                <a:spcBef>
                  <a:spcPts val="0"/>
                </a:spcBef>
                <a:spcAft>
                  <a:spcPts val="0"/>
                </a:spcAft>
                <a:buClrTx/>
                <a:buSzTx/>
                <a:buFontTx/>
                <a:buNone/>
                <a:tabLst/>
                <a:defRPr/>
              </a:pPr>
              <a:r>
                <a:rPr lang="en-GB" sz="1000" b="1" dirty="0">
                  <a:solidFill>
                    <a:prstClr val="black"/>
                  </a:solidFill>
                  <a:latin typeface="+mn-lt"/>
                  <a:ea typeface="Open Sans Light" panose="020B0306030504020204" pitchFamily="34" charset="0"/>
                  <a:cs typeface="Open Sans Light" panose="020B0306030504020204" pitchFamily="34" charset="0"/>
                </a:rPr>
                <a:t>Director</a:t>
              </a:r>
              <a:endParaRPr kumimoji="0" lang="en-GB" sz="1000" b="1"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endParaRPr>
            </a:p>
          </p:txBody>
        </p:sp>
        <p:sp>
          <p:nvSpPr>
            <p:cNvPr id="15" name="Text Box 10">
              <a:extLst>
                <a:ext uri="{FF2B5EF4-FFF2-40B4-BE49-F238E27FC236}">
                  <a16:creationId xmlns:a16="http://schemas.microsoft.com/office/drawing/2014/main" id="{EFDD8109-4186-B7DF-EA8C-291604414DAE}"/>
                </a:ext>
              </a:extLst>
            </p:cNvPr>
            <p:cNvSpPr txBox="1">
              <a:spLocks noChangeArrowheads="1"/>
            </p:cNvSpPr>
            <p:nvPr/>
          </p:nvSpPr>
          <p:spPr bwMode="auto">
            <a:xfrm>
              <a:off x="3115206" y="2779812"/>
              <a:ext cx="1700784" cy="274320"/>
            </a:xfrm>
            <a:prstGeom prst="rect">
              <a:avLst/>
            </a:prstGeom>
            <a:solidFill>
              <a:sysClr val="windowText" lastClr="000000"/>
            </a:solidFill>
            <a:ln w="12700" algn="ctr">
              <a:noFill/>
              <a:miter lim="800000"/>
              <a:headEnd/>
              <a:tailEnd type="none" w="sm" len="med"/>
            </a:ln>
          </p:spPr>
          <p:txBody>
            <a:bodyPr lIns="35727" tIns="35727" rIns="35727" bIns="35727" anchor="ctr" anchorCtr="1"/>
            <a:lstStyle/>
            <a:p>
              <a:pPr marL="0" marR="0" lvl="0" indent="0" algn="ctr" defTabSz="949615" rtl="0" eaLnBrk="1" fontAlgn="auto" latinLnBrk="0" hangingPunct="0">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sym typeface="Open Sans Light"/>
                </a:rPr>
                <a:t>Engagement Leader</a:t>
              </a:r>
            </a:p>
          </p:txBody>
        </p:sp>
      </p:grpSp>
      <p:grpSp>
        <p:nvGrpSpPr>
          <p:cNvPr id="16" name="Group 15">
            <a:extLst>
              <a:ext uri="{FF2B5EF4-FFF2-40B4-BE49-F238E27FC236}">
                <a16:creationId xmlns:a16="http://schemas.microsoft.com/office/drawing/2014/main" id="{5B9A76FA-EF32-6D35-476E-73349740AD97}"/>
              </a:ext>
            </a:extLst>
          </p:cNvPr>
          <p:cNvGrpSpPr/>
          <p:nvPr/>
        </p:nvGrpSpPr>
        <p:grpSpPr>
          <a:xfrm>
            <a:off x="1229882" y="2918046"/>
            <a:ext cx="1649699" cy="797523"/>
            <a:chOff x="3115206" y="2779813"/>
            <a:chExt cx="1700784" cy="851042"/>
          </a:xfrm>
        </p:grpSpPr>
        <p:sp>
          <p:nvSpPr>
            <p:cNvPr id="17" name="Rectangle 16">
              <a:extLst>
                <a:ext uri="{FF2B5EF4-FFF2-40B4-BE49-F238E27FC236}">
                  <a16:creationId xmlns:a16="http://schemas.microsoft.com/office/drawing/2014/main" id="{8F799A5F-3EBF-2701-F716-6E4386EB2828}"/>
                </a:ext>
              </a:extLst>
            </p:cNvPr>
            <p:cNvSpPr>
              <a:spLocks noChangeArrowheads="1"/>
            </p:cNvSpPr>
            <p:nvPr/>
          </p:nvSpPr>
          <p:spPr bwMode="auto">
            <a:xfrm>
              <a:off x="3115206" y="3054133"/>
              <a:ext cx="1700784" cy="576722"/>
            </a:xfrm>
            <a:prstGeom prst="rect">
              <a:avLst/>
            </a:prstGeom>
            <a:solidFill>
              <a:sysClr val="window" lastClr="FFFFFF">
                <a:lumMod val="95000"/>
              </a:sysClr>
            </a:solidFill>
            <a:ln w="12700" algn="ctr">
              <a:noFill/>
              <a:miter lim="800000"/>
              <a:headEnd/>
              <a:tailEnd/>
            </a:ln>
          </p:spPr>
          <p:txBody>
            <a:bodyPr lIns="35727" tIns="35727" rIns="35727" bIns="35727" anchor="ctr"/>
            <a:lstStyle/>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Arsalan Yousuf</a:t>
              </a:r>
            </a:p>
            <a:p>
              <a:pPr marL="0" marR="0" lvl="0" indent="0" algn="ctr" defTabSz="907373" rtl="0" eaLnBrk="1" fontAlgn="auto" latinLnBrk="0" hangingPunct="0">
                <a:lnSpc>
                  <a:spcPct val="110000"/>
                </a:lnSpc>
                <a:spcBef>
                  <a:spcPts val="0"/>
                </a:spcBef>
                <a:spcAft>
                  <a:spcPts val="0"/>
                </a:spcAft>
                <a:buClrTx/>
                <a:buSzTx/>
                <a:buFontTx/>
                <a:buNone/>
                <a:tabLst/>
                <a:defRPr/>
              </a:pPr>
              <a:r>
                <a:rPr lang="en-GB" sz="1000" b="1" dirty="0">
                  <a:solidFill>
                    <a:prstClr val="black"/>
                  </a:solidFill>
                  <a:latin typeface="+mn-lt"/>
                  <a:ea typeface="Open Sans Light" panose="020B0306030504020204" pitchFamily="34" charset="0"/>
                  <a:cs typeface="Open Sans Light" panose="020B0306030504020204" pitchFamily="34" charset="0"/>
                </a:rPr>
                <a:t>Director</a:t>
              </a:r>
              <a:endParaRPr kumimoji="0" lang="en-GB" sz="1000" b="1"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endParaRPr>
            </a:p>
          </p:txBody>
        </p:sp>
        <p:sp>
          <p:nvSpPr>
            <p:cNvPr id="28" name="Text Box 10">
              <a:extLst>
                <a:ext uri="{FF2B5EF4-FFF2-40B4-BE49-F238E27FC236}">
                  <a16:creationId xmlns:a16="http://schemas.microsoft.com/office/drawing/2014/main" id="{B409E8C4-E698-2CC1-71BF-14D593D63355}"/>
                </a:ext>
              </a:extLst>
            </p:cNvPr>
            <p:cNvSpPr txBox="1">
              <a:spLocks noChangeArrowheads="1"/>
            </p:cNvSpPr>
            <p:nvPr/>
          </p:nvSpPr>
          <p:spPr bwMode="auto">
            <a:xfrm>
              <a:off x="3115206" y="2779813"/>
              <a:ext cx="1700784" cy="274320"/>
            </a:xfrm>
            <a:prstGeom prst="rect">
              <a:avLst/>
            </a:prstGeom>
            <a:solidFill>
              <a:sysClr val="windowText" lastClr="000000"/>
            </a:solidFill>
            <a:ln w="12700" algn="ctr">
              <a:noFill/>
              <a:miter lim="800000"/>
              <a:headEnd/>
              <a:tailEnd type="none" w="sm" len="med"/>
            </a:ln>
          </p:spPr>
          <p:txBody>
            <a:bodyPr lIns="35727" tIns="35727" rIns="35727" bIns="35727" anchor="ctr" anchorCtr="1"/>
            <a:lstStyle/>
            <a:p>
              <a:pPr marL="0" marR="0" lvl="0" indent="0" algn="ctr" defTabSz="949615" rtl="0" eaLnBrk="1" fontAlgn="auto" latinLnBrk="0" hangingPunct="0">
                <a:lnSpc>
                  <a:spcPct val="11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mn-lt"/>
                  <a:ea typeface="Open Sans Light" panose="020B0306030504020204" pitchFamily="34" charset="0"/>
                  <a:cs typeface="Open Sans Light" panose="020B0306030504020204" pitchFamily="34" charset="0"/>
                  <a:sym typeface="Open Sans Light"/>
                </a:rPr>
                <a:t>Subject Matter Expert</a:t>
              </a:r>
            </a:p>
          </p:txBody>
        </p:sp>
      </p:grpSp>
      <p:grpSp>
        <p:nvGrpSpPr>
          <p:cNvPr id="29" name="Group 28">
            <a:extLst>
              <a:ext uri="{FF2B5EF4-FFF2-40B4-BE49-F238E27FC236}">
                <a16:creationId xmlns:a16="http://schemas.microsoft.com/office/drawing/2014/main" id="{3EDC19A2-ECD2-6BFD-4CA5-EB1CABBC0487}"/>
              </a:ext>
            </a:extLst>
          </p:cNvPr>
          <p:cNvGrpSpPr/>
          <p:nvPr/>
        </p:nvGrpSpPr>
        <p:grpSpPr>
          <a:xfrm>
            <a:off x="6012982" y="2904420"/>
            <a:ext cx="1649699" cy="797524"/>
            <a:chOff x="3115206" y="2779812"/>
            <a:chExt cx="1700784" cy="851043"/>
          </a:xfrm>
        </p:grpSpPr>
        <p:sp>
          <p:nvSpPr>
            <p:cNvPr id="30" name="Rectangle 29">
              <a:extLst>
                <a:ext uri="{FF2B5EF4-FFF2-40B4-BE49-F238E27FC236}">
                  <a16:creationId xmlns:a16="http://schemas.microsoft.com/office/drawing/2014/main" id="{E5B46474-293A-9910-D959-27F8ED86E245}"/>
                </a:ext>
              </a:extLst>
            </p:cNvPr>
            <p:cNvSpPr>
              <a:spLocks noChangeArrowheads="1"/>
            </p:cNvSpPr>
            <p:nvPr/>
          </p:nvSpPr>
          <p:spPr bwMode="auto">
            <a:xfrm>
              <a:off x="3115206" y="3054133"/>
              <a:ext cx="1700784" cy="576722"/>
            </a:xfrm>
            <a:prstGeom prst="rect">
              <a:avLst/>
            </a:prstGeom>
            <a:solidFill>
              <a:sysClr val="window" lastClr="FFFFFF">
                <a:lumMod val="95000"/>
              </a:sysClr>
            </a:solidFill>
            <a:ln w="12700" algn="ctr">
              <a:noFill/>
              <a:miter lim="800000"/>
              <a:headEnd/>
              <a:tailEnd/>
            </a:ln>
          </p:spPr>
          <p:txBody>
            <a:bodyPr lIns="35727" tIns="35727" rIns="35727" bIns="35727" anchor="ctr"/>
            <a:lstStyle/>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Syed Waqi Hasan</a:t>
              </a:r>
            </a:p>
            <a:p>
              <a:pPr marL="0" marR="0" lvl="0" indent="0" algn="ctr" defTabSz="907373" rtl="0" eaLnBrk="1" fontAlgn="auto" latinLnBrk="0" hangingPunct="0">
                <a:lnSpc>
                  <a:spcPct val="110000"/>
                </a:lnSpc>
                <a:spcBef>
                  <a:spcPts val="0"/>
                </a:spcBef>
                <a:spcAft>
                  <a:spcPts val="0"/>
                </a:spcAft>
                <a:buClrTx/>
                <a:buSzTx/>
                <a:buFontTx/>
                <a:buNone/>
                <a:tabLst/>
                <a:defRPr/>
              </a:pPr>
              <a:r>
                <a:rPr lang="en-GB" sz="1000" b="1" dirty="0">
                  <a:solidFill>
                    <a:prstClr val="black"/>
                  </a:solidFill>
                  <a:latin typeface="+mn-lt"/>
                  <a:ea typeface="Open Sans Light" panose="020B0306030504020204" pitchFamily="34" charset="0"/>
                  <a:cs typeface="Open Sans Light" panose="020B0306030504020204" pitchFamily="34" charset="0"/>
                </a:rPr>
                <a:t>Senior</a:t>
              </a:r>
              <a:r>
                <a:rPr kumimoji="0" lang="en-GB" sz="1000" b="1"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 Manager</a:t>
              </a:r>
            </a:p>
          </p:txBody>
        </p:sp>
        <p:sp>
          <p:nvSpPr>
            <p:cNvPr id="31" name="Text Box 10">
              <a:extLst>
                <a:ext uri="{FF2B5EF4-FFF2-40B4-BE49-F238E27FC236}">
                  <a16:creationId xmlns:a16="http://schemas.microsoft.com/office/drawing/2014/main" id="{F0045A3C-9F3D-3664-4381-DDCE69406E3B}"/>
                </a:ext>
              </a:extLst>
            </p:cNvPr>
            <p:cNvSpPr txBox="1">
              <a:spLocks noChangeArrowheads="1"/>
            </p:cNvSpPr>
            <p:nvPr/>
          </p:nvSpPr>
          <p:spPr bwMode="auto">
            <a:xfrm>
              <a:off x="3115206" y="2779812"/>
              <a:ext cx="1700784" cy="274320"/>
            </a:xfrm>
            <a:prstGeom prst="rect">
              <a:avLst/>
            </a:prstGeom>
            <a:solidFill>
              <a:sysClr val="windowText" lastClr="000000"/>
            </a:solidFill>
            <a:ln w="12700" algn="ctr">
              <a:noFill/>
              <a:miter lim="800000"/>
              <a:headEnd/>
              <a:tailEnd type="none" w="sm" len="med"/>
            </a:ln>
          </p:spPr>
          <p:txBody>
            <a:bodyPr lIns="35727" tIns="35727" rIns="35727" bIns="35727" anchor="ctr" anchorCtr="1"/>
            <a:lstStyle/>
            <a:p>
              <a:pPr marL="0" marR="0" lvl="0" indent="0" algn="ctr" defTabSz="949615" rtl="0" eaLnBrk="1" fontAlgn="auto" latinLnBrk="0" hangingPunct="0">
                <a:lnSpc>
                  <a:spcPct val="11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mn-lt"/>
                  <a:ea typeface="Open Sans Light" panose="020B0306030504020204" pitchFamily="34" charset="0"/>
                  <a:cs typeface="Open Sans Light" panose="020B0306030504020204" pitchFamily="34" charset="0"/>
                  <a:sym typeface="Open Sans Light"/>
                </a:rPr>
                <a:t>Subject Matter Expert</a:t>
              </a:r>
            </a:p>
          </p:txBody>
        </p:sp>
      </p:grpSp>
      <p:grpSp>
        <p:nvGrpSpPr>
          <p:cNvPr id="32" name="Group 31">
            <a:extLst>
              <a:ext uri="{FF2B5EF4-FFF2-40B4-BE49-F238E27FC236}">
                <a16:creationId xmlns:a16="http://schemas.microsoft.com/office/drawing/2014/main" id="{1C0F51EB-0855-625A-1E92-26EF071A533C}"/>
              </a:ext>
            </a:extLst>
          </p:cNvPr>
          <p:cNvGrpSpPr/>
          <p:nvPr/>
        </p:nvGrpSpPr>
        <p:grpSpPr>
          <a:xfrm>
            <a:off x="3621432" y="2918515"/>
            <a:ext cx="1649699" cy="797523"/>
            <a:chOff x="3115206" y="2779813"/>
            <a:chExt cx="1700784" cy="851042"/>
          </a:xfrm>
        </p:grpSpPr>
        <p:sp>
          <p:nvSpPr>
            <p:cNvPr id="33" name="Rectangle 32">
              <a:extLst>
                <a:ext uri="{FF2B5EF4-FFF2-40B4-BE49-F238E27FC236}">
                  <a16:creationId xmlns:a16="http://schemas.microsoft.com/office/drawing/2014/main" id="{A354F5B9-B7B0-045C-6B3E-AE76FD90B5D5}"/>
                </a:ext>
              </a:extLst>
            </p:cNvPr>
            <p:cNvSpPr>
              <a:spLocks noChangeArrowheads="1"/>
            </p:cNvSpPr>
            <p:nvPr/>
          </p:nvSpPr>
          <p:spPr bwMode="auto">
            <a:xfrm>
              <a:off x="3115206" y="3054133"/>
              <a:ext cx="1700784" cy="576722"/>
            </a:xfrm>
            <a:prstGeom prst="rect">
              <a:avLst/>
            </a:prstGeom>
            <a:solidFill>
              <a:sysClr val="window" lastClr="FFFFFF">
                <a:lumMod val="95000"/>
              </a:sysClr>
            </a:solidFill>
            <a:ln w="12700" algn="ctr">
              <a:noFill/>
              <a:miter lim="800000"/>
              <a:headEnd/>
              <a:tailEnd/>
            </a:ln>
          </p:spPr>
          <p:txBody>
            <a:bodyPr lIns="35727" tIns="35727" rIns="35727" bIns="35727" anchor="ctr"/>
            <a:lstStyle/>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Esam Shana’a</a:t>
              </a:r>
            </a:p>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1"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Senior Manager</a:t>
              </a:r>
            </a:p>
          </p:txBody>
        </p:sp>
        <p:sp>
          <p:nvSpPr>
            <p:cNvPr id="34" name="Text Box 10">
              <a:extLst>
                <a:ext uri="{FF2B5EF4-FFF2-40B4-BE49-F238E27FC236}">
                  <a16:creationId xmlns:a16="http://schemas.microsoft.com/office/drawing/2014/main" id="{FC89CED5-8A4E-CCAE-379D-45400CBCFD59}"/>
                </a:ext>
              </a:extLst>
            </p:cNvPr>
            <p:cNvSpPr txBox="1">
              <a:spLocks noChangeArrowheads="1"/>
            </p:cNvSpPr>
            <p:nvPr/>
          </p:nvSpPr>
          <p:spPr bwMode="auto">
            <a:xfrm>
              <a:off x="3115206" y="2779813"/>
              <a:ext cx="1700784" cy="274320"/>
            </a:xfrm>
            <a:prstGeom prst="rect">
              <a:avLst/>
            </a:prstGeom>
            <a:solidFill>
              <a:sysClr val="windowText" lastClr="000000"/>
            </a:solidFill>
            <a:ln w="12700" algn="ctr">
              <a:noFill/>
              <a:miter lim="800000"/>
              <a:headEnd/>
              <a:tailEnd type="none" w="sm" len="med"/>
            </a:ln>
          </p:spPr>
          <p:txBody>
            <a:bodyPr lIns="35727" tIns="35727" rIns="35727" bIns="35727" anchor="ctr" anchorCtr="1"/>
            <a:lstStyle/>
            <a:p>
              <a:pPr marL="0" marR="0" lvl="0" indent="0" algn="ctr" defTabSz="949615" rtl="0" eaLnBrk="1" fontAlgn="auto" latinLnBrk="0" hangingPunct="0">
                <a:lnSpc>
                  <a:spcPct val="11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mn-lt"/>
                  <a:ea typeface="Open Sans Light" panose="020B0306030504020204" pitchFamily="34" charset="0"/>
                  <a:cs typeface="Open Sans Light" panose="020B0306030504020204" pitchFamily="34" charset="0"/>
                  <a:sym typeface="Open Sans Light"/>
                </a:rPr>
                <a:t>Engagement Manager</a:t>
              </a:r>
            </a:p>
          </p:txBody>
        </p:sp>
      </p:grpSp>
      <p:sp>
        <p:nvSpPr>
          <p:cNvPr id="35" name="Rectangle 34">
            <a:extLst>
              <a:ext uri="{FF2B5EF4-FFF2-40B4-BE49-F238E27FC236}">
                <a16:creationId xmlns:a16="http://schemas.microsoft.com/office/drawing/2014/main" id="{D295258C-EBB7-C8DD-34E0-C4FE85183E4F}"/>
              </a:ext>
            </a:extLst>
          </p:cNvPr>
          <p:cNvSpPr>
            <a:spLocks noChangeArrowheads="1"/>
          </p:cNvSpPr>
          <p:nvPr/>
        </p:nvSpPr>
        <p:spPr bwMode="auto">
          <a:xfrm>
            <a:off x="1580875" y="4612321"/>
            <a:ext cx="1649699" cy="540454"/>
          </a:xfrm>
          <a:prstGeom prst="rect">
            <a:avLst/>
          </a:prstGeom>
          <a:solidFill>
            <a:sysClr val="window" lastClr="FFFFFF">
              <a:lumMod val="95000"/>
            </a:sysClr>
          </a:solidFill>
          <a:ln w="12700" algn="ctr">
            <a:noFill/>
            <a:miter lim="800000"/>
            <a:headEnd/>
            <a:tailEnd/>
          </a:ln>
        </p:spPr>
        <p:txBody>
          <a:bodyPr lIns="35727" tIns="35727" rIns="35727" bIns="35727" anchor="ctr"/>
          <a:lstStyle/>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Varsha Sastry</a:t>
            </a:r>
          </a:p>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1"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Senior Consultant</a:t>
            </a:r>
          </a:p>
        </p:txBody>
      </p:sp>
      <p:sp>
        <p:nvSpPr>
          <p:cNvPr id="36" name="Rectangle 35">
            <a:extLst>
              <a:ext uri="{FF2B5EF4-FFF2-40B4-BE49-F238E27FC236}">
                <a16:creationId xmlns:a16="http://schemas.microsoft.com/office/drawing/2014/main" id="{5BC212CA-9E53-CFC3-03D2-47132EC52B9E}"/>
              </a:ext>
            </a:extLst>
          </p:cNvPr>
          <p:cNvSpPr>
            <a:spLocks noChangeArrowheads="1"/>
          </p:cNvSpPr>
          <p:nvPr/>
        </p:nvSpPr>
        <p:spPr bwMode="auto">
          <a:xfrm>
            <a:off x="3621432" y="4612321"/>
            <a:ext cx="1649699" cy="540454"/>
          </a:xfrm>
          <a:prstGeom prst="rect">
            <a:avLst/>
          </a:prstGeom>
          <a:solidFill>
            <a:sysClr val="window" lastClr="FFFFFF">
              <a:lumMod val="95000"/>
            </a:sysClr>
          </a:solidFill>
          <a:ln w="12700" algn="ctr">
            <a:noFill/>
            <a:miter lim="800000"/>
            <a:headEnd/>
            <a:tailEnd/>
          </a:ln>
        </p:spPr>
        <p:txBody>
          <a:bodyPr lIns="35727" tIns="35727" rIns="35727" bIns="35727" anchor="ctr"/>
          <a:lstStyle/>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Abdulrahman Almasri</a:t>
            </a:r>
          </a:p>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1"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Consultant</a:t>
            </a:r>
          </a:p>
        </p:txBody>
      </p:sp>
      <p:sp>
        <p:nvSpPr>
          <p:cNvPr id="37" name="Rectangle 36">
            <a:extLst>
              <a:ext uri="{FF2B5EF4-FFF2-40B4-BE49-F238E27FC236}">
                <a16:creationId xmlns:a16="http://schemas.microsoft.com/office/drawing/2014/main" id="{7D638E0C-0F5E-E18A-1DE7-9DE5E84A20E2}"/>
              </a:ext>
            </a:extLst>
          </p:cNvPr>
          <p:cNvSpPr>
            <a:spLocks noChangeArrowheads="1"/>
          </p:cNvSpPr>
          <p:nvPr/>
        </p:nvSpPr>
        <p:spPr bwMode="auto">
          <a:xfrm>
            <a:off x="5612804" y="4612321"/>
            <a:ext cx="1649699" cy="540454"/>
          </a:xfrm>
          <a:prstGeom prst="rect">
            <a:avLst/>
          </a:prstGeom>
          <a:solidFill>
            <a:sysClr val="window" lastClr="FFFFFF">
              <a:lumMod val="95000"/>
            </a:sysClr>
          </a:solidFill>
          <a:ln w="12700" algn="ctr">
            <a:noFill/>
            <a:miter lim="800000"/>
            <a:headEnd/>
            <a:tailEnd/>
          </a:ln>
        </p:spPr>
        <p:txBody>
          <a:bodyPr lIns="35727" tIns="35727" rIns="35727" bIns="35727" anchor="ctr"/>
          <a:lstStyle/>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Ibrahim Almoudaifer</a:t>
            </a:r>
          </a:p>
          <a:p>
            <a:pPr marL="0" marR="0" lvl="0" indent="0" algn="ctr" defTabSz="907373" rtl="0" eaLnBrk="1" fontAlgn="auto" latinLnBrk="0" hangingPunct="0">
              <a:lnSpc>
                <a:spcPct val="110000"/>
              </a:lnSpc>
              <a:spcBef>
                <a:spcPts val="0"/>
              </a:spcBef>
              <a:spcAft>
                <a:spcPts val="0"/>
              </a:spcAft>
              <a:buClrTx/>
              <a:buSzTx/>
              <a:buFontTx/>
              <a:buNone/>
              <a:tabLst/>
              <a:defRPr/>
            </a:pPr>
            <a:r>
              <a:rPr kumimoji="0" lang="en-GB" sz="1000" b="1" i="0" u="none" strike="noStrike" kern="0" cap="none" spc="0" normalizeH="0" baseline="0" noProof="0" dirty="0">
                <a:ln>
                  <a:noFill/>
                </a:ln>
                <a:solidFill>
                  <a:prstClr val="black"/>
                </a:solidFill>
                <a:effectLst/>
                <a:uLnTx/>
                <a:uFillTx/>
                <a:latin typeface="+mn-lt"/>
                <a:ea typeface="Open Sans Light" panose="020B0306030504020204" pitchFamily="34" charset="0"/>
                <a:cs typeface="Open Sans Light" panose="020B0306030504020204" pitchFamily="34" charset="0"/>
                <a:sym typeface="Open Sans Light"/>
              </a:rPr>
              <a:t>Business Analyst</a:t>
            </a:r>
          </a:p>
        </p:txBody>
      </p:sp>
    </p:spTree>
    <p:extLst>
      <p:ext uri="{BB962C8B-B14F-4D97-AF65-F5344CB8AC3E}">
        <p14:creationId xmlns:p14="http://schemas.microsoft.com/office/powerpoint/2010/main" val="2346159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1EA430C-EA4A-66DD-C695-1D0351E4E537}"/>
              </a:ext>
            </a:extLst>
          </p:cNvPr>
          <p:cNvSpPr/>
          <p:nvPr/>
        </p:nvSpPr>
        <p:spPr bwMode="gray">
          <a:xfrm>
            <a:off x="0" y="0"/>
            <a:ext cx="3013535" cy="6858000"/>
          </a:xfrm>
          <a:prstGeom prst="rect">
            <a:avLst/>
          </a:prstGeom>
          <a:solidFill>
            <a:srgbClr val="26890D"/>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Light" panose="020F0302020204030204" pitchFamily="34" charset="0"/>
            </a:endParaRPr>
          </a:p>
        </p:txBody>
      </p:sp>
      <p:sp>
        <p:nvSpPr>
          <p:cNvPr id="17" name="Rectangle 16">
            <a:extLst>
              <a:ext uri="{FF2B5EF4-FFF2-40B4-BE49-F238E27FC236}">
                <a16:creationId xmlns:a16="http://schemas.microsoft.com/office/drawing/2014/main" id="{E74F9C87-88A8-01B9-1C39-F3B340C0389D}"/>
              </a:ext>
            </a:extLst>
          </p:cNvPr>
          <p:cNvSpPr/>
          <p:nvPr/>
        </p:nvSpPr>
        <p:spPr>
          <a:xfrm>
            <a:off x="158404" y="2009776"/>
            <a:ext cx="2855131" cy="586732"/>
          </a:xfrm>
          <a:prstGeom prst="rect">
            <a:avLst/>
          </a:prstGeom>
        </p:spPr>
        <p:txBody>
          <a:bodyPr wrap="square" lIns="0" tIns="0" rIns="0" bIns="0">
            <a:spAutoFit/>
          </a:bodyPr>
          <a:lstStyle/>
          <a:p>
            <a:pPr algn="ctr" defTabSz="1208233" eaLnBrk="0" hangingPunct="0">
              <a:lnSpc>
                <a:spcPct val="110000"/>
              </a:lnSpc>
              <a:spcAft>
                <a:spcPct val="0"/>
              </a:spcAft>
            </a:pPr>
            <a:r>
              <a:rPr lang="en-US" sz="2381" dirty="0">
                <a:solidFill>
                  <a:prstClr val="white"/>
                </a:solidFill>
                <a:latin typeface="Calibri Light" panose="020F0302020204030204" pitchFamily="34" charset="0"/>
                <a:cs typeface="Arial" panose="020B0604020202020204" pitchFamily="34" charset="0"/>
              </a:rPr>
              <a:t>Tariq M. Ajmal</a:t>
            </a:r>
            <a:br>
              <a:rPr lang="en-US" sz="3172" dirty="0">
                <a:solidFill>
                  <a:prstClr val="white"/>
                </a:solidFill>
                <a:latin typeface="Calibri Light" panose="020F0302020204030204" pitchFamily="34" charset="0"/>
                <a:cs typeface="Arial" panose="020B0604020202020204" pitchFamily="34" charset="0"/>
              </a:rPr>
            </a:br>
            <a:r>
              <a:rPr lang="en-US" sz="1091" dirty="0">
                <a:solidFill>
                  <a:prstClr val="white"/>
                </a:solidFill>
                <a:latin typeface="Calibri Light" panose="020F0302020204030204" pitchFamily="34" charset="0"/>
                <a:cs typeface="Arial" panose="020B0604020202020204" pitchFamily="34" charset="0"/>
              </a:rPr>
              <a:t>Partner</a:t>
            </a:r>
          </a:p>
        </p:txBody>
      </p:sp>
      <p:sp>
        <p:nvSpPr>
          <p:cNvPr id="18" name="Title 1">
            <a:extLst>
              <a:ext uri="{FF2B5EF4-FFF2-40B4-BE49-F238E27FC236}">
                <a16:creationId xmlns:a16="http://schemas.microsoft.com/office/drawing/2014/main" id="{0F4629DE-4CEA-7B1D-F7CD-A04C2B560F49}"/>
              </a:ext>
            </a:extLst>
          </p:cNvPr>
          <p:cNvSpPr txBox="1">
            <a:spLocks/>
          </p:cNvSpPr>
          <p:nvPr/>
        </p:nvSpPr>
        <p:spPr>
          <a:xfrm>
            <a:off x="3218086" y="327008"/>
            <a:ext cx="7286397" cy="466096"/>
          </a:xfrm>
          <a:prstGeom prst="rect">
            <a:avLst/>
          </a:prstGeom>
        </p:spPr>
        <p:txBody>
          <a:bodyPr vert="horz" lIns="0" tIns="0" rIns="0" bIns="0" rtlCol="0" anchor="t" anchorCtr="0">
            <a:noAutofit/>
          </a:bodyPr>
          <a:lstStyle>
            <a:lvl1pPr algn="l" defTabSz="916686" rtl="0" eaLnBrk="1" latinLnBrk="0" hangingPunct="1">
              <a:spcBef>
                <a:spcPct val="0"/>
              </a:spcBef>
              <a:buNone/>
              <a:defRPr sz="2807" kern="1200">
                <a:solidFill>
                  <a:schemeClr val="accent1"/>
                </a:solidFill>
                <a:latin typeface="+mj-lt"/>
                <a:ea typeface="+mj-ea"/>
                <a:cs typeface="+mj-cs"/>
              </a:defRPr>
            </a:lvl1pPr>
          </a:lstStyle>
          <a:p>
            <a:pPr defTabSz="905920"/>
            <a:r>
              <a:rPr lang="en-US" sz="2981" dirty="0">
                <a:solidFill>
                  <a:srgbClr val="26890D"/>
                </a:solidFill>
                <a:latin typeface="Calibri Light" panose="020F0302020204030204" pitchFamily="34" charset="0"/>
                <a:cs typeface="Arial" panose="020B0604020202020204" pitchFamily="34" charset="0"/>
              </a:rPr>
              <a:t>Engagement Partner</a:t>
            </a:r>
          </a:p>
        </p:txBody>
      </p:sp>
      <p:sp>
        <p:nvSpPr>
          <p:cNvPr id="19" name="Rectangle 3">
            <a:extLst>
              <a:ext uri="{FF2B5EF4-FFF2-40B4-BE49-F238E27FC236}">
                <a16:creationId xmlns:a16="http://schemas.microsoft.com/office/drawing/2014/main" id="{471B7FFB-D64E-CF7C-5D77-37048E79B290}"/>
              </a:ext>
            </a:extLst>
          </p:cNvPr>
          <p:cNvSpPr txBox="1">
            <a:spLocks noChangeArrowheads="1"/>
          </p:cNvSpPr>
          <p:nvPr/>
        </p:nvSpPr>
        <p:spPr bwMode="auto">
          <a:xfrm>
            <a:off x="3218083" y="1008859"/>
            <a:ext cx="7790670" cy="2256501"/>
          </a:xfrm>
          <a:prstGeom prst="rect">
            <a:avLst/>
          </a:prstGeom>
          <a:noFill/>
          <a:ln w="9525">
            <a:noFill/>
            <a:miter lim="800000"/>
            <a:headEnd/>
            <a:tailEnd/>
          </a:ln>
        </p:spPr>
        <p:txBody>
          <a:bodyPr lIns="108257" tIns="54130" rIns="0" bIns="54130"/>
          <a:lstStyle/>
          <a:p>
            <a:pPr algn="just" defTabSz="906197">
              <a:spcBef>
                <a:spcPts val="300"/>
              </a:spcBef>
              <a:spcAft>
                <a:spcPts val="591"/>
              </a:spcAft>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Tariq has more than 20 years of experience in the field of Information &amp; Technology Risk covering IT Governance, Project Risk, Cyber Security, Resiliency &amp; Crisis Management, IT and Business Process Controls as well as helping organization comply with requirements such as Sarbanes Oxley, ISO, CobiT, ITIL, ADSIC, etc. Tariq’s experience spans various industries and clients in Middle East and North America. </a:t>
            </a:r>
          </a:p>
          <a:p>
            <a:pPr defTabSz="1208233">
              <a:spcBef>
                <a:spcPts val="300"/>
              </a:spcBef>
              <a:spcAft>
                <a:spcPts val="300"/>
              </a:spcAft>
            </a:pPr>
            <a:r>
              <a:rPr lang="en-US" sz="990" dirty="0">
                <a:solidFill>
                  <a:srgbClr val="26890D"/>
                </a:solidFill>
                <a:latin typeface="Calibri Light" panose="020F0302020204030204" pitchFamily="34" charset="0"/>
                <a:ea typeface="Verdana" panose="020B0604030504040204" pitchFamily="34" charset="0"/>
                <a:cs typeface="Calibri Light" panose="020F0302020204030204" pitchFamily="34" charset="0"/>
              </a:rPr>
              <a:t>Key Relevant Engagements – Outline</a:t>
            </a:r>
          </a:p>
          <a:p>
            <a:pPr defTabSz="1208233">
              <a:spcBef>
                <a:spcPts val="300"/>
              </a:spcBef>
              <a:spcAft>
                <a:spcPts val="300"/>
              </a:spcAft>
              <a:buClr>
                <a:srgbClr val="000066"/>
              </a:buCl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Tariq has performed, managed and directed engagements in a wide range of data processing environments, ranging from highly complex mainframe systems to stand alone PC and LAN based systems.  His project experience includes:</a:t>
            </a:r>
          </a:p>
          <a:p>
            <a:pPr marL="169913" indent="-169913" algn="just" defTabSz="1208233" fontAlgn="base">
              <a:spcBef>
                <a:spcPts val="300"/>
              </a:spcBef>
              <a:spcAft>
                <a:spcPts val="300"/>
              </a:spcAft>
              <a:buClr>
                <a:srgbClr val="000066"/>
              </a:buClr>
              <a:buFont typeface="Arial" panose="020B0604020202020204" pitchFamily="34" charset="0"/>
              <a:buChar cha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IT Governance assessments and implementations (including IT Risk Management, Project and Portfolio Management, IT and Business Alignment, IT Compliance Management).</a:t>
            </a:r>
          </a:p>
          <a:p>
            <a:pPr marL="169913" indent="-169913" algn="just" defTabSz="1208233" fontAlgn="base">
              <a:spcBef>
                <a:spcPts val="300"/>
              </a:spcBef>
              <a:spcAft>
                <a:spcPts val="300"/>
              </a:spcAft>
              <a:buClr>
                <a:srgbClr val="000066"/>
              </a:buClr>
              <a:buFont typeface="Arial" panose="020B0604020202020204" pitchFamily="34" charset="0"/>
              <a:buChar cha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IT control design and risk identification / mitigation reviews.</a:t>
            </a:r>
          </a:p>
          <a:p>
            <a:pPr marL="169913" indent="-169913" algn="just" defTabSz="1208233" fontAlgn="base">
              <a:spcBef>
                <a:spcPts val="300"/>
              </a:spcBef>
              <a:spcAft>
                <a:spcPts val="300"/>
              </a:spcAft>
              <a:buClr>
                <a:srgbClr val="000066"/>
              </a:buClr>
              <a:buFont typeface="Arial" panose="020B0604020202020204" pitchFamily="34" charset="0"/>
              <a:buChar cha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Business process reviews covering both operational and support processes.</a:t>
            </a:r>
          </a:p>
          <a:p>
            <a:pPr marL="169913" indent="-169913" algn="just" defTabSz="1208233" fontAlgn="base">
              <a:spcBef>
                <a:spcPts val="300"/>
              </a:spcBef>
              <a:spcAft>
                <a:spcPts val="300"/>
              </a:spcAft>
              <a:buClr>
                <a:srgbClr val="000066"/>
              </a:buClr>
              <a:buFont typeface="Arial" panose="020B0604020202020204" pitchFamily="34" charset="0"/>
              <a:buChar cha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Third party reviews and reporting (such as SAS 70 / SSEA16, CICA Sec. 5900, ISAE 3402 / ISAE 3000 / WebTrust etc.) for outsourced business processes and infrastructure.</a:t>
            </a:r>
          </a:p>
          <a:p>
            <a:pPr marL="169913" indent="-169913" algn="just" defTabSz="1208233" fontAlgn="base">
              <a:spcBef>
                <a:spcPts val="300"/>
              </a:spcBef>
              <a:spcAft>
                <a:spcPts val="300"/>
              </a:spcAft>
              <a:buClr>
                <a:srgbClr val="000066"/>
              </a:buClr>
              <a:buFont typeface="Arial" panose="020B0604020202020204" pitchFamily="34" charset="0"/>
              <a:buChar cha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Application (SAP, Oracle, JD Edwards, Great Plains, People Soft, Baan, Maximo, Banking, Insurance, Telecom etc.) pre and post implementation reviews covering application functionality controls, security controls (technical and segregation of duties) and implementation project reviews.</a:t>
            </a:r>
          </a:p>
          <a:p>
            <a:pPr marL="169913" indent="-169913" algn="just" defTabSz="1208233" fontAlgn="base">
              <a:spcBef>
                <a:spcPts val="300"/>
              </a:spcBef>
              <a:spcAft>
                <a:spcPts val="300"/>
              </a:spcAft>
              <a:buClr>
                <a:srgbClr val="000066"/>
              </a:buClr>
              <a:buFont typeface="Arial" panose="020B0604020202020204" pitchFamily="34" charset="0"/>
              <a:buChar cha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Database (Oracle, SQL), operating systems / platforms (IBM Mainframe, RACF, Top Secret, AS400, Windows, UNIX, etc.) and network configuration and security reviews.</a:t>
            </a:r>
          </a:p>
          <a:p>
            <a:pPr marL="169913" indent="-169913" algn="just" defTabSz="1208233" fontAlgn="base">
              <a:spcBef>
                <a:spcPts val="300"/>
              </a:spcBef>
              <a:spcAft>
                <a:spcPts val="300"/>
              </a:spcAft>
              <a:buClr>
                <a:srgbClr val="000066"/>
              </a:buClr>
              <a:buFont typeface="Arial" panose="020B0604020202020204" pitchFamily="34" charset="0"/>
              <a:buChar cha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Data conversion reviews including data quality and integrity reviews.</a:t>
            </a:r>
          </a:p>
          <a:p>
            <a:pPr marL="169913" indent="-169913" algn="just" defTabSz="1208233" fontAlgn="base">
              <a:spcBef>
                <a:spcPts val="300"/>
              </a:spcBef>
              <a:spcAft>
                <a:spcPts val="300"/>
              </a:spcAft>
              <a:buClr>
                <a:srgbClr val="000066"/>
              </a:buClr>
              <a:buFont typeface="Arial" panose="020B0604020202020204" pitchFamily="34" charset="0"/>
              <a:buChar cha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Development and implementation of Integrated Management System (IMS) based on PAS99 covering various ISO standards such as ISO14000 (Environment), OHSAS18000 (Health &amp; Safety), ISO20000 (IT Service), ISO27001 (Information Security) and ISO22301 (Business Continuity Management).</a:t>
            </a:r>
          </a:p>
        </p:txBody>
      </p:sp>
      <p:pic>
        <p:nvPicPr>
          <p:cNvPr id="20" name="Picture 19">
            <a:extLst>
              <a:ext uri="{FF2B5EF4-FFF2-40B4-BE49-F238E27FC236}">
                <a16:creationId xmlns:a16="http://schemas.microsoft.com/office/drawing/2014/main" id="{4ED636DF-DA43-1FD8-C65E-390365EF268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307" y="327008"/>
            <a:ext cx="1543913" cy="1540832"/>
          </a:xfrm>
          <a:prstGeom prst="ellipse">
            <a:avLst/>
          </a:prstGeom>
        </p:spPr>
      </p:pic>
      <p:sp>
        <p:nvSpPr>
          <p:cNvPr id="22" name="Rectangle 21">
            <a:extLst>
              <a:ext uri="{FF2B5EF4-FFF2-40B4-BE49-F238E27FC236}">
                <a16:creationId xmlns:a16="http://schemas.microsoft.com/office/drawing/2014/main" id="{49ADBABE-2C0F-C2CF-4B39-21544539865A}"/>
              </a:ext>
            </a:extLst>
          </p:cNvPr>
          <p:cNvSpPr/>
          <p:nvPr/>
        </p:nvSpPr>
        <p:spPr>
          <a:xfrm>
            <a:off x="400769" y="2738438"/>
            <a:ext cx="2370395" cy="3545804"/>
          </a:xfrm>
          <a:prstGeom prst="rect">
            <a:avLst/>
          </a:prstGeom>
        </p:spPr>
        <p:txBody>
          <a:bodyPr wrap="square">
            <a:spAutoFit/>
          </a:bodyPr>
          <a:lstStyle/>
          <a:p>
            <a:pPr indent="-159701" defTabSz="948386">
              <a:lnSpc>
                <a:spcPts val="1014"/>
              </a:lnSpc>
              <a:spcBef>
                <a:spcPts val="590"/>
              </a:spcBef>
              <a:buClr>
                <a:srgbClr val="000066"/>
              </a:buClr>
              <a:buSzPct val="75000"/>
              <a:tabLst>
                <a:tab pos="1312455" algn="l"/>
              </a:tabLst>
              <a:defRPr/>
            </a:pPr>
            <a:r>
              <a:rPr lang="en-US" sz="1091" dirty="0">
                <a:solidFill>
                  <a:srgbClr val="FFFFFF"/>
                </a:solidFill>
                <a:latin typeface="Calibri Light" panose="020F0302020204030204" pitchFamily="34" charset="0"/>
                <a:ea typeface="Verdana" panose="020B0604030504040204" pitchFamily="34" charset="0"/>
                <a:cs typeface="Calibri Light" panose="020F0302020204030204" pitchFamily="34" charset="0"/>
              </a:rPr>
              <a:t>Professional and Technical Qualification</a:t>
            </a:r>
          </a:p>
          <a:p>
            <a:pPr indent="-159701" defTabSz="948386">
              <a:lnSpc>
                <a:spcPts val="1014"/>
              </a:lnSpc>
              <a:buClr>
                <a:srgbClr val="000066"/>
              </a:buClr>
              <a:buSzPct val="75000"/>
              <a:tabLst>
                <a:tab pos="1312455" algn="l"/>
              </a:tabLst>
              <a:defRPr/>
            </a:pPr>
            <a:endParaRPr lang="en-GB" sz="990" dirty="0">
              <a:solidFill>
                <a:srgbClr val="00A1DE"/>
              </a:solidFill>
              <a:latin typeface="Calibri Light" panose="020F0302020204030204" pitchFamily="34" charset="0"/>
              <a:ea typeface="Verdana" panose="020B0604030504040204" pitchFamily="34" charset="0"/>
              <a:cs typeface="Calibri Light" panose="020F0302020204030204" pitchFamily="34" charset="0"/>
            </a:endParaRP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ISA - Certified Information Systems Auditor, Member Information Systems Audit and Control Association (ISACA), USA</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GEIT - Certified in the Governance of Enterprise IT, ISACA</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A - Chartered Accountant (Canada), Member Canadian Institute of Chartered Accountants (CICA), Canada</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MMPA - Master of Management &amp; Professional Accounting, Rotman School of Management University of Toronto, Toronto</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B. Com. Joint Honours in Economics and Accounting, McGill University, Montreal</a:t>
            </a:r>
          </a:p>
        </p:txBody>
      </p:sp>
      <p:graphicFrame>
        <p:nvGraphicFramePr>
          <p:cNvPr id="23" name="Table 22">
            <a:extLst>
              <a:ext uri="{FF2B5EF4-FFF2-40B4-BE49-F238E27FC236}">
                <a16:creationId xmlns:a16="http://schemas.microsoft.com/office/drawing/2014/main" id="{FC7EB8B5-7118-CCF4-3074-1FF6D3D900C3}"/>
              </a:ext>
            </a:extLst>
          </p:cNvPr>
          <p:cNvGraphicFramePr>
            <a:graphicFrameLocks noGrp="1"/>
          </p:cNvGraphicFramePr>
          <p:nvPr>
            <p:extLst>
              <p:ext uri="{D42A27DB-BD31-4B8C-83A1-F6EECF244321}">
                <p14:modId xmlns:p14="http://schemas.microsoft.com/office/powerpoint/2010/main" val="1438235753"/>
              </p:ext>
            </p:extLst>
          </p:nvPr>
        </p:nvGraphicFramePr>
        <p:xfrm>
          <a:off x="3218079" y="4939576"/>
          <a:ext cx="7434681" cy="1576408"/>
        </p:xfrm>
        <a:graphic>
          <a:graphicData uri="http://schemas.openxmlformats.org/drawingml/2006/table">
            <a:tbl>
              <a:tblPr firstRow="1" firstCol="1" bandRow="1"/>
              <a:tblGrid>
                <a:gridCol w="3699717">
                  <a:extLst>
                    <a:ext uri="{9D8B030D-6E8A-4147-A177-3AD203B41FA5}">
                      <a16:colId xmlns:a16="http://schemas.microsoft.com/office/drawing/2014/main" val="20000"/>
                    </a:ext>
                  </a:extLst>
                </a:gridCol>
                <a:gridCol w="3734964">
                  <a:extLst>
                    <a:ext uri="{9D8B030D-6E8A-4147-A177-3AD203B41FA5}">
                      <a16:colId xmlns:a16="http://schemas.microsoft.com/office/drawing/2014/main" val="20001"/>
                    </a:ext>
                  </a:extLst>
                </a:gridCol>
              </a:tblGrid>
              <a:tr h="1347984">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marR="0" lvl="0" indent="0" algn="l" defTabSz="1208233"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990" kern="1200" dirty="0">
                          <a:solidFill>
                            <a:srgbClr val="26890D"/>
                          </a:solidFill>
                          <a:latin typeface="Calibri Light" panose="020F0302020204030204" pitchFamily="34" charset="0"/>
                          <a:ea typeface="Verdana" panose="020B0604030504040204" pitchFamily="34" charset="0"/>
                          <a:cs typeface="Calibri Light" panose="020F0302020204030204" pitchFamily="34" charset="0"/>
                        </a:rPr>
                        <a:t>Key Client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audi Central Bank (SAM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tc Group</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tc Solution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tc Channel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Abu Dhabi Investment Authority - UAE</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Abu Dhabi National Oil Company (ADNOC)</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ADGAS</a:t>
                      </a: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marR="0" lvl="0" indent="0" algn="l" defTabSz="1219170" rtl="0" eaLnBrk="1" fontAlgn="auto" latinLnBrk="0" hangingPunct="1">
                        <a:lnSpc>
                          <a:spcPct val="100000"/>
                        </a:lnSpc>
                        <a:spcBef>
                          <a:spcPts val="0"/>
                        </a:spcBef>
                        <a:spcAft>
                          <a:spcPts val="0"/>
                        </a:spcAft>
                        <a:buClr>
                          <a:schemeClr val="tx1"/>
                        </a:buClr>
                        <a:buSzTx/>
                        <a:buFont typeface="Arial" panose="020B0604020202020204" pitchFamily="34" charset="0"/>
                        <a:buNone/>
                        <a:tabLst>
                          <a:tab pos="226695" algn="l"/>
                        </a:tabLst>
                        <a:defRPr/>
                      </a:pPr>
                      <a:endParaRPr lang="en-GB" sz="1000" kern="120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GASCO</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Dubai Financial Services Authority (DFSA) – UAE</a:t>
                      </a:r>
                    </a:p>
                    <a:p>
                      <a:pPr marL="171450" marR="0" lvl="0" indent="-171450" algn="l" defTabSz="914400" rtl="0" eaLnBrk="1" fontAlgn="auto" latinLnBrk="0" hangingPunct="1">
                        <a:lnSpc>
                          <a:spcPct val="100000"/>
                        </a:lnSpc>
                        <a:spcBef>
                          <a:spcPts val="300"/>
                        </a:spcBef>
                        <a:spcAft>
                          <a:spcPts val="0"/>
                        </a:spcAft>
                        <a:buClr>
                          <a:schemeClr val="tx1"/>
                        </a:buClr>
                        <a:buSzTx/>
                        <a:buFont typeface="Arial" panose="020B0604020202020204" pitchFamily="34" charset="0"/>
                        <a:buChar char="•"/>
                        <a:tabLst>
                          <a:tab pos="226695" algn="l"/>
                        </a:tabLst>
                        <a:defRPr/>
                      </a:pPr>
                      <a:r>
                        <a:rPr lang="en-GB" sz="1000" kern="120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Emirates NBD</a:t>
                      </a:r>
                    </a:p>
                    <a:p>
                      <a:pPr marL="171450" marR="0" lvl="0" indent="-171450" algn="l" defTabSz="914400" rtl="0" eaLnBrk="1" latinLnBrk="0" hangingPunct="1">
                        <a:spcBef>
                          <a:spcPts val="300"/>
                        </a:spcBef>
                        <a:spcAft>
                          <a:spcPts val="0"/>
                        </a:spcAft>
                        <a:buClr>
                          <a:schemeClr val="tx1"/>
                        </a:buClr>
                        <a:buFont typeface="Arial" panose="020B0604020202020204" pitchFamily="34" charset="0"/>
                        <a:buChar char="•"/>
                        <a:tabLst>
                          <a:tab pos="226695" algn="l"/>
                        </a:tabLst>
                      </a:pPr>
                      <a:r>
                        <a:rPr lang="en-GB" sz="1000" kern="120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National Bank of Abu Dhabi – UAE</a:t>
                      </a:r>
                    </a:p>
                    <a:p>
                      <a:pPr marL="171450" marR="0" lvl="0" indent="-171450" algn="l" defTabSz="914400" rtl="0" eaLnBrk="1" latinLnBrk="0" hangingPunct="1">
                        <a:spcBef>
                          <a:spcPts val="300"/>
                        </a:spcBef>
                        <a:spcAft>
                          <a:spcPts val="0"/>
                        </a:spcAft>
                        <a:buClr>
                          <a:schemeClr val="tx1"/>
                        </a:buClr>
                        <a:buFont typeface="Arial" panose="020B0604020202020204" pitchFamily="34" charset="0"/>
                        <a:buChar char="•"/>
                        <a:tabLst>
                          <a:tab pos="226695" algn="l"/>
                        </a:tabLst>
                      </a:pPr>
                      <a:r>
                        <a:rPr lang="en-GB" sz="1000" kern="120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Mubadala – UAE</a:t>
                      </a:r>
                    </a:p>
                    <a:p>
                      <a:pPr marL="171450" marR="0" lvl="0" indent="-171450" algn="l" defTabSz="914400" rtl="0" eaLnBrk="1" latinLnBrk="0" hangingPunct="1">
                        <a:spcBef>
                          <a:spcPts val="300"/>
                        </a:spcBef>
                        <a:spcAft>
                          <a:spcPts val="0"/>
                        </a:spcAft>
                        <a:buClr>
                          <a:schemeClr val="tx1"/>
                        </a:buClr>
                        <a:buFont typeface="Arial" panose="020B0604020202020204" pitchFamily="34" charset="0"/>
                        <a:buChar char="•"/>
                        <a:tabLst>
                          <a:tab pos="226695" algn="l"/>
                        </a:tabLst>
                      </a:pPr>
                      <a:r>
                        <a:rPr lang="en-GB" sz="1000" kern="120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Qatargas</a:t>
                      </a:r>
                    </a:p>
                    <a:p>
                      <a:pPr marL="171450" marR="0" lvl="0" indent="-171450" algn="l" defTabSz="914400" rtl="0" eaLnBrk="1" latinLnBrk="0" hangingPunct="1">
                        <a:spcBef>
                          <a:spcPts val="300"/>
                        </a:spcBef>
                        <a:spcAft>
                          <a:spcPts val="0"/>
                        </a:spcAft>
                        <a:buClr>
                          <a:schemeClr val="tx1"/>
                        </a:buClr>
                        <a:buFont typeface="Arial" panose="020B0604020202020204" pitchFamily="34" charset="0"/>
                        <a:buChar char="•"/>
                        <a:tabLst>
                          <a:tab pos="226695" algn="l"/>
                        </a:tabLst>
                      </a:pPr>
                      <a:r>
                        <a:rPr lang="en-GB" sz="1000" kern="120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RasGas</a:t>
                      </a:r>
                      <a:endPar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4277273097"/>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0C775DE4-5110-056C-1934-70C59539F088}"/>
              </a:ext>
            </a:extLst>
          </p:cNvPr>
          <p:cNvSpPr/>
          <p:nvPr/>
        </p:nvSpPr>
        <p:spPr bwMode="gray">
          <a:xfrm>
            <a:off x="0" y="0"/>
            <a:ext cx="3013535" cy="6858000"/>
          </a:xfrm>
          <a:prstGeom prst="rect">
            <a:avLst/>
          </a:prstGeom>
          <a:solidFill>
            <a:srgbClr val="26890D"/>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Light" panose="020F0302020204030204" pitchFamily="34" charset="0"/>
            </a:endParaRPr>
          </a:p>
        </p:txBody>
      </p:sp>
      <p:sp>
        <p:nvSpPr>
          <p:cNvPr id="6" name="Rectangle 5">
            <a:extLst>
              <a:ext uri="{FF2B5EF4-FFF2-40B4-BE49-F238E27FC236}">
                <a16:creationId xmlns:a16="http://schemas.microsoft.com/office/drawing/2014/main" id="{B3654AA7-4990-9783-BADB-AC3E54F8E58F}"/>
              </a:ext>
            </a:extLst>
          </p:cNvPr>
          <p:cNvSpPr/>
          <p:nvPr/>
        </p:nvSpPr>
        <p:spPr>
          <a:xfrm>
            <a:off x="158404" y="2011307"/>
            <a:ext cx="2855131" cy="585196"/>
          </a:xfrm>
          <a:prstGeom prst="rect">
            <a:avLst/>
          </a:prstGeom>
        </p:spPr>
        <p:txBody>
          <a:bodyPr wrap="square" lIns="0" tIns="0" rIns="0" bIns="0">
            <a:spAutoFit/>
          </a:bodyPr>
          <a:lstStyle/>
          <a:p>
            <a:pPr algn="ctr" defTabSz="1208233" eaLnBrk="0" hangingPunct="0">
              <a:lnSpc>
                <a:spcPct val="110000"/>
              </a:lnSpc>
              <a:spcAft>
                <a:spcPct val="0"/>
              </a:spcAft>
            </a:pPr>
            <a:r>
              <a:rPr lang="en-US" sz="2381" dirty="0">
                <a:solidFill>
                  <a:prstClr val="white"/>
                </a:solidFill>
                <a:latin typeface="Calibri Light" panose="020F0302020204030204" pitchFamily="34" charset="0"/>
                <a:cs typeface="Arial" panose="020B0604020202020204" pitchFamily="34" charset="0"/>
              </a:rPr>
              <a:t>Nader Farid</a:t>
            </a:r>
          </a:p>
          <a:p>
            <a:pPr algn="ctr" defTabSz="1208233" eaLnBrk="0" hangingPunct="0">
              <a:lnSpc>
                <a:spcPct val="110000"/>
              </a:lnSpc>
              <a:spcAft>
                <a:spcPct val="0"/>
              </a:spcAft>
            </a:pPr>
            <a:r>
              <a:rPr lang="en-US" sz="1091" dirty="0">
                <a:solidFill>
                  <a:prstClr val="white"/>
                </a:solidFill>
                <a:latin typeface="Calibri Light" panose="020F0302020204030204" pitchFamily="34" charset="0"/>
                <a:cs typeface="Arial" panose="020B0604020202020204" pitchFamily="34" charset="0"/>
              </a:rPr>
              <a:t>Partner</a:t>
            </a:r>
          </a:p>
        </p:txBody>
      </p:sp>
      <p:sp>
        <p:nvSpPr>
          <p:cNvPr id="7" name="Title 1">
            <a:extLst>
              <a:ext uri="{FF2B5EF4-FFF2-40B4-BE49-F238E27FC236}">
                <a16:creationId xmlns:a16="http://schemas.microsoft.com/office/drawing/2014/main" id="{C0CA5A5C-3EBF-A679-9D1B-BD2164F04D1E}"/>
              </a:ext>
            </a:extLst>
          </p:cNvPr>
          <p:cNvSpPr txBox="1">
            <a:spLocks/>
          </p:cNvSpPr>
          <p:nvPr/>
        </p:nvSpPr>
        <p:spPr>
          <a:xfrm>
            <a:off x="3218086" y="327008"/>
            <a:ext cx="7286397" cy="466096"/>
          </a:xfrm>
          <a:prstGeom prst="rect">
            <a:avLst/>
          </a:prstGeom>
        </p:spPr>
        <p:txBody>
          <a:bodyPr vert="horz" lIns="0" tIns="0" rIns="0" bIns="0" rtlCol="0" anchor="t" anchorCtr="0">
            <a:noAutofit/>
          </a:bodyPr>
          <a:lstStyle>
            <a:lvl1pPr algn="l" defTabSz="916686" rtl="0" eaLnBrk="1" latinLnBrk="0" hangingPunct="1">
              <a:spcBef>
                <a:spcPct val="0"/>
              </a:spcBef>
              <a:buNone/>
              <a:defRPr sz="2807" kern="1200">
                <a:solidFill>
                  <a:schemeClr val="accent1"/>
                </a:solidFill>
                <a:latin typeface="+mj-lt"/>
                <a:ea typeface="+mj-ea"/>
                <a:cs typeface="+mj-cs"/>
              </a:defRPr>
            </a:lvl1pPr>
          </a:lstStyle>
          <a:p>
            <a:pPr defTabSz="905920"/>
            <a:r>
              <a:rPr lang="en-US" sz="2981" dirty="0">
                <a:solidFill>
                  <a:srgbClr val="26890D"/>
                </a:solidFill>
                <a:latin typeface="Calibri Light" panose="020F0302020204030204" pitchFamily="34" charset="0"/>
                <a:cs typeface="Arial" panose="020B0604020202020204" pitchFamily="34" charset="0"/>
              </a:rPr>
              <a:t>QA Partner</a:t>
            </a:r>
          </a:p>
        </p:txBody>
      </p:sp>
      <p:sp>
        <p:nvSpPr>
          <p:cNvPr id="8" name="Rectangle 3">
            <a:extLst>
              <a:ext uri="{FF2B5EF4-FFF2-40B4-BE49-F238E27FC236}">
                <a16:creationId xmlns:a16="http://schemas.microsoft.com/office/drawing/2014/main" id="{D9296310-AEA3-7128-B5BC-C23B622696A6}"/>
              </a:ext>
            </a:extLst>
          </p:cNvPr>
          <p:cNvSpPr txBox="1">
            <a:spLocks noChangeArrowheads="1"/>
          </p:cNvSpPr>
          <p:nvPr/>
        </p:nvSpPr>
        <p:spPr bwMode="auto">
          <a:xfrm>
            <a:off x="3218083" y="1008865"/>
            <a:ext cx="7760136" cy="1133550"/>
          </a:xfrm>
          <a:prstGeom prst="rect">
            <a:avLst/>
          </a:prstGeom>
          <a:noFill/>
          <a:ln w="9525">
            <a:noFill/>
            <a:miter lim="800000"/>
            <a:headEnd/>
            <a:tailEnd/>
          </a:ln>
        </p:spPr>
        <p:txBody>
          <a:bodyPr lIns="108257" tIns="54130" rIns="0" bIns="54130"/>
          <a:lstStyle/>
          <a:p>
            <a:pPr algn="just" defTabSz="906197">
              <a:spcBef>
                <a:spcPts val="300"/>
              </a:spcBef>
              <a:spcAft>
                <a:spcPts val="591"/>
              </a:spcAft>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Nader is a Partner in Risk Advisory leading Cyber and Technology Risk practice in KSA. Nader has more than 20 years of experience in the field of Information Security &amp; Technology Risk covering IT Governance, IT Risk Management, Information Security Management, Infrastructure &amp; Operations Security, Business Continuity and ERP Process Controls.</a:t>
            </a:r>
          </a:p>
          <a:p>
            <a:pPr algn="just" defTabSz="906197">
              <a:spcBef>
                <a:spcPts val="300"/>
              </a:spcBef>
              <a:spcAft>
                <a:spcPts val="591"/>
              </a:spcAft>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Nader has led and managed a wide range of Information Technology and Security Risk Management engagements for a number of iconic clients in the ME across various industries including; Financial Services, Manufacturing, Utilities, Telecoms and the Public Sector. </a:t>
            </a:r>
          </a:p>
        </p:txBody>
      </p:sp>
      <p:sp>
        <p:nvSpPr>
          <p:cNvPr id="9" name="Rectangle 8">
            <a:extLst>
              <a:ext uri="{FF2B5EF4-FFF2-40B4-BE49-F238E27FC236}">
                <a16:creationId xmlns:a16="http://schemas.microsoft.com/office/drawing/2014/main" id="{ED7BEBB1-719A-71E1-4BF1-477C69CBE1EB}"/>
              </a:ext>
            </a:extLst>
          </p:cNvPr>
          <p:cNvSpPr/>
          <p:nvPr/>
        </p:nvSpPr>
        <p:spPr>
          <a:xfrm>
            <a:off x="400768" y="2736591"/>
            <a:ext cx="2370395" cy="2340155"/>
          </a:xfrm>
          <a:prstGeom prst="rect">
            <a:avLst/>
          </a:prstGeom>
        </p:spPr>
        <p:txBody>
          <a:bodyPr wrap="square">
            <a:spAutoFit/>
          </a:bodyPr>
          <a:lstStyle/>
          <a:p>
            <a:pPr indent="-159701" defTabSz="948386">
              <a:lnSpc>
                <a:spcPts val="1014"/>
              </a:lnSpc>
              <a:spcBef>
                <a:spcPts val="590"/>
              </a:spcBef>
              <a:buClr>
                <a:srgbClr val="000066"/>
              </a:buClr>
              <a:buSzPct val="75000"/>
              <a:tabLst>
                <a:tab pos="1312455" algn="l"/>
              </a:tabLst>
              <a:defRPr/>
            </a:pPr>
            <a:r>
              <a:rPr lang="en-US" sz="1091" dirty="0">
                <a:solidFill>
                  <a:schemeClr val="bg1"/>
                </a:solidFill>
                <a:latin typeface="Calibri Light" panose="020F0302020204030204" pitchFamily="34" charset="0"/>
                <a:ea typeface="Verdana" panose="020B0604030504040204" pitchFamily="34" charset="0"/>
                <a:cs typeface="Calibri Light" panose="020F0302020204030204" pitchFamily="34" charset="0"/>
              </a:rPr>
              <a:t>Professional and Technical Qualification</a:t>
            </a:r>
          </a:p>
          <a:p>
            <a:pPr indent="-159701" defTabSz="948386">
              <a:lnSpc>
                <a:spcPts val="1014"/>
              </a:lnSpc>
              <a:buClr>
                <a:srgbClr val="000066"/>
              </a:buClr>
              <a:buSzPct val="75000"/>
              <a:tabLst>
                <a:tab pos="1312455" algn="l"/>
              </a:tabLst>
              <a:defRPr/>
            </a:pPr>
            <a:endParaRPr lang="en-GB" sz="990" dirty="0">
              <a:solidFill>
                <a:srgbClr val="00A1DE"/>
              </a:solidFill>
              <a:latin typeface="Calibri Light" panose="020F0302020204030204" pitchFamily="34" charset="0"/>
              <a:ea typeface="Verdana" panose="020B0604030504040204" pitchFamily="34" charset="0"/>
              <a:cs typeface="Calibri Light" panose="020F0302020204030204" pitchFamily="34" charset="0"/>
            </a:endParaRP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Bachelor of Science Degree in Computer Information Systems from California State University of Fresno, USA. </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nformation System Auditor [CISA]. </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n Risk and Information Systems Control [CRISC]</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Member of the Information Systems Audit and Control Association (ISACA)</a:t>
            </a:r>
          </a:p>
        </p:txBody>
      </p:sp>
      <p:graphicFrame>
        <p:nvGraphicFramePr>
          <p:cNvPr id="11" name="Table 10">
            <a:extLst>
              <a:ext uri="{FF2B5EF4-FFF2-40B4-BE49-F238E27FC236}">
                <a16:creationId xmlns:a16="http://schemas.microsoft.com/office/drawing/2014/main" id="{0A3605E1-DBA3-73E3-CF56-C7442AEAE50D}"/>
              </a:ext>
            </a:extLst>
          </p:cNvPr>
          <p:cNvGraphicFramePr>
            <a:graphicFrameLocks noGrp="1"/>
          </p:cNvGraphicFramePr>
          <p:nvPr>
            <p:extLst>
              <p:ext uri="{D42A27DB-BD31-4B8C-83A1-F6EECF244321}">
                <p14:modId xmlns:p14="http://schemas.microsoft.com/office/powerpoint/2010/main" val="3646906457"/>
              </p:ext>
            </p:extLst>
          </p:nvPr>
        </p:nvGraphicFramePr>
        <p:xfrm>
          <a:off x="3218079" y="5177320"/>
          <a:ext cx="8402716" cy="1385908"/>
        </p:xfrm>
        <a:graphic>
          <a:graphicData uri="http://schemas.openxmlformats.org/drawingml/2006/table">
            <a:tbl>
              <a:tblPr firstRow="1" firstCol="1" bandRow="1"/>
              <a:tblGrid>
                <a:gridCol w="3699717">
                  <a:extLst>
                    <a:ext uri="{9D8B030D-6E8A-4147-A177-3AD203B41FA5}">
                      <a16:colId xmlns:a16="http://schemas.microsoft.com/office/drawing/2014/main" val="20000"/>
                    </a:ext>
                  </a:extLst>
                </a:gridCol>
                <a:gridCol w="4702999">
                  <a:extLst>
                    <a:ext uri="{9D8B030D-6E8A-4147-A177-3AD203B41FA5}">
                      <a16:colId xmlns:a16="http://schemas.microsoft.com/office/drawing/2014/main" val="20001"/>
                    </a:ext>
                  </a:extLst>
                </a:gridCol>
              </a:tblGrid>
              <a:tr h="1347984">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marR="0" lvl="0" indent="-190131" algn="l" defTabSz="1208233"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990" kern="1200" dirty="0">
                          <a:solidFill>
                            <a:srgbClr val="26890D"/>
                          </a:solidFill>
                          <a:latin typeface="Calibri Light" panose="020F0302020204030204" pitchFamily="34" charset="0"/>
                          <a:ea typeface="Verdana" panose="020B0604030504040204" pitchFamily="34" charset="0"/>
                          <a:cs typeface="Calibri Light" panose="020F0302020204030204" pitchFamily="34" charset="0"/>
                        </a:rPr>
                        <a:t>Key Clients</a:t>
                      </a:r>
                    </a:p>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endPar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AMBA – KS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Bank AlBilad – KS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NCB - KS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AlAwal Bank – KS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audi Aramco – KSA</a:t>
                      </a: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lvl="0" indent="0" algn="l" defTabSz="914400" rtl="0" eaLnBrk="1" latinLnBrk="0" hangingPunct="1">
                        <a:spcBef>
                          <a:spcPts val="300"/>
                        </a:spcBef>
                        <a:spcAft>
                          <a:spcPts val="0"/>
                        </a:spcAft>
                        <a:buFont typeface="Arial" panose="020B0604020202020204" pitchFamily="34" charset="0"/>
                        <a:buNone/>
                      </a:pPr>
                      <a:endPar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p>
                      <a:pPr marL="0" lvl="0" indent="0" algn="l" defTabSz="914400" rtl="0" eaLnBrk="1" latinLnBrk="0" hangingPunct="1">
                        <a:spcBef>
                          <a:spcPts val="300"/>
                        </a:spcBef>
                        <a:spcAft>
                          <a:spcPts val="0"/>
                        </a:spcAft>
                        <a:buFont typeface="Arial" panose="020B0604020202020204" pitchFamily="34" charset="0"/>
                        <a:buNone/>
                      </a:pPr>
                      <a:endPar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ELM – KSA</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NADEC – KSA</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TC -KSA</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Bupa Arabia – KSA</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Al-Jazira Takaful - KSA</a:t>
                      </a: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4" name="Rectangle 3">
            <a:extLst>
              <a:ext uri="{FF2B5EF4-FFF2-40B4-BE49-F238E27FC236}">
                <a16:creationId xmlns:a16="http://schemas.microsoft.com/office/drawing/2014/main" id="{C6A6248D-DB1C-51B2-8252-153BFDC1403A}"/>
              </a:ext>
            </a:extLst>
          </p:cNvPr>
          <p:cNvSpPr txBox="1">
            <a:spLocks noChangeArrowheads="1"/>
          </p:cNvSpPr>
          <p:nvPr/>
        </p:nvSpPr>
        <p:spPr bwMode="auto">
          <a:xfrm>
            <a:off x="3168632" y="2144767"/>
            <a:ext cx="7809582" cy="2931977"/>
          </a:xfrm>
          <a:prstGeom prst="rect">
            <a:avLst/>
          </a:prstGeom>
          <a:noFill/>
          <a:ln w="9525">
            <a:noFill/>
            <a:miter lim="800000"/>
            <a:headEnd/>
            <a:tailEnd/>
          </a:ln>
        </p:spPr>
        <p:txBody>
          <a:bodyPr lIns="108257" tIns="54130" rIns="0" bIns="54130"/>
          <a:lstStyle/>
          <a:p>
            <a:pPr indent="-190131" defTabSz="1208233">
              <a:spcBef>
                <a:spcPts val="300"/>
              </a:spcBef>
              <a:spcAft>
                <a:spcPts val="300"/>
              </a:spcAft>
            </a:pPr>
            <a:r>
              <a:rPr lang="en-US" sz="990" dirty="0">
                <a:solidFill>
                  <a:srgbClr val="26890D"/>
                </a:solidFill>
                <a:latin typeface="Calibri Light" panose="020F0302020204030204" pitchFamily="34" charset="0"/>
                <a:ea typeface="Verdana" panose="020B0604030504040204" pitchFamily="34" charset="0"/>
                <a:cs typeface="Calibri Light" panose="020F0302020204030204" pitchFamily="34" charset="0"/>
              </a:rPr>
              <a:t>Key Relevant Engagements – Outline</a:t>
            </a:r>
          </a:p>
          <a:p>
            <a:pPr lvl="1" indent="0" algn="just" defTabSz="906197">
              <a:spcBef>
                <a:spcPts val="300"/>
              </a:spcBef>
              <a:spcAft>
                <a:spcPts val="591"/>
              </a:spcAft>
              <a:defRP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Nader has been involved in various engagements related to end to end information security programme covering current state assessment; strategic and technical risk assessment; strategy and roadmap; governance; policies and procedures, business continuity management; training &amp; awareness; and testing. Some of his relevant project experience includes:</a:t>
            </a:r>
          </a:p>
          <a:p>
            <a:pPr marL="169913" lvl="1" indent="-169913" algn="just" defTabSz="1208233" fontAlgn="base">
              <a:spcBef>
                <a:spcPts val="300"/>
              </a:spcBef>
              <a:spcAft>
                <a:spcPts val="300"/>
              </a:spcAft>
              <a:buClr>
                <a:srgbClr val="000066"/>
              </a:buClr>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Project Manager for the Business Continuity and Disaster Recovery assessment and documentation for one of the world’s largest National Oil Companies.</a:t>
            </a:r>
          </a:p>
          <a:p>
            <a:pPr marL="169913" lvl="1" indent="-169913" algn="just" defTabSz="1208233" fontAlgn="base">
              <a:spcBef>
                <a:spcPts val="300"/>
              </a:spcBef>
              <a:spcAft>
                <a:spcPts val="300"/>
              </a:spcAft>
              <a:buClr>
                <a:srgbClr val="000066"/>
              </a:buClr>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Led the SAP Post implementation and Cyber security review for a leading chemicals manufacturing client in KSA. The areas in scope included, IT Governance, IT Operations, ERP automated controls, user access and IT Security (vulnerability assessment and attack &amp; penetration).</a:t>
            </a:r>
          </a:p>
          <a:p>
            <a:pPr marL="169913" lvl="1" indent="-169913" algn="just" defTabSz="1208233" fontAlgn="base">
              <a:spcBef>
                <a:spcPts val="300"/>
              </a:spcBef>
              <a:spcAft>
                <a:spcPts val="300"/>
              </a:spcAft>
              <a:buClr>
                <a:srgbClr val="000066"/>
              </a:buClr>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Led the IT Internal Audit and Applications Controls review for a leading utilities company based out of AL-Jubail Industrial City, KSA. The scope encompassed review of IT Governance, IT Security as well as ERP functional and user security Controls. </a:t>
            </a:r>
          </a:p>
          <a:p>
            <a:pPr marL="169913" lvl="1" indent="-169913" algn="just" defTabSz="1208233" fontAlgn="base">
              <a:spcBef>
                <a:spcPts val="300"/>
              </a:spcBef>
              <a:spcAft>
                <a:spcPts val="300"/>
              </a:spcAft>
              <a:buClr>
                <a:srgbClr val="000066"/>
              </a:buClr>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Led an IT internal audit co-sourcing engagement for a leading telecom service provider in the Kingdom Bahrain covering IT, Networks and ERP systems Audits.</a:t>
            </a:r>
          </a:p>
          <a:p>
            <a:pPr marL="169913" lvl="1" indent="-169913" algn="just" defTabSz="1208233" fontAlgn="base">
              <a:spcBef>
                <a:spcPts val="300"/>
              </a:spcBef>
              <a:spcAft>
                <a:spcPts val="300"/>
              </a:spcAft>
              <a:buClr>
                <a:srgbClr val="000066"/>
              </a:buClr>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Led several internal audit outsourcing engagements for a number of leading clients in KSA. Some of the key areas covered during these engagements include; Finance &amp; Accounts, Revenue &amp; expenditures, HR &amp; Admin, Procurement, Patient Services, as well as IT and Cyber Security.</a:t>
            </a:r>
          </a:p>
          <a:p>
            <a:pPr marL="169913" lvl="1" indent="-169913" algn="just" defTabSz="1208233" fontAlgn="base">
              <a:spcBef>
                <a:spcPts val="300"/>
              </a:spcBef>
              <a:spcAft>
                <a:spcPts val="300"/>
              </a:spcAft>
              <a:buClr>
                <a:srgbClr val="000066"/>
              </a:buClr>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Project Manager for a large transformation engagement for a leading Paper Manufacturing client in Saudi Arabia. The scope encompassed Strategy Articulation, Organization restructuring as well as development of the client’s Process, Policies &amp; procedures, and Compensation schemes.</a:t>
            </a:r>
          </a:p>
        </p:txBody>
      </p:sp>
      <p:pic>
        <p:nvPicPr>
          <p:cNvPr id="16" name="Picture 15">
            <a:extLst>
              <a:ext uri="{FF2B5EF4-FFF2-40B4-BE49-F238E27FC236}">
                <a16:creationId xmlns:a16="http://schemas.microsoft.com/office/drawing/2014/main" id="{7B9D6B80-C87D-CA1B-B267-188E830C4BDA}"/>
              </a:ext>
            </a:extLst>
          </p:cNvPr>
          <p:cNvPicPr/>
          <p:nvPr/>
        </p:nvPicPr>
        <p:blipFill rotWithShape="1">
          <a:blip r:embed="rId2">
            <a:extLst>
              <a:ext uri="{28A0092B-C50C-407E-A947-70E740481C1C}">
                <a14:useLocalDpi xmlns:a14="http://schemas.microsoft.com/office/drawing/2010/main" val="0"/>
              </a:ext>
            </a:extLst>
          </a:blip>
          <a:srcRect l="19157" t="9039" r="13995" b="25109"/>
          <a:stretch/>
        </p:blipFill>
        <p:spPr bwMode="auto">
          <a:xfrm rot="20684821">
            <a:off x="755307" y="327010"/>
            <a:ext cx="1543913" cy="1520865"/>
          </a:xfrm>
          <a:prstGeom prst="ellipse">
            <a:avLst/>
          </a:prstGeom>
          <a:noFill/>
          <a:ln>
            <a:noFill/>
          </a:ln>
        </p:spPr>
      </p:pic>
    </p:spTree>
    <p:extLst>
      <p:ext uri="{BB962C8B-B14F-4D97-AF65-F5344CB8AC3E}">
        <p14:creationId xmlns:p14="http://schemas.microsoft.com/office/powerpoint/2010/main" val="775752231"/>
      </p:ext>
    </p:extLst>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C370D60-A5C1-6C21-D057-261E25D49253}"/>
              </a:ext>
            </a:extLst>
          </p:cNvPr>
          <p:cNvSpPr/>
          <p:nvPr/>
        </p:nvSpPr>
        <p:spPr bwMode="gray">
          <a:xfrm>
            <a:off x="0" y="0"/>
            <a:ext cx="3013535" cy="6858000"/>
          </a:xfrm>
          <a:prstGeom prst="rect">
            <a:avLst/>
          </a:prstGeom>
          <a:solidFill>
            <a:srgbClr val="26890D"/>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Light" panose="020F0302020204030204" pitchFamily="34" charset="0"/>
            </a:endParaRPr>
          </a:p>
        </p:txBody>
      </p:sp>
      <p:sp>
        <p:nvSpPr>
          <p:cNvPr id="3" name="Rectangle 2">
            <a:extLst>
              <a:ext uri="{FF2B5EF4-FFF2-40B4-BE49-F238E27FC236}">
                <a16:creationId xmlns:a16="http://schemas.microsoft.com/office/drawing/2014/main" id="{20554C7D-4BA0-C54B-3E74-C48B70F67662}"/>
              </a:ext>
            </a:extLst>
          </p:cNvPr>
          <p:cNvSpPr/>
          <p:nvPr/>
        </p:nvSpPr>
        <p:spPr>
          <a:xfrm>
            <a:off x="89875" y="1984623"/>
            <a:ext cx="2855131" cy="587232"/>
          </a:xfrm>
          <a:prstGeom prst="rect">
            <a:avLst/>
          </a:prstGeom>
        </p:spPr>
        <p:txBody>
          <a:bodyPr wrap="square" lIns="0" tIns="0" rIns="0" bIns="0">
            <a:spAutoFit/>
          </a:bodyPr>
          <a:lstStyle/>
          <a:p>
            <a:pPr algn="ctr" defTabSz="1208233" eaLnBrk="0" hangingPunct="0">
              <a:lnSpc>
                <a:spcPct val="110000"/>
              </a:lnSpc>
              <a:spcAft>
                <a:spcPct val="0"/>
              </a:spcAft>
            </a:pPr>
            <a:r>
              <a:rPr lang="en-US" sz="2381" dirty="0">
                <a:solidFill>
                  <a:prstClr val="white"/>
                </a:solidFill>
                <a:latin typeface="Calibri Light" panose="020F0302020204030204" pitchFamily="34" charset="0"/>
                <a:cs typeface="Arial" panose="020B0604020202020204" pitchFamily="34" charset="0"/>
              </a:rPr>
              <a:t>Arsalan Yousuf</a:t>
            </a:r>
          </a:p>
          <a:p>
            <a:pPr algn="ctr" defTabSz="1208233" eaLnBrk="0" hangingPunct="0">
              <a:lnSpc>
                <a:spcPct val="110000"/>
              </a:lnSpc>
              <a:spcAft>
                <a:spcPct val="0"/>
              </a:spcAft>
            </a:pPr>
            <a:r>
              <a:rPr lang="en-US" sz="1094" dirty="0">
                <a:solidFill>
                  <a:prstClr val="white"/>
                </a:solidFill>
                <a:latin typeface="Calibri Light" panose="020F0302020204030204" pitchFamily="34" charset="0"/>
                <a:cs typeface="Arial" panose="020B0604020202020204" pitchFamily="34" charset="0"/>
              </a:rPr>
              <a:t>Director</a:t>
            </a:r>
          </a:p>
        </p:txBody>
      </p:sp>
      <p:sp>
        <p:nvSpPr>
          <p:cNvPr id="4" name="Rectangle 3">
            <a:extLst>
              <a:ext uri="{FF2B5EF4-FFF2-40B4-BE49-F238E27FC236}">
                <a16:creationId xmlns:a16="http://schemas.microsoft.com/office/drawing/2014/main" id="{0594CD00-3389-D0F5-3022-D8E49A53FBA8}"/>
              </a:ext>
            </a:extLst>
          </p:cNvPr>
          <p:cNvSpPr txBox="1">
            <a:spLocks noChangeArrowheads="1"/>
          </p:cNvSpPr>
          <p:nvPr/>
        </p:nvSpPr>
        <p:spPr bwMode="auto">
          <a:xfrm>
            <a:off x="3218077" y="1008862"/>
            <a:ext cx="7739779" cy="906505"/>
          </a:xfrm>
          <a:prstGeom prst="rect">
            <a:avLst/>
          </a:prstGeom>
          <a:noFill/>
          <a:ln w="9525">
            <a:noFill/>
            <a:miter lim="800000"/>
            <a:headEnd/>
            <a:tailEnd/>
          </a:ln>
        </p:spPr>
        <p:txBody>
          <a:bodyPr lIns="108257" tIns="54130" rIns="0" bIns="54130" anchor="t"/>
          <a:lstStyle/>
          <a:p>
            <a:pPr algn="just" defTabSz="1208233" fontAlgn="base">
              <a:spcBef>
                <a:spcPts val="300"/>
              </a:spcBef>
              <a:spcAft>
                <a:spcPts val="300"/>
              </a:spcAft>
            </a:pPr>
            <a:r>
              <a:rPr lang="en-US" sz="943" dirty="0">
                <a:solidFill>
                  <a:srgbClr val="575757"/>
                </a:solidFill>
                <a:latin typeface="Calibri Light" panose="020F0302020204030204" pitchFamily="34" charset="0"/>
              </a:rPr>
              <a:t>Arsalan is Director in Deloitte’s Cyber and Strategic Risk Advisory Services practice based in Riyadh. With an overall experience of 18+ years, he has in-depth knowledge &amp; experience in the field of Crisis Management, Resiliency and Business Continuity, working on several different engagements for development, implementation and assessment of BCM based on ISO 22301, ISO 22361, BS 67000, SAMA BCM Framework and industry best practices. Arsalan holds a Masters’ Degree in Computer Science, and industry recognized certifications like Certificate of the BCI (CBCI), Certified Information Security Manager (CISM) and Certified Information Systems Auditor (CISA).</a:t>
            </a:r>
          </a:p>
        </p:txBody>
      </p:sp>
      <p:sp>
        <p:nvSpPr>
          <p:cNvPr id="5" name="Rectangle 4">
            <a:extLst>
              <a:ext uri="{FF2B5EF4-FFF2-40B4-BE49-F238E27FC236}">
                <a16:creationId xmlns:a16="http://schemas.microsoft.com/office/drawing/2014/main" id="{F6EDB31D-C7B1-20A9-EDC1-75915D5C9CA2}"/>
              </a:ext>
            </a:extLst>
          </p:cNvPr>
          <p:cNvSpPr/>
          <p:nvPr/>
        </p:nvSpPr>
        <p:spPr>
          <a:xfrm>
            <a:off x="332245" y="2736588"/>
            <a:ext cx="2370395" cy="3369447"/>
          </a:xfrm>
          <a:prstGeom prst="rect">
            <a:avLst/>
          </a:prstGeom>
        </p:spPr>
        <p:txBody>
          <a:bodyPr wrap="square" lIns="90818" tIns="45410" rIns="90818" bIns="45410" anchor="t">
            <a:spAutoFit/>
          </a:bodyPr>
          <a:lstStyle/>
          <a:p>
            <a:pPr indent="-159629" defTabSz="948386">
              <a:lnSpc>
                <a:spcPts val="1014"/>
              </a:lnSpc>
              <a:spcBef>
                <a:spcPts val="590"/>
              </a:spcBef>
              <a:buClr>
                <a:srgbClr val="000066"/>
              </a:buClr>
              <a:buSzPct val="75000"/>
              <a:tabLst>
                <a:tab pos="1312455" algn="l"/>
              </a:tabLst>
              <a:defRPr/>
            </a:pPr>
            <a:r>
              <a:rPr lang="en-US" sz="1091" dirty="0">
                <a:solidFill>
                  <a:schemeClr val="bg1"/>
                </a:solidFill>
                <a:latin typeface="Calibri Light" panose="020F0302020204030204" pitchFamily="34" charset="0"/>
                <a:ea typeface="Verdana" panose="020B0604030504040204" pitchFamily="34" charset="0"/>
                <a:cs typeface="Calibri Light" panose="020F0302020204030204" pitchFamily="34" charset="0"/>
              </a:rPr>
              <a:t>Professional and Technical Qualification</a:t>
            </a:r>
            <a:endParaRPr lang="en-US" sz="2388" dirty="0">
              <a:solidFill>
                <a:schemeClr val="bg1"/>
              </a:solidFill>
              <a:latin typeface="Calibri Light" panose="020F0302020204030204" pitchFamily="34" charset="0"/>
            </a:endParaRPr>
          </a:p>
          <a:p>
            <a:pPr marL="154122" lvl="2" indent="-152780" defTabSz="771834" fontAlgn="base">
              <a:lnSpc>
                <a:spcPts val="1014"/>
              </a:lnSpc>
              <a:spcBef>
                <a:spcPts val="300"/>
              </a:spcBef>
              <a:spcAft>
                <a:spcPts val="300"/>
              </a:spcAft>
              <a:buClr>
                <a:srgbClr val="00A3E0"/>
              </a:buClr>
              <a:buSzPct val="100000"/>
              <a:buFont typeface="Wingdings" pitchFamily="2" charset="2"/>
              <a:buChar char="§"/>
              <a:tabLst>
                <a:tab pos="4824662" algn="l"/>
              </a:tabLst>
              <a:defRPr/>
            </a:pPr>
            <a:endParaRPr lang="en-GB" sz="1041" dirty="0">
              <a:solidFill>
                <a:srgbClr val="FFFFFF"/>
              </a:solidFill>
              <a:latin typeface="Calibri Light" panose="020F0302020204030204" pitchFamily="34" charset="0"/>
              <a:ea typeface="Verdana" panose="020B0604030504040204" pitchFamily="34" charset="0"/>
            </a:endParaRP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MS Computer Science &amp; Networks – National University of Computers &amp; Emerging Sciences, Islamabad, Pakistan</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BS Computer Science – Department of Computer Science, University of Karachi, Pakistan</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SO 22301:2019 Lead Implementer</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cate of the BCI (CBCI) with Merit </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nformation Security Manager (CISM)</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nformation Systems Auditor (CISA)</a:t>
            </a:r>
          </a:p>
        </p:txBody>
      </p:sp>
      <p:graphicFrame>
        <p:nvGraphicFramePr>
          <p:cNvPr id="6" name="Table 5">
            <a:extLst>
              <a:ext uri="{FF2B5EF4-FFF2-40B4-BE49-F238E27FC236}">
                <a16:creationId xmlns:a16="http://schemas.microsoft.com/office/drawing/2014/main" id="{DEA26916-162D-C565-DEA6-E0593D381177}"/>
              </a:ext>
            </a:extLst>
          </p:cNvPr>
          <p:cNvGraphicFramePr>
            <a:graphicFrameLocks noGrp="1"/>
          </p:cNvGraphicFramePr>
          <p:nvPr>
            <p:extLst>
              <p:ext uri="{D42A27DB-BD31-4B8C-83A1-F6EECF244321}">
                <p14:modId xmlns:p14="http://schemas.microsoft.com/office/powerpoint/2010/main" val="1907579168"/>
              </p:ext>
            </p:extLst>
          </p:nvPr>
        </p:nvGraphicFramePr>
        <p:xfrm>
          <a:off x="3218079" y="4683460"/>
          <a:ext cx="8402716" cy="1957408"/>
        </p:xfrm>
        <a:graphic>
          <a:graphicData uri="http://schemas.openxmlformats.org/drawingml/2006/table">
            <a:tbl>
              <a:tblPr firstRow="1" firstCol="1" bandRow="1"/>
              <a:tblGrid>
                <a:gridCol w="3699717">
                  <a:extLst>
                    <a:ext uri="{9D8B030D-6E8A-4147-A177-3AD203B41FA5}">
                      <a16:colId xmlns:a16="http://schemas.microsoft.com/office/drawing/2014/main" val="20000"/>
                    </a:ext>
                  </a:extLst>
                </a:gridCol>
                <a:gridCol w="4702999">
                  <a:extLst>
                    <a:ext uri="{9D8B030D-6E8A-4147-A177-3AD203B41FA5}">
                      <a16:colId xmlns:a16="http://schemas.microsoft.com/office/drawing/2014/main" val="20001"/>
                    </a:ext>
                  </a:extLst>
                </a:gridCol>
              </a:tblGrid>
              <a:tr h="1918889">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marR="0" lvl="0" indent="-190131" algn="l" defTabSz="1208233"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990" kern="1200" dirty="0">
                          <a:solidFill>
                            <a:srgbClr val="26890D"/>
                          </a:solidFill>
                          <a:latin typeface="Calibri Light" panose="020F0302020204030204" pitchFamily="34" charset="0"/>
                          <a:ea typeface="Verdana" panose="020B0604030504040204" pitchFamily="34" charset="0"/>
                          <a:cs typeface="Calibri Light" panose="020F0302020204030204" pitchFamily="34" charset="0"/>
                        </a:rPr>
                        <a:t>Key Clients</a:t>
                      </a:r>
                      <a:endParaRPr lang="en-US" sz="990" kern="1200" noProof="0" dirty="0">
                        <a:solidFill>
                          <a:srgbClr val="26890D"/>
                        </a:solidFill>
                        <a:latin typeface="Calibri Light" panose="020F0302020204030204" pitchFamily="34" charset="0"/>
                        <a:ea typeface="Verdana" panose="020B0604030504040204" pitchFamily="34" charset="0"/>
                        <a:cs typeface="Calibri Light" panose="020F0302020204030204" pitchFamily="34" charset="0"/>
                      </a:endParaRP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Royal Commission for AlUl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Uptown Jeddah Company </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tc Bank (stc Pay)</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olutions by stc</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audi Payment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audi Arabian Monetary Authority (SAM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audi Stock Exchange (Tadawul)</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Bupa Insurance</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National Commercial Bank (NCB)</a:t>
                      </a: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lvl="0" indent="0" algn="l" defTabSz="914400" rtl="0" eaLnBrk="1" latinLnBrk="0" hangingPunct="1">
                        <a:spcBef>
                          <a:spcPts val="300"/>
                        </a:spcBef>
                        <a:spcAft>
                          <a:spcPts val="0"/>
                        </a:spcAft>
                        <a:buFont typeface="Arial" panose="020B0604020202020204" pitchFamily="34" charset="0"/>
                        <a:buNone/>
                      </a:pPr>
                      <a:endPar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RasGas – Qatar</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upreme Council of IT Qatar (ictQatar)</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Channels by stc</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Pakistan Petroleum Limited - Pakistan</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Karachi Stock Exchange - Pakistan</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Pakistan State Oil - Pakistan</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Pakistan Steel Mills Limited - Pakistan</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Pakistan International Airlines - Pakistan</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ui Southern Gas Company – Pakistan</a:t>
                      </a: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Rectangle 3">
            <a:extLst>
              <a:ext uri="{FF2B5EF4-FFF2-40B4-BE49-F238E27FC236}">
                <a16:creationId xmlns:a16="http://schemas.microsoft.com/office/drawing/2014/main" id="{2D8DB6BE-7328-25EE-8E48-015576925372}"/>
              </a:ext>
            </a:extLst>
          </p:cNvPr>
          <p:cNvSpPr txBox="1">
            <a:spLocks noChangeArrowheads="1"/>
          </p:cNvSpPr>
          <p:nvPr/>
        </p:nvSpPr>
        <p:spPr bwMode="auto">
          <a:xfrm>
            <a:off x="3207508" y="1786291"/>
            <a:ext cx="7739779" cy="2931977"/>
          </a:xfrm>
          <a:prstGeom prst="rect">
            <a:avLst/>
          </a:prstGeom>
          <a:noFill/>
          <a:ln w="9525">
            <a:noFill/>
            <a:miter lim="800000"/>
            <a:headEnd/>
            <a:tailEnd/>
          </a:ln>
        </p:spPr>
        <p:txBody>
          <a:bodyPr lIns="108257" tIns="54130" rIns="0" bIns="54130" anchor="t"/>
          <a:lstStyle/>
          <a:p>
            <a:pPr indent="-190131" defTabSz="1208233">
              <a:spcBef>
                <a:spcPts val="300"/>
              </a:spcBef>
              <a:spcAft>
                <a:spcPts val="300"/>
              </a:spcAft>
            </a:pPr>
            <a:r>
              <a:rPr lang="en-US" sz="990" dirty="0">
                <a:solidFill>
                  <a:srgbClr val="26890D"/>
                </a:solidFill>
                <a:latin typeface="Calibri Light" panose="020F0302020204030204" pitchFamily="34" charset="0"/>
                <a:ea typeface="Verdana" panose="020B0604030504040204" pitchFamily="34" charset="0"/>
                <a:cs typeface="Calibri Light" panose="020F0302020204030204" pitchFamily="34" charset="0"/>
              </a:rPr>
              <a:t>Key Relevant Engagements – Outline</a:t>
            </a:r>
          </a:p>
          <a:p>
            <a:pPr lvl="1" indent="0" algn="just" defTabSz="906197">
              <a:spcBef>
                <a:spcPts val="300"/>
              </a:spcBef>
              <a:spcAft>
                <a:spcPts val="591"/>
              </a:spcAft>
              <a:defRP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Arsalan has led several key business continuity engagements in different sectors including Banking, Financial market, Oil &amp; Gas, etc. Key experience includes:</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ea typeface="Verdana"/>
                <a:cs typeface="Calibri Light" panose="020F0302020204030204" pitchFamily="34" charset="0"/>
              </a:rPr>
              <a:t>Engagement Leader for Business Continuity Management Program at one of the largest payment infrastructure provider in Middle East</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ea typeface="Verdana"/>
                <a:cs typeface="Calibri Light" panose="020F0302020204030204" pitchFamily="34" charset="0"/>
              </a:rPr>
              <a:t>Engagement Leader for BCM &amp; DR Development at the leading digital wallet payments in KSA</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ea typeface="Verdana"/>
                <a:cs typeface="Calibri Light" panose="020F0302020204030204" pitchFamily="34" charset="0"/>
              </a:rPr>
              <a:t>Engagement Leader for an end-to-end BCMS development project for technology service provider in KSA</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ea typeface="Verdana"/>
                <a:cs typeface="Calibri Light" panose="020F0302020204030204" pitchFamily="34" charset="0"/>
              </a:rPr>
              <a:t>Engagement Manager for enhancement of BCM Program for the largest stock exchange in the middle east</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ea typeface="Verdana"/>
                <a:cs typeface="Calibri Light" panose="020F0302020204030204" pitchFamily="34" charset="0"/>
              </a:rPr>
              <a:t>Engagement Manager for development and implementation of end-to-end Business Continuity Management Program for one o the G20 central bank</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ea typeface="Verdana"/>
                <a:cs typeface="Calibri Light" panose="020F0302020204030204" pitchFamily="34" charset="0"/>
              </a:rPr>
              <a:t>Subject Matter Expert for the development of IT BCM Program for a large commercial bank in KSA</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ea typeface="Verdana"/>
                <a:cs typeface="Calibri Light" panose="020F0302020204030204" pitchFamily="34" charset="0"/>
              </a:rPr>
              <a:t>Engagement Manager for Development and implementation of end-to-end Business Continuity Management Program for a government authority in Bahrain</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ea typeface="Verdana"/>
                <a:cs typeface="Calibri Light" panose="020F0302020204030204" pitchFamily="34" charset="0"/>
              </a:rPr>
              <a:t>Subject Matter Expert for Development of end-to-end BCM Program at the largest insurance organization in KSA</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ea typeface="Verdana"/>
                <a:cs typeface="Calibri Light" panose="020F0302020204030204" pitchFamily="34" charset="0"/>
              </a:rPr>
              <a:t>Core team member for Business Continuity Enhancement Project (BCEP) at leading LNG company in Qatar assisting the organization in revamping its BCM Program</a:t>
            </a:r>
          </a:p>
        </p:txBody>
      </p:sp>
      <p:pic>
        <p:nvPicPr>
          <p:cNvPr id="8" name="Picture 7" descr="A person with a beard&#10;&#10;Description automatically generated with medium confidence">
            <a:extLst>
              <a:ext uri="{FF2B5EF4-FFF2-40B4-BE49-F238E27FC236}">
                <a16:creationId xmlns:a16="http://schemas.microsoft.com/office/drawing/2014/main" id="{B5136815-E547-E317-1E53-3752C9CB649A}"/>
              </a:ext>
            </a:extLst>
          </p:cNvPr>
          <p:cNvPicPr>
            <a:picLocks noChangeAspect="1"/>
          </p:cNvPicPr>
          <p:nvPr/>
        </p:nvPicPr>
        <p:blipFill rotWithShape="1">
          <a:blip r:embed="rId2"/>
          <a:srcRect t="95" b="-95"/>
          <a:stretch/>
        </p:blipFill>
        <p:spPr>
          <a:xfrm>
            <a:off x="813425" y="327008"/>
            <a:ext cx="1408033" cy="1466058"/>
          </a:xfrm>
          <a:prstGeom prst="ellipse">
            <a:avLst/>
          </a:prstGeom>
          <a:noFill/>
          <a:ln>
            <a:noFill/>
          </a:ln>
        </p:spPr>
      </p:pic>
      <p:sp>
        <p:nvSpPr>
          <p:cNvPr id="9" name="Title 1">
            <a:extLst>
              <a:ext uri="{FF2B5EF4-FFF2-40B4-BE49-F238E27FC236}">
                <a16:creationId xmlns:a16="http://schemas.microsoft.com/office/drawing/2014/main" id="{F89A6F9E-92E3-926E-15BC-0F094753275E}"/>
              </a:ext>
            </a:extLst>
          </p:cNvPr>
          <p:cNvSpPr txBox="1">
            <a:spLocks/>
          </p:cNvSpPr>
          <p:nvPr/>
        </p:nvSpPr>
        <p:spPr>
          <a:xfrm>
            <a:off x="3218086" y="327008"/>
            <a:ext cx="7286397" cy="466096"/>
          </a:xfrm>
          <a:prstGeom prst="rect">
            <a:avLst/>
          </a:prstGeom>
        </p:spPr>
        <p:txBody>
          <a:bodyPr vert="horz" lIns="0" tIns="0" rIns="0" bIns="0" rtlCol="0" anchor="t" anchorCtr="0">
            <a:noAutofit/>
          </a:bodyPr>
          <a:lstStyle>
            <a:lvl1pPr algn="l" defTabSz="916686" rtl="0" eaLnBrk="1" latinLnBrk="0" hangingPunct="1">
              <a:spcBef>
                <a:spcPct val="0"/>
              </a:spcBef>
              <a:buNone/>
              <a:defRPr sz="2807" kern="1200">
                <a:solidFill>
                  <a:schemeClr val="accent1"/>
                </a:solidFill>
                <a:latin typeface="+mj-lt"/>
                <a:ea typeface="+mj-ea"/>
                <a:cs typeface="+mj-cs"/>
              </a:defRPr>
            </a:lvl1pPr>
          </a:lstStyle>
          <a:p>
            <a:pPr defTabSz="905920"/>
            <a:r>
              <a:rPr lang="en-US" sz="2981" dirty="0">
                <a:solidFill>
                  <a:srgbClr val="26890D"/>
                </a:solidFill>
                <a:latin typeface="Calibri Light" panose="020F0302020204030204" pitchFamily="34" charset="0"/>
                <a:cs typeface="Arial" panose="020B0604020202020204" pitchFamily="34" charset="0"/>
              </a:rPr>
              <a:t>Engagement Leader</a:t>
            </a:r>
          </a:p>
        </p:txBody>
      </p:sp>
    </p:spTree>
    <p:extLst>
      <p:ext uri="{BB962C8B-B14F-4D97-AF65-F5344CB8AC3E}">
        <p14:creationId xmlns:p14="http://schemas.microsoft.com/office/powerpoint/2010/main" val="882619924"/>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878E5A-E353-BBC9-02D8-6822309C923F}"/>
              </a:ext>
            </a:extLst>
          </p:cNvPr>
          <p:cNvSpPr/>
          <p:nvPr/>
        </p:nvSpPr>
        <p:spPr>
          <a:xfrm>
            <a:off x="478517" y="2622626"/>
            <a:ext cx="7964025" cy="3216265"/>
          </a:xfrm>
          <a:prstGeom prst="rect">
            <a:avLst/>
          </a:prstGeom>
          <a:solidFill>
            <a:srgbClr val="046A38">
              <a:alpha val="63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Open Sans"/>
              <a:ea typeface="Open Sans"/>
              <a:cs typeface="Open Sans"/>
              <a:sym typeface="Open Sans"/>
            </a:endParaRPr>
          </a:p>
        </p:txBody>
      </p:sp>
      <p:sp>
        <p:nvSpPr>
          <p:cNvPr id="752" name="Title 1"/>
          <p:cNvSpPr txBox="1">
            <a:spLocks noGrp="1"/>
          </p:cNvSpPr>
          <p:nvPr>
            <p:ph type="title"/>
          </p:nvPr>
        </p:nvSpPr>
        <p:spPr>
          <a:prstGeom prst="rect">
            <a:avLst/>
          </a:prstGeom>
        </p:spPr>
        <p:txBody>
          <a:bodyPr/>
          <a:lstStyle/>
          <a:p>
            <a:r>
              <a:rPr lang="en-US" dirty="0">
                <a:latin typeface="+mn-lt"/>
              </a:rPr>
              <a:t>Executive Summary</a:t>
            </a:r>
            <a:endParaRPr dirty="0">
              <a:latin typeface="+mn-lt"/>
            </a:endParaRPr>
          </a:p>
        </p:txBody>
      </p:sp>
      <p:sp>
        <p:nvSpPr>
          <p:cNvPr id="5" name="TextBox 4">
            <a:extLst>
              <a:ext uri="{FF2B5EF4-FFF2-40B4-BE49-F238E27FC236}">
                <a16:creationId xmlns:a16="http://schemas.microsoft.com/office/drawing/2014/main" id="{361504AD-9623-9115-82D2-B4972C529EFF}"/>
              </a:ext>
            </a:extLst>
          </p:cNvPr>
          <p:cNvSpPr txBox="1"/>
          <p:nvPr/>
        </p:nvSpPr>
        <p:spPr>
          <a:xfrm>
            <a:off x="478517" y="2622626"/>
            <a:ext cx="8227072" cy="32162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1219170" rtl="0" eaLnBrk="1" fontAlgn="auto" latinLnBrk="0" hangingPunct="1">
              <a:lnSpc>
                <a:spcPct val="100000"/>
              </a:lnSpc>
              <a:spcBef>
                <a:spcPts val="4800"/>
              </a:spcBef>
              <a:spcAft>
                <a:spcPts val="1200"/>
              </a:spcAft>
              <a:buClrTx/>
              <a:buSzPct val="100000"/>
              <a:buFont typeface="Arial" panose="020B0604020202020204" pitchFamily="34" charset="0"/>
              <a:buNone/>
              <a:tabLst/>
              <a:defRPr/>
            </a:pPr>
            <a:r>
              <a:rPr kumimoji="0" lang="en-US" sz="2400" b="0" i="0" u="none" strike="noStrike" kern="1200" cap="none" spc="0" normalizeH="0" baseline="0" noProof="0" dirty="0">
                <a:ln>
                  <a:noFill/>
                </a:ln>
                <a:solidFill>
                  <a:sysClr val="window" lastClr="FFFFFF"/>
                </a:solidFill>
                <a:effectLst/>
                <a:uLnTx/>
                <a:uFillTx/>
                <a:latin typeface="+mn-lt"/>
                <a:ea typeface="+mn-ea"/>
                <a:cs typeface="Calibri" panose="020F0502020204030204" pitchFamily="34" charset="0"/>
              </a:rPr>
              <a:t>Our mission in </a:t>
            </a:r>
            <a:r>
              <a:rPr kumimoji="0" lang="en-US" sz="2400" b="0" i="0" u="none" strike="noStrike" kern="1200" cap="none" spc="0" normalizeH="0" baseline="0" noProof="0" dirty="0">
                <a:ln>
                  <a:noFill/>
                </a:ln>
                <a:solidFill>
                  <a:srgbClr val="86BC25"/>
                </a:solidFill>
                <a:effectLst/>
                <a:uLnTx/>
                <a:uFillTx/>
                <a:latin typeface="+mn-lt"/>
                <a:ea typeface="+mn-ea"/>
                <a:cs typeface="Calibri" panose="020F0502020204030204" pitchFamily="34" charset="0"/>
              </a:rPr>
              <a:t>Risk Advisory (RA) </a:t>
            </a:r>
            <a:r>
              <a:rPr kumimoji="0" lang="en-US" sz="2400" b="0" i="0" u="none" strike="noStrike" kern="1200" cap="none" spc="0" normalizeH="0" baseline="0" noProof="0" dirty="0">
                <a:ln>
                  <a:noFill/>
                </a:ln>
                <a:solidFill>
                  <a:sysClr val="window" lastClr="FFFFFF"/>
                </a:solidFill>
                <a:effectLst/>
                <a:uLnTx/>
                <a:uFillTx/>
                <a:latin typeface="+mn-lt"/>
                <a:ea typeface="+mn-ea"/>
                <a:cs typeface="Calibri" panose="020F0502020204030204" pitchFamily="34" charset="0"/>
              </a:rPr>
              <a:t>in Deloitte is to protect and create value for organizations by taking a risk intelligent approach towards managing financial, regulatory, technology, and business risks. </a:t>
            </a:r>
          </a:p>
          <a:p>
            <a:pPr marL="0" marR="0" lvl="0" indent="0" algn="l" defTabSz="1219170" rtl="0" eaLnBrk="1" fontAlgn="auto" latinLnBrk="0" hangingPunct="1">
              <a:lnSpc>
                <a:spcPct val="100000"/>
              </a:lnSpc>
              <a:spcBef>
                <a:spcPts val="3000"/>
              </a:spcBef>
              <a:spcAft>
                <a:spcPts val="1333"/>
              </a:spcAft>
              <a:buClrTx/>
              <a:buSzPct val="100000"/>
              <a:buFont typeface="Arial" panose="020B0604020202020204" pitchFamily="34" charset="0"/>
              <a:buNone/>
              <a:tabLst/>
              <a:defRPr/>
            </a:pPr>
            <a:r>
              <a:rPr kumimoji="0" lang="en-US" sz="2400" b="0" i="0" u="none" strike="noStrike" kern="1200" cap="none" spc="0" normalizeH="0" baseline="0" noProof="0" dirty="0">
                <a:ln>
                  <a:noFill/>
                </a:ln>
                <a:solidFill>
                  <a:sysClr val="window" lastClr="FFFFFF"/>
                </a:solidFill>
                <a:effectLst/>
                <a:uLnTx/>
                <a:uFillTx/>
                <a:latin typeface="+mn-lt"/>
                <a:ea typeface="+mn-ea"/>
                <a:cs typeface="Calibri" panose="020F0502020204030204" pitchFamily="34" charset="0"/>
              </a:rPr>
              <a:t>We also strive to provide </a:t>
            </a:r>
            <a:r>
              <a:rPr kumimoji="0" lang="en-US" sz="2400" b="0" i="0" u="none" strike="noStrike" kern="1200" cap="none" spc="0" normalizeH="0" baseline="0" noProof="0" dirty="0">
                <a:ln>
                  <a:noFill/>
                </a:ln>
                <a:solidFill>
                  <a:srgbClr val="86BC25"/>
                </a:solidFill>
                <a:effectLst/>
                <a:uLnTx/>
                <a:uFillTx/>
                <a:latin typeface="+mn-lt"/>
                <a:ea typeface="+mn-ea"/>
                <a:cs typeface="Calibri" panose="020F0502020204030204" pitchFamily="34" charset="0"/>
              </a:rPr>
              <a:t>global, end-to-end, innovative, and risk-intelligent solutions </a:t>
            </a:r>
            <a:r>
              <a:rPr kumimoji="0" lang="en-US" sz="2400" b="0" i="0" u="none" strike="noStrike" kern="1200" cap="none" spc="0" normalizeH="0" baseline="0" noProof="0" dirty="0">
                <a:ln>
                  <a:noFill/>
                </a:ln>
                <a:solidFill>
                  <a:sysClr val="window" lastClr="FFFFFF"/>
                </a:solidFill>
                <a:effectLst/>
                <a:uLnTx/>
                <a:uFillTx/>
                <a:latin typeface="+mn-lt"/>
                <a:ea typeface="+mn-ea"/>
                <a:cs typeface="Calibri" panose="020F0502020204030204" pitchFamily="34" charset="0"/>
              </a:rPr>
              <a:t>tailored to priority industries and segments.</a:t>
            </a:r>
          </a:p>
        </p:txBody>
      </p:sp>
    </p:spTree>
    <p:extLst>
      <p:ext uri="{BB962C8B-B14F-4D97-AF65-F5344CB8AC3E}">
        <p14:creationId xmlns:p14="http://schemas.microsoft.com/office/powerpoint/2010/main" val="3812115710"/>
      </p:ext>
    </p:ext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522CB49-109E-4EDD-E751-0EE9824BCE04}"/>
              </a:ext>
            </a:extLst>
          </p:cNvPr>
          <p:cNvSpPr/>
          <p:nvPr/>
        </p:nvSpPr>
        <p:spPr bwMode="gray">
          <a:xfrm>
            <a:off x="0" y="0"/>
            <a:ext cx="3013535" cy="6858000"/>
          </a:xfrm>
          <a:prstGeom prst="rect">
            <a:avLst/>
          </a:prstGeom>
          <a:solidFill>
            <a:srgbClr val="26890D"/>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Light" panose="020F0302020204030204" pitchFamily="34" charset="0"/>
            </a:endParaRPr>
          </a:p>
        </p:txBody>
      </p:sp>
      <p:sp>
        <p:nvSpPr>
          <p:cNvPr id="3" name="Rectangle 2">
            <a:extLst>
              <a:ext uri="{FF2B5EF4-FFF2-40B4-BE49-F238E27FC236}">
                <a16:creationId xmlns:a16="http://schemas.microsoft.com/office/drawing/2014/main" id="{FEE5A5C6-00CA-5761-1B2C-8DA3C7986C3A}"/>
              </a:ext>
            </a:extLst>
          </p:cNvPr>
          <p:cNvSpPr/>
          <p:nvPr/>
        </p:nvSpPr>
        <p:spPr>
          <a:xfrm>
            <a:off x="65332" y="2011307"/>
            <a:ext cx="2855131" cy="587232"/>
          </a:xfrm>
          <a:prstGeom prst="rect">
            <a:avLst/>
          </a:prstGeom>
        </p:spPr>
        <p:txBody>
          <a:bodyPr wrap="square" lIns="0" tIns="0" rIns="0" bIns="0">
            <a:spAutoFit/>
          </a:bodyPr>
          <a:lstStyle/>
          <a:p>
            <a:pPr algn="ctr" defTabSz="1208233" eaLnBrk="0" hangingPunct="0">
              <a:lnSpc>
                <a:spcPct val="110000"/>
              </a:lnSpc>
              <a:spcAft>
                <a:spcPct val="0"/>
              </a:spcAft>
            </a:pPr>
            <a:r>
              <a:rPr lang="en-US" sz="2381" dirty="0">
                <a:solidFill>
                  <a:prstClr val="white"/>
                </a:solidFill>
                <a:latin typeface="Calibri Light" panose="020F0302020204030204" pitchFamily="34" charset="0"/>
                <a:cs typeface="Arial" panose="020B0604020202020204" pitchFamily="34" charset="0"/>
              </a:rPr>
              <a:t>Esam Shana’a</a:t>
            </a:r>
          </a:p>
          <a:p>
            <a:pPr algn="ctr" defTabSz="1208233" eaLnBrk="0" hangingPunct="0">
              <a:lnSpc>
                <a:spcPct val="110000"/>
              </a:lnSpc>
              <a:spcAft>
                <a:spcPct val="0"/>
              </a:spcAft>
            </a:pPr>
            <a:r>
              <a:rPr lang="en-US" sz="1094" dirty="0">
                <a:solidFill>
                  <a:prstClr val="white"/>
                </a:solidFill>
                <a:latin typeface="Calibri Light" panose="020F0302020204030204" pitchFamily="34" charset="0"/>
                <a:cs typeface="Arial" panose="020B0604020202020204" pitchFamily="34" charset="0"/>
              </a:rPr>
              <a:t>Senior Manager</a:t>
            </a:r>
          </a:p>
        </p:txBody>
      </p:sp>
      <p:sp>
        <p:nvSpPr>
          <p:cNvPr id="4" name="Rectangle 3">
            <a:extLst>
              <a:ext uri="{FF2B5EF4-FFF2-40B4-BE49-F238E27FC236}">
                <a16:creationId xmlns:a16="http://schemas.microsoft.com/office/drawing/2014/main" id="{41DF2F39-BD7B-AA2B-1221-FDC741610E45}"/>
              </a:ext>
            </a:extLst>
          </p:cNvPr>
          <p:cNvSpPr txBox="1">
            <a:spLocks noChangeArrowheads="1"/>
          </p:cNvSpPr>
          <p:nvPr/>
        </p:nvSpPr>
        <p:spPr bwMode="auto">
          <a:xfrm>
            <a:off x="3218077" y="1008862"/>
            <a:ext cx="7739779" cy="906505"/>
          </a:xfrm>
          <a:prstGeom prst="rect">
            <a:avLst/>
          </a:prstGeom>
          <a:noFill/>
          <a:ln w="9525">
            <a:noFill/>
            <a:miter lim="800000"/>
            <a:headEnd/>
            <a:tailEnd/>
          </a:ln>
        </p:spPr>
        <p:txBody>
          <a:bodyPr lIns="108257" tIns="54130" rIns="0" bIns="54130" anchor="t"/>
          <a:lstStyle/>
          <a:p>
            <a:pPr algn="just" defTabSz="1208233" fontAlgn="base">
              <a:spcBef>
                <a:spcPts val="300"/>
              </a:spcBef>
              <a:spcAft>
                <a:spcPts val="300"/>
              </a:spcAft>
            </a:pPr>
            <a:r>
              <a:rPr lang="en-US" sz="943" dirty="0">
                <a:solidFill>
                  <a:srgbClr val="575757"/>
                </a:solidFill>
                <a:latin typeface="Calibri Light" panose="020F0302020204030204" pitchFamily="34" charset="0"/>
              </a:rPr>
              <a:t>Esam is a Senior Manager in Risk Advisory - Cyber &amp; Technology Risk - based in Riyadh with over than 19 years of experience in the field of Business Continuity Management, Risk Management and BCM software implementation. </a:t>
            </a:r>
          </a:p>
          <a:p>
            <a:pPr algn="just" defTabSz="1208233" fontAlgn="base">
              <a:spcBef>
                <a:spcPts val="300"/>
              </a:spcBef>
              <a:spcAft>
                <a:spcPts val="300"/>
              </a:spcAft>
            </a:pPr>
            <a:r>
              <a:rPr lang="en-US" sz="943" dirty="0">
                <a:solidFill>
                  <a:srgbClr val="575757"/>
                </a:solidFill>
                <a:latin typeface="Calibri Light" panose="020F0302020204030204" pitchFamily="34" charset="0"/>
              </a:rPr>
              <a:t>Prior to joining Deloitte, Esam has held several positions with multiple Consulting and Information Technology firms as a Business Continuity Manager.</a:t>
            </a:r>
          </a:p>
          <a:p>
            <a:pPr algn="just" defTabSz="1208233" fontAlgn="base">
              <a:spcBef>
                <a:spcPts val="300"/>
              </a:spcBef>
              <a:spcAft>
                <a:spcPts val="300"/>
              </a:spcAft>
            </a:pPr>
            <a:r>
              <a:rPr lang="en-US" sz="943" dirty="0">
                <a:solidFill>
                  <a:srgbClr val="575757"/>
                </a:solidFill>
                <a:latin typeface="Calibri Light" panose="020F0302020204030204" pitchFamily="34" charset="0"/>
              </a:rPr>
              <a:t>Esam has also worked as an Assistant Risk Manager for one of the leading Banks in Jordan where he was supporting Operational Risk ,Business Continuity and Information Security.</a:t>
            </a:r>
          </a:p>
        </p:txBody>
      </p:sp>
      <p:sp>
        <p:nvSpPr>
          <p:cNvPr id="5" name="Rectangle 4">
            <a:extLst>
              <a:ext uri="{FF2B5EF4-FFF2-40B4-BE49-F238E27FC236}">
                <a16:creationId xmlns:a16="http://schemas.microsoft.com/office/drawing/2014/main" id="{5C7EC52C-CAB0-AFB5-9E73-46E90A5A3C64}"/>
              </a:ext>
            </a:extLst>
          </p:cNvPr>
          <p:cNvSpPr/>
          <p:nvPr/>
        </p:nvSpPr>
        <p:spPr>
          <a:xfrm>
            <a:off x="397549" y="2698487"/>
            <a:ext cx="2370395" cy="3765825"/>
          </a:xfrm>
          <a:prstGeom prst="rect">
            <a:avLst/>
          </a:prstGeom>
        </p:spPr>
        <p:txBody>
          <a:bodyPr wrap="square" lIns="90818" tIns="45410" rIns="90818" bIns="45410" anchor="t">
            <a:spAutoFit/>
          </a:bodyPr>
          <a:lstStyle/>
          <a:p>
            <a:pPr indent="-159629" defTabSz="948386">
              <a:lnSpc>
                <a:spcPts val="1014"/>
              </a:lnSpc>
              <a:spcBef>
                <a:spcPts val="590"/>
              </a:spcBef>
              <a:buClr>
                <a:srgbClr val="000066"/>
              </a:buClr>
              <a:buSzPct val="75000"/>
              <a:tabLst>
                <a:tab pos="1312455" algn="l"/>
              </a:tabLst>
              <a:defRPr/>
            </a:pPr>
            <a:r>
              <a:rPr lang="en-US" sz="1091" dirty="0">
                <a:solidFill>
                  <a:schemeClr val="bg1"/>
                </a:solidFill>
                <a:latin typeface="Calibri Light" panose="020F0302020204030204" pitchFamily="34" charset="0"/>
                <a:ea typeface="Verdana" panose="020B0604030504040204" pitchFamily="34" charset="0"/>
                <a:cs typeface="Calibri Light" panose="020F0302020204030204" pitchFamily="34" charset="0"/>
              </a:rPr>
              <a:t>Professional and Technical Qualification</a:t>
            </a:r>
            <a:endParaRPr lang="en-US" sz="2388" dirty="0">
              <a:solidFill>
                <a:schemeClr val="bg1"/>
              </a:solidFill>
              <a:latin typeface="Calibri Light" panose="020F0302020204030204" pitchFamily="34" charset="0"/>
            </a:endParaRPr>
          </a:p>
          <a:p>
            <a:pPr marL="154122" lvl="2" indent="-152780" defTabSz="771834" fontAlgn="base">
              <a:lnSpc>
                <a:spcPts val="1014"/>
              </a:lnSpc>
              <a:spcBef>
                <a:spcPts val="300"/>
              </a:spcBef>
              <a:spcAft>
                <a:spcPts val="300"/>
              </a:spcAft>
              <a:buClr>
                <a:srgbClr val="00A3E0"/>
              </a:buClr>
              <a:buSzPct val="100000"/>
              <a:buFont typeface="Wingdings" pitchFamily="2" charset="2"/>
              <a:buChar char="§"/>
              <a:tabLst>
                <a:tab pos="4824662" algn="l"/>
              </a:tabLst>
              <a:defRPr/>
            </a:pPr>
            <a:endParaRPr lang="en-GB" sz="1041" dirty="0">
              <a:solidFill>
                <a:srgbClr val="FFFFFF"/>
              </a:solidFill>
              <a:latin typeface="Calibri Light" panose="020F0302020204030204" pitchFamily="34" charset="0"/>
              <a:ea typeface="Verdana" panose="020B0604030504040204" pitchFamily="34" charset="0"/>
            </a:endParaRP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Bachelors of Science (BSc) in Accounting Sciences from Al Mustansiryah University – Iraq</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SO 22301 Business Continuity Management System Lead Implementer.</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SO 27001 Information Security Management Systems Lead Implementer and Lead Auditor. </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by Business Continuity Institute (CBCI) </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Member of the Business Continuity Institute (MBCI)</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SO 27001 Information Security Management Systems Lead Implementer and Lead Auditor. </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endParaRPr lang="en-US" sz="1041" dirty="0">
              <a:solidFill>
                <a:srgbClr val="FFFFFF"/>
              </a:solidFill>
              <a:latin typeface="Calibri Light" panose="020F0302020204030204" pitchFamily="34" charset="0"/>
              <a:ea typeface="Verdana" panose="020B0604030504040204" pitchFamily="34" charset="0"/>
            </a:endParaRPr>
          </a:p>
        </p:txBody>
      </p:sp>
      <p:graphicFrame>
        <p:nvGraphicFramePr>
          <p:cNvPr id="6" name="Table 5">
            <a:extLst>
              <a:ext uri="{FF2B5EF4-FFF2-40B4-BE49-F238E27FC236}">
                <a16:creationId xmlns:a16="http://schemas.microsoft.com/office/drawing/2014/main" id="{1B3BD502-5347-7ED2-773A-522A2E088DE2}"/>
              </a:ext>
            </a:extLst>
          </p:cNvPr>
          <p:cNvGraphicFramePr>
            <a:graphicFrameLocks noGrp="1"/>
          </p:cNvGraphicFramePr>
          <p:nvPr>
            <p:extLst>
              <p:ext uri="{D42A27DB-BD31-4B8C-83A1-F6EECF244321}">
                <p14:modId xmlns:p14="http://schemas.microsoft.com/office/powerpoint/2010/main" val="612187158"/>
              </p:ext>
            </p:extLst>
          </p:nvPr>
        </p:nvGraphicFramePr>
        <p:xfrm>
          <a:off x="3218079" y="4727373"/>
          <a:ext cx="8402716" cy="1280235"/>
        </p:xfrm>
        <a:graphic>
          <a:graphicData uri="http://schemas.openxmlformats.org/drawingml/2006/table">
            <a:tbl>
              <a:tblPr firstRow="1" firstCol="1" bandRow="1"/>
              <a:tblGrid>
                <a:gridCol w="3699717">
                  <a:extLst>
                    <a:ext uri="{9D8B030D-6E8A-4147-A177-3AD203B41FA5}">
                      <a16:colId xmlns:a16="http://schemas.microsoft.com/office/drawing/2014/main" val="20000"/>
                    </a:ext>
                  </a:extLst>
                </a:gridCol>
                <a:gridCol w="4702999">
                  <a:extLst>
                    <a:ext uri="{9D8B030D-6E8A-4147-A177-3AD203B41FA5}">
                      <a16:colId xmlns:a16="http://schemas.microsoft.com/office/drawing/2014/main" val="20001"/>
                    </a:ext>
                  </a:extLst>
                </a:gridCol>
              </a:tblGrid>
              <a:tr h="1280235">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marR="0" lvl="0" indent="-190131" algn="l" defTabSz="1208233"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990" kern="1200" dirty="0">
                          <a:solidFill>
                            <a:srgbClr val="26890D"/>
                          </a:solidFill>
                          <a:latin typeface="Calibri Light" panose="020F0302020204030204" pitchFamily="34" charset="0"/>
                          <a:ea typeface="Verdana" panose="020B0604030504040204" pitchFamily="34" charset="0"/>
                          <a:cs typeface="Calibri Light" panose="020F0302020204030204" pitchFamily="34" charset="0"/>
                        </a:rPr>
                        <a:t>Key Client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tc Solutions in Saudi Arabi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Royal Commission for AlUl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Government Agency in Saudi Arabi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Leading Commercial and Islamic Banks in ME</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lvl="0" indent="0" algn="l" defTabSz="914400" rtl="0" eaLnBrk="1" latinLnBrk="0" hangingPunct="1">
                        <a:spcBef>
                          <a:spcPts val="300"/>
                        </a:spcBef>
                        <a:spcAft>
                          <a:spcPts val="0"/>
                        </a:spcAft>
                        <a:buFont typeface="Arial" panose="020B0604020202020204" pitchFamily="34" charset="0"/>
                        <a:buNone/>
                      </a:pPr>
                      <a:endPar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Uptown Jeddah Company </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Thiqah Business Service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Leading Insurance Company in Jordan</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E-Government Program - Yesser</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audi Railway Company – SAR</a:t>
                      </a: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Rectangle 3">
            <a:extLst>
              <a:ext uri="{FF2B5EF4-FFF2-40B4-BE49-F238E27FC236}">
                <a16:creationId xmlns:a16="http://schemas.microsoft.com/office/drawing/2014/main" id="{115B0AC6-5899-7235-A580-215CFF414D5E}"/>
              </a:ext>
            </a:extLst>
          </p:cNvPr>
          <p:cNvSpPr txBox="1">
            <a:spLocks noChangeArrowheads="1"/>
          </p:cNvSpPr>
          <p:nvPr/>
        </p:nvSpPr>
        <p:spPr bwMode="auto">
          <a:xfrm>
            <a:off x="3218076" y="2112772"/>
            <a:ext cx="7739779" cy="2931977"/>
          </a:xfrm>
          <a:prstGeom prst="rect">
            <a:avLst/>
          </a:prstGeom>
          <a:noFill/>
          <a:ln w="9525">
            <a:noFill/>
            <a:miter lim="800000"/>
            <a:headEnd/>
            <a:tailEnd/>
          </a:ln>
        </p:spPr>
        <p:txBody>
          <a:bodyPr lIns="108257" tIns="54130" rIns="0" bIns="54130" anchor="t"/>
          <a:lstStyle/>
          <a:p>
            <a:pPr indent="-190131" defTabSz="1208233">
              <a:spcBef>
                <a:spcPts val="300"/>
              </a:spcBef>
              <a:spcAft>
                <a:spcPts val="300"/>
              </a:spcAft>
            </a:pPr>
            <a:r>
              <a:rPr lang="en-US" sz="990" dirty="0">
                <a:solidFill>
                  <a:srgbClr val="26890D"/>
                </a:solidFill>
                <a:latin typeface="Calibri Light" panose="020F0302020204030204" pitchFamily="34" charset="0"/>
                <a:ea typeface="Verdana" panose="020B0604030504040204" pitchFamily="34" charset="0"/>
                <a:cs typeface="Calibri Light" panose="020F0302020204030204" pitchFamily="34" charset="0"/>
              </a:rPr>
              <a:t>Key Relevant Engagements – Outline</a:t>
            </a:r>
          </a:p>
          <a:p>
            <a:pPr lvl="1" indent="0" algn="just" defTabSz="906197">
              <a:spcBef>
                <a:spcPts val="300"/>
              </a:spcBef>
              <a:spcAft>
                <a:spcPts val="591"/>
              </a:spcAft>
              <a:defRP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Esam has performed and managed engagements in a wide range of environments, including:</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rPr>
              <a:t>Managed and performed Business Impact Analysis (BIA) exercise that included identifying the urgency of each of the in scope business activities undertaken by the organization by assessing the impact of interrupting those activates over a defined timeframe.</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rPr>
              <a:t>Design/Manage/conduct BCM Awareness and training for Staff. </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rPr>
              <a:t>Development/Review/Update of Business Continuity Plans &amp; Crisis Management Plan (in line with ISO 22301/BS2599 &amp; regulatory guidelines/circulars /regulations).</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rPr>
              <a:t>Executed and managed self assessment exercises that covered Policies, BCPs, BCP testing to ensure alignment with ISO 22301.</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rPr>
              <a:t>Participated in Implementing Disaster Recovery centers, and developing DRPs.</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rPr>
              <a:t>Participated in Implementing Business Alternative sites.</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rPr>
              <a:t>Executed and Managed Implementations of Business continuity Tools.</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rPr>
              <a:t>Conduct BCM Audit against ISO 22301 , SAMA Framework</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rPr>
              <a:t>Managed Risk and Compliance related IT projects.</a:t>
            </a:r>
          </a:p>
        </p:txBody>
      </p:sp>
      <p:pic>
        <p:nvPicPr>
          <p:cNvPr id="8" name="Picture 2">
            <a:extLst>
              <a:ext uri="{FF2B5EF4-FFF2-40B4-BE49-F238E27FC236}">
                <a16:creationId xmlns:a16="http://schemas.microsoft.com/office/drawing/2014/main" id="{3987EEC6-80F3-99D4-D5A9-A5378698CAB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976" t="3959" r="976" b="15861"/>
          <a:stretch/>
        </p:blipFill>
        <p:spPr bwMode="auto">
          <a:xfrm>
            <a:off x="790843" y="290582"/>
            <a:ext cx="1404101" cy="1436567"/>
          </a:xfrm>
          <a:prstGeom prst="ellipse">
            <a:avLst/>
          </a:prstGeom>
          <a:extLst>
            <a:ext uri="{909E8E84-426E-40DD-AFC4-6F175D3DCCD1}">
              <a14:hiddenFill xmlns:a14="http://schemas.microsoft.com/office/drawing/2010/main">
                <a:solidFill>
                  <a:srgbClr val="FFFFFF"/>
                </a:solidFill>
              </a14:hiddenFill>
            </a:ext>
          </a:extLst>
        </p:spPr>
      </p:pic>
      <p:sp>
        <p:nvSpPr>
          <p:cNvPr id="10" name="Title 1">
            <a:extLst>
              <a:ext uri="{FF2B5EF4-FFF2-40B4-BE49-F238E27FC236}">
                <a16:creationId xmlns:a16="http://schemas.microsoft.com/office/drawing/2014/main" id="{8367E878-BB66-F82B-ECF6-91E37D5B6D75}"/>
              </a:ext>
            </a:extLst>
          </p:cNvPr>
          <p:cNvSpPr txBox="1">
            <a:spLocks/>
          </p:cNvSpPr>
          <p:nvPr/>
        </p:nvSpPr>
        <p:spPr>
          <a:xfrm>
            <a:off x="3218086" y="327008"/>
            <a:ext cx="7286397" cy="466096"/>
          </a:xfrm>
          <a:prstGeom prst="rect">
            <a:avLst/>
          </a:prstGeom>
        </p:spPr>
        <p:txBody>
          <a:bodyPr vert="horz" lIns="0" tIns="0" rIns="0" bIns="0" rtlCol="0" anchor="t" anchorCtr="0">
            <a:noAutofit/>
          </a:bodyPr>
          <a:lstStyle>
            <a:lvl1pPr algn="l" defTabSz="916686" rtl="0" eaLnBrk="1" latinLnBrk="0" hangingPunct="1">
              <a:spcBef>
                <a:spcPct val="0"/>
              </a:spcBef>
              <a:buNone/>
              <a:defRPr sz="2807" kern="1200">
                <a:solidFill>
                  <a:schemeClr val="accent1"/>
                </a:solidFill>
                <a:latin typeface="+mj-lt"/>
                <a:ea typeface="+mj-ea"/>
                <a:cs typeface="+mj-cs"/>
              </a:defRPr>
            </a:lvl1pPr>
          </a:lstStyle>
          <a:p>
            <a:pPr defTabSz="905920"/>
            <a:r>
              <a:rPr lang="en-US" sz="2981" dirty="0">
                <a:solidFill>
                  <a:srgbClr val="26890D"/>
                </a:solidFill>
                <a:latin typeface="Calibri Light" panose="020F0302020204030204" pitchFamily="34" charset="0"/>
                <a:cs typeface="Arial" panose="020B0604020202020204" pitchFamily="34" charset="0"/>
              </a:rPr>
              <a:t>Engagement Manager</a:t>
            </a:r>
          </a:p>
        </p:txBody>
      </p:sp>
    </p:spTree>
    <p:extLst>
      <p:ext uri="{BB962C8B-B14F-4D97-AF65-F5344CB8AC3E}">
        <p14:creationId xmlns:p14="http://schemas.microsoft.com/office/powerpoint/2010/main" val="976306375"/>
      </p:ext>
    </p:extLst>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AA91688-6DA9-8C54-4F8C-027EDE18C28E}"/>
              </a:ext>
            </a:extLst>
          </p:cNvPr>
          <p:cNvSpPr/>
          <p:nvPr/>
        </p:nvSpPr>
        <p:spPr bwMode="gray">
          <a:xfrm>
            <a:off x="0" y="0"/>
            <a:ext cx="3013535" cy="6858000"/>
          </a:xfrm>
          <a:prstGeom prst="rect">
            <a:avLst/>
          </a:prstGeom>
          <a:solidFill>
            <a:srgbClr val="26890D"/>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Light" panose="020F0302020204030204" pitchFamily="34" charset="0"/>
            </a:endParaRPr>
          </a:p>
        </p:txBody>
      </p:sp>
      <p:sp>
        <p:nvSpPr>
          <p:cNvPr id="3" name="Rectangle 2">
            <a:extLst>
              <a:ext uri="{FF2B5EF4-FFF2-40B4-BE49-F238E27FC236}">
                <a16:creationId xmlns:a16="http://schemas.microsoft.com/office/drawing/2014/main" id="{20554C7D-4BA0-C54B-3E74-C48B70F67662}"/>
              </a:ext>
            </a:extLst>
          </p:cNvPr>
          <p:cNvSpPr/>
          <p:nvPr/>
        </p:nvSpPr>
        <p:spPr>
          <a:xfrm>
            <a:off x="89875" y="1984623"/>
            <a:ext cx="2855131" cy="587232"/>
          </a:xfrm>
          <a:prstGeom prst="rect">
            <a:avLst/>
          </a:prstGeom>
        </p:spPr>
        <p:txBody>
          <a:bodyPr wrap="square" lIns="0" tIns="0" rIns="0" bIns="0">
            <a:spAutoFit/>
          </a:bodyPr>
          <a:lstStyle/>
          <a:p>
            <a:pPr algn="ctr" defTabSz="1208233" eaLnBrk="0" hangingPunct="0">
              <a:lnSpc>
                <a:spcPct val="110000"/>
              </a:lnSpc>
              <a:spcAft>
                <a:spcPct val="0"/>
              </a:spcAft>
            </a:pPr>
            <a:r>
              <a:rPr lang="en-US" sz="2381" dirty="0">
                <a:solidFill>
                  <a:prstClr val="white"/>
                </a:solidFill>
                <a:latin typeface="Calibri Light" panose="020F0302020204030204" pitchFamily="34" charset="0"/>
                <a:cs typeface="Arial" panose="020B0604020202020204" pitchFamily="34" charset="0"/>
              </a:rPr>
              <a:t>Maarten Smulders</a:t>
            </a:r>
          </a:p>
          <a:p>
            <a:pPr algn="ctr" defTabSz="1208233" eaLnBrk="0" hangingPunct="0">
              <a:lnSpc>
                <a:spcPct val="110000"/>
              </a:lnSpc>
              <a:spcAft>
                <a:spcPct val="0"/>
              </a:spcAft>
            </a:pPr>
            <a:r>
              <a:rPr lang="en-US" sz="1094" dirty="0">
                <a:solidFill>
                  <a:prstClr val="white"/>
                </a:solidFill>
                <a:latin typeface="Calibri Light" panose="020F0302020204030204" pitchFamily="34" charset="0"/>
                <a:cs typeface="Arial" panose="020B0604020202020204" pitchFamily="34" charset="0"/>
              </a:rPr>
              <a:t>Director</a:t>
            </a:r>
          </a:p>
        </p:txBody>
      </p:sp>
      <p:sp>
        <p:nvSpPr>
          <p:cNvPr id="4" name="Rectangle 3">
            <a:extLst>
              <a:ext uri="{FF2B5EF4-FFF2-40B4-BE49-F238E27FC236}">
                <a16:creationId xmlns:a16="http://schemas.microsoft.com/office/drawing/2014/main" id="{0594CD00-3389-D0F5-3022-D8E49A53FBA8}"/>
              </a:ext>
            </a:extLst>
          </p:cNvPr>
          <p:cNvSpPr txBox="1">
            <a:spLocks noChangeArrowheads="1"/>
          </p:cNvSpPr>
          <p:nvPr/>
        </p:nvSpPr>
        <p:spPr bwMode="auto">
          <a:xfrm>
            <a:off x="3218077" y="1008862"/>
            <a:ext cx="7739779" cy="906505"/>
          </a:xfrm>
          <a:prstGeom prst="rect">
            <a:avLst/>
          </a:prstGeom>
          <a:noFill/>
          <a:ln w="9525">
            <a:noFill/>
            <a:miter lim="800000"/>
            <a:headEnd/>
            <a:tailEnd/>
          </a:ln>
        </p:spPr>
        <p:txBody>
          <a:bodyPr lIns="108257" tIns="54130" rIns="0" bIns="54130" anchor="t"/>
          <a:lstStyle/>
          <a:p>
            <a:pPr algn="just" defTabSz="1208233" fontAlgn="base">
              <a:spcBef>
                <a:spcPts val="300"/>
              </a:spcBef>
              <a:spcAft>
                <a:spcPts val="300"/>
              </a:spcAft>
            </a:pPr>
            <a:r>
              <a:rPr lang="en-US" sz="943" dirty="0">
                <a:solidFill>
                  <a:srgbClr val="575757"/>
                </a:solidFill>
                <a:latin typeface="Calibri Light" panose="020F0302020204030204" pitchFamily="34" charset="0"/>
              </a:rPr>
              <a:t>Maarten is an experienced consulting leader in a multidisciplinary, international firm with a track record of the successful management of large and complex engagements, live incident, and crisis situations. He is a subject matter expert in crisis management &amp; operational resilience with 20+ years experience. As a Director of the Deloitte Middle East Risk Advisory Practice Maarten is leading our crisis and resilience services in the region. </a:t>
            </a:r>
          </a:p>
          <a:p>
            <a:pPr algn="just" defTabSz="1208233" fontAlgn="base">
              <a:spcBef>
                <a:spcPts val="300"/>
              </a:spcBef>
              <a:spcAft>
                <a:spcPts val="300"/>
              </a:spcAft>
            </a:pPr>
            <a:r>
              <a:rPr lang="en-US" sz="943" dirty="0">
                <a:solidFill>
                  <a:srgbClr val="575757"/>
                </a:solidFill>
                <a:latin typeface="Calibri Light" panose="020F0302020204030204" pitchFamily="34" charset="0"/>
              </a:rPr>
              <a:t>With a specific focus on our emerging business in KSA and wider region. In times of ongoing geopolitical situations, supply chain challenges, climate change and increasing incidents his mission is to build trust and create space to think. He has extensive experience with IT and technology resilience through supporting clients with disaster recovery planning, third party risk management and cyber incident response. He manages a diverse client portfolio mainly in government &amp; public sector, manufacturing and financial services.</a:t>
            </a:r>
          </a:p>
        </p:txBody>
      </p:sp>
      <p:sp>
        <p:nvSpPr>
          <p:cNvPr id="5" name="Rectangle 4">
            <a:extLst>
              <a:ext uri="{FF2B5EF4-FFF2-40B4-BE49-F238E27FC236}">
                <a16:creationId xmlns:a16="http://schemas.microsoft.com/office/drawing/2014/main" id="{F6EDB31D-C7B1-20A9-EDC1-75915D5C9CA2}"/>
              </a:ext>
            </a:extLst>
          </p:cNvPr>
          <p:cNvSpPr/>
          <p:nvPr/>
        </p:nvSpPr>
        <p:spPr>
          <a:xfrm>
            <a:off x="332245" y="2736588"/>
            <a:ext cx="2370395" cy="1623537"/>
          </a:xfrm>
          <a:prstGeom prst="rect">
            <a:avLst/>
          </a:prstGeom>
        </p:spPr>
        <p:txBody>
          <a:bodyPr wrap="square" lIns="90818" tIns="45410" rIns="90818" bIns="45410" anchor="t">
            <a:spAutoFit/>
          </a:bodyPr>
          <a:lstStyle/>
          <a:p>
            <a:pPr indent="-159629" defTabSz="948386">
              <a:lnSpc>
                <a:spcPts val="1014"/>
              </a:lnSpc>
              <a:spcBef>
                <a:spcPts val="590"/>
              </a:spcBef>
              <a:buClr>
                <a:srgbClr val="000066"/>
              </a:buClr>
              <a:buSzPct val="75000"/>
              <a:tabLst>
                <a:tab pos="1312455" algn="l"/>
              </a:tabLst>
              <a:defRPr/>
            </a:pPr>
            <a:r>
              <a:rPr lang="en-US" sz="1091" dirty="0">
                <a:solidFill>
                  <a:schemeClr val="bg1"/>
                </a:solidFill>
                <a:latin typeface="Calibri Light" panose="020F0302020204030204" pitchFamily="34" charset="0"/>
                <a:ea typeface="Verdana" panose="020B0604030504040204" pitchFamily="34" charset="0"/>
                <a:cs typeface="Calibri Light" panose="020F0302020204030204" pitchFamily="34" charset="0"/>
              </a:rPr>
              <a:t>Professional and Technical Qualification</a:t>
            </a:r>
            <a:endParaRPr lang="en-US" sz="2388" dirty="0">
              <a:solidFill>
                <a:schemeClr val="bg1"/>
              </a:solidFill>
              <a:latin typeface="Calibri Light" panose="020F0302020204030204" pitchFamily="34" charset="0"/>
            </a:endParaRPr>
          </a:p>
          <a:p>
            <a:pPr marL="154122" lvl="2" indent="-152780" defTabSz="771834" fontAlgn="base">
              <a:lnSpc>
                <a:spcPts val="1014"/>
              </a:lnSpc>
              <a:spcBef>
                <a:spcPts val="300"/>
              </a:spcBef>
              <a:spcAft>
                <a:spcPts val="300"/>
              </a:spcAft>
              <a:buClr>
                <a:srgbClr val="00A3E0"/>
              </a:buClr>
              <a:buSzPct val="100000"/>
              <a:buFont typeface="Wingdings" pitchFamily="2" charset="2"/>
              <a:buChar char="§"/>
              <a:tabLst>
                <a:tab pos="4824662" algn="l"/>
              </a:tabLst>
              <a:defRPr/>
            </a:pPr>
            <a:endParaRPr lang="en-GB" sz="1041" dirty="0">
              <a:solidFill>
                <a:srgbClr val="FFFFFF"/>
              </a:solidFill>
              <a:latin typeface="Calibri Light" panose="020F0302020204030204" pitchFamily="34" charset="0"/>
              <a:ea typeface="Verdana" panose="020B0604030504040204" pitchFamily="34" charset="0"/>
            </a:endParaRP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err="1">
                <a:solidFill>
                  <a:srgbClr val="FFFFFF"/>
                </a:solidFill>
                <a:latin typeface="Calibri Light" panose="020F0302020204030204" pitchFamily="34" charset="0"/>
                <a:ea typeface="Verdana" panose="020B0604030504040204" pitchFamily="34" charset="0"/>
              </a:rPr>
              <a:t>Badmin</a:t>
            </a:r>
            <a:r>
              <a:rPr lang="en-US" sz="1041" dirty="0">
                <a:solidFill>
                  <a:srgbClr val="FFFFFF"/>
                </a:solidFill>
                <a:latin typeface="Calibri Light" panose="020F0302020204030204" pitchFamily="34" charset="0"/>
                <a:ea typeface="Verdana" panose="020B0604030504040204" pitchFamily="34" charset="0"/>
              </a:rPr>
              <a:t> Facility Management (2006), Netherlands</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BCI CBCI (2009)</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IRM CIRM (2011)</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BS25999 (2008); ITIL (2012)</a:t>
            </a:r>
          </a:p>
        </p:txBody>
      </p:sp>
      <p:graphicFrame>
        <p:nvGraphicFramePr>
          <p:cNvPr id="6" name="Table 5">
            <a:extLst>
              <a:ext uri="{FF2B5EF4-FFF2-40B4-BE49-F238E27FC236}">
                <a16:creationId xmlns:a16="http://schemas.microsoft.com/office/drawing/2014/main" id="{DEA26916-162D-C565-DEA6-E0593D381177}"/>
              </a:ext>
            </a:extLst>
          </p:cNvPr>
          <p:cNvGraphicFramePr>
            <a:graphicFrameLocks noGrp="1"/>
          </p:cNvGraphicFramePr>
          <p:nvPr>
            <p:extLst>
              <p:ext uri="{D42A27DB-BD31-4B8C-83A1-F6EECF244321}">
                <p14:modId xmlns:p14="http://schemas.microsoft.com/office/powerpoint/2010/main" val="314657353"/>
              </p:ext>
            </p:extLst>
          </p:nvPr>
        </p:nvGraphicFramePr>
        <p:xfrm>
          <a:off x="3218079" y="4991575"/>
          <a:ext cx="8402716" cy="1319775"/>
        </p:xfrm>
        <a:graphic>
          <a:graphicData uri="http://schemas.openxmlformats.org/drawingml/2006/table">
            <a:tbl>
              <a:tblPr firstRow="1" firstCol="1" bandRow="1"/>
              <a:tblGrid>
                <a:gridCol w="3699717">
                  <a:extLst>
                    <a:ext uri="{9D8B030D-6E8A-4147-A177-3AD203B41FA5}">
                      <a16:colId xmlns:a16="http://schemas.microsoft.com/office/drawing/2014/main" val="20000"/>
                    </a:ext>
                  </a:extLst>
                </a:gridCol>
                <a:gridCol w="4702999">
                  <a:extLst>
                    <a:ext uri="{9D8B030D-6E8A-4147-A177-3AD203B41FA5}">
                      <a16:colId xmlns:a16="http://schemas.microsoft.com/office/drawing/2014/main" val="20001"/>
                    </a:ext>
                  </a:extLst>
                </a:gridCol>
              </a:tblGrid>
              <a:tr h="1319775">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marR="0" lvl="0" indent="-190131" algn="l" defTabSz="1208233"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1000" kern="1200" dirty="0">
                          <a:solidFill>
                            <a:srgbClr val="26890D"/>
                          </a:solidFill>
                          <a:latin typeface="Calibri Light" panose="020F0302020204030204" pitchFamily="34" charset="0"/>
                          <a:ea typeface="Verdana" panose="020B0604030504040204" pitchFamily="34" charset="0"/>
                          <a:cs typeface="Calibri Light" panose="020F0302020204030204" pitchFamily="34" charset="0"/>
                        </a:rPr>
                        <a:t>Key Clients</a:t>
                      </a:r>
                      <a:endParaRPr lang="en-US" sz="1000" kern="1200" noProof="0" dirty="0">
                        <a:solidFill>
                          <a:srgbClr val="26890D"/>
                        </a:solidFill>
                        <a:latin typeface="Calibri Light" panose="020F0302020204030204" pitchFamily="34" charset="0"/>
                        <a:ea typeface="Verdana" panose="020B0604030504040204" pitchFamily="34" charset="0"/>
                        <a:cs typeface="Calibri Light" panose="020F0302020204030204" pitchFamily="34" charset="0"/>
                      </a:endParaRP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Technology, Media &amp; Telecommunication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Government &amp; Public Sector</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Financial Service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Consumer &amp; Industrial Product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Energy &amp; Resources</a:t>
                      </a:r>
                    </a:p>
                  </a:txBody>
                  <a:tcPr marL="72116" marR="72116" marT="26967" marB="26967">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lvl="0" indent="0" algn="l" defTabSz="914400" rtl="0" eaLnBrk="1" latinLnBrk="0" hangingPunct="1">
                        <a:spcBef>
                          <a:spcPts val="300"/>
                        </a:spcBef>
                        <a:spcAft>
                          <a:spcPts val="0"/>
                        </a:spcAft>
                        <a:buFont typeface="Arial" panose="020B0604020202020204" pitchFamily="34" charset="0"/>
                        <a:buNone/>
                      </a:pPr>
                      <a:endPar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txBody>
                  <a:tcPr marL="72116" marR="72116" marT="26967" marB="26967">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Rectangle 3">
            <a:extLst>
              <a:ext uri="{FF2B5EF4-FFF2-40B4-BE49-F238E27FC236}">
                <a16:creationId xmlns:a16="http://schemas.microsoft.com/office/drawing/2014/main" id="{2D8DB6BE-7328-25EE-8E48-015576925372}"/>
              </a:ext>
            </a:extLst>
          </p:cNvPr>
          <p:cNvSpPr txBox="1">
            <a:spLocks noChangeArrowheads="1"/>
          </p:cNvSpPr>
          <p:nvPr/>
        </p:nvSpPr>
        <p:spPr bwMode="auto">
          <a:xfrm>
            <a:off x="3207508" y="2253429"/>
            <a:ext cx="7739779" cy="2931977"/>
          </a:xfrm>
          <a:prstGeom prst="rect">
            <a:avLst/>
          </a:prstGeom>
          <a:noFill/>
          <a:ln w="9525">
            <a:noFill/>
            <a:miter lim="800000"/>
            <a:headEnd/>
            <a:tailEnd/>
          </a:ln>
        </p:spPr>
        <p:txBody>
          <a:bodyPr lIns="108257" tIns="54130" rIns="0" bIns="54130" anchor="t"/>
          <a:lstStyle/>
          <a:p>
            <a:pPr indent="-190131" defTabSz="1208233">
              <a:spcBef>
                <a:spcPts val="300"/>
              </a:spcBef>
              <a:spcAft>
                <a:spcPts val="300"/>
              </a:spcAft>
            </a:pPr>
            <a:r>
              <a:rPr lang="en-US" sz="990" dirty="0">
                <a:solidFill>
                  <a:srgbClr val="26890D"/>
                </a:solidFill>
                <a:latin typeface="Calibri Light" panose="020F0302020204030204" pitchFamily="34" charset="0"/>
                <a:ea typeface="Verdana" panose="020B0604030504040204" pitchFamily="34" charset="0"/>
                <a:cs typeface="Calibri Light" panose="020F0302020204030204" pitchFamily="34" charset="0"/>
              </a:rPr>
              <a:t>Key Relevant Engagements – Outline</a:t>
            </a:r>
          </a:p>
          <a:p>
            <a:pPr marL="170354" lvl="1" indent="-170354" algn="just" eaLnBrk="1">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rPr>
              <a:t>Business Continuity for a global industrial products manufacturer: Lead the design and implementation of a global BCM program. Steer and oversee BCP development in +300 entities worldwide. Support senior and executive management with the response to few major disruptive incidents.</a:t>
            </a:r>
          </a:p>
          <a:p>
            <a:pPr marL="170354" lvl="1" indent="-170354" algn="just" eaLnBrk="1">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rPr>
              <a:t>Crisis management assessment for a global consumer brand: Lead a mission to identify and evaluate the global and local crisis management capabilities and overall readiness. Benchmark against peer organizations. Design a roadmap for crisis readiness enhancements. • IT Disaster Recovery for a local life insurer: Lead the design and implementation of Disaster Recovery capabilities for core IT infrastructure, applications and data. Identify business requirements and align DR needs with the technology roadmap. Steer and oversee the DR test program, training of key stakeholders and supplier engagement.</a:t>
            </a:r>
          </a:p>
          <a:p>
            <a:pPr marL="170354" lvl="1" indent="-170354" algn="just" eaLnBrk="1">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rPr>
              <a:t>Business Continuity and Cyber Crisis Management for a global consumer brand: Lead the design and implementation of a BCM program for strategic production and logistics facilities. Lead the development of tactical and strategic playbooks for the response to major cyber incidents. Design and facilitate a cyber crisis exercise for senior and executive management.</a:t>
            </a:r>
          </a:p>
          <a:p>
            <a:pPr marL="170354" lvl="1" indent="-170354" algn="just" eaLnBrk="1">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rPr>
              <a:t>Business Continuity and Crisis Management for a European Institution: Design, implement and continuously improve departmental business continuity plans and the corporate crisis management plan. Design and facilitate annual simulation exercises, BCP tests, training and awareness. Design and deliver an inter-agency CERT simulation exercise to enhance ransomware response capabilities.</a:t>
            </a:r>
          </a:p>
        </p:txBody>
      </p:sp>
      <p:sp>
        <p:nvSpPr>
          <p:cNvPr id="9" name="Title 1">
            <a:extLst>
              <a:ext uri="{FF2B5EF4-FFF2-40B4-BE49-F238E27FC236}">
                <a16:creationId xmlns:a16="http://schemas.microsoft.com/office/drawing/2014/main" id="{F89A6F9E-92E3-926E-15BC-0F094753275E}"/>
              </a:ext>
            </a:extLst>
          </p:cNvPr>
          <p:cNvSpPr txBox="1">
            <a:spLocks/>
          </p:cNvSpPr>
          <p:nvPr/>
        </p:nvSpPr>
        <p:spPr>
          <a:xfrm>
            <a:off x="3218086" y="327008"/>
            <a:ext cx="7286397" cy="466096"/>
          </a:xfrm>
          <a:prstGeom prst="rect">
            <a:avLst/>
          </a:prstGeom>
        </p:spPr>
        <p:txBody>
          <a:bodyPr vert="horz" lIns="0" tIns="0" rIns="0" bIns="0" rtlCol="0" anchor="t" anchorCtr="0">
            <a:noAutofit/>
          </a:bodyPr>
          <a:lstStyle>
            <a:lvl1pPr algn="l" defTabSz="916686" rtl="0" eaLnBrk="1" latinLnBrk="0" hangingPunct="1">
              <a:spcBef>
                <a:spcPct val="0"/>
              </a:spcBef>
              <a:buNone/>
              <a:defRPr sz="2807" kern="1200">
                <a:solidFill>
                  <a:schemeClr val="accent1"/>
                </a:solidFill>
                <a:latin typeface="+mj-lt"/>
                <a:ea typeface="+mj-ea"/>
                <a:cs typeface="+mj-cs"/>
              </a:defRPr>
            </a:lvl1pPr>
          </a:lstStyle>
          <a:p>
            <a:pPr defTabSz="905920"/>
            <a:r>
              <a:rPr lang="en-US" sz="2981" dirty="0">
                <a:solidFill>
                  <a:srgbClr val="26890D"/>
                </a:solidFill>
                <a:latin typeface="Calibri Light" panose="020F0302020204030204" pitchFamily="34" charset="0"/>
                <a:cs typeface="Arial" panose="020B0604020202020204" pitchFamily="34" charset="0"/>
              </a:rPr>
              <a:t>Subject Matter Expert</a:t>
            </a:r>
          </a:p>
        </p:txBody>
      </p:sp>
      <p:pic>
        <p:nvPicPr>
          <p:cNvPr id="11" name="Picture 10">
            <a:extLst>
              <a:ext uri="{FF2B5EF4-FFF2-40B4-BE49-F238E27FC236}">
                <a16:creationId xmlns:a16="http://schemas.microsoft.com/office/drawing/2014/main" id="{1254CA5B-F453-CDBE-D502-C1FFE877BBDC}"/>
              </a:ext>
            </a:extLst>
          </p:cNvPr>
          <p:cNvPicPr>
            <a:picLocks noChangeAspect="1"/>
          </p:cNvPicPr>
          <p:nvPr/>
        </p:nvPicPr>
        <p:blipFill rotWithShape="1">
          <a:blip r:embed="rId2"/>
          <a:srcRect l="-1104" t="-1" r="12466" b="41060"/>
          <a:stretch/>
        </p:blipFill>
        <p:spPr>
          <a:xfrm>
            <a:off x="759089" y="351540"/>
            <a:ext cx="1478203" cy="1420013"/>
          </a:xfrm>
          <a:prstGeom prst="ellipse">
            <a:avLst/>
          </a:prstGeom>
          <a:noFill/>
          <a:ln>
            <a:noFill/>
          </a:ln>
        </p:spPr>
      </p:pic>
    </p:spTree>
    <p:extLst>
      <p:ext uri="{BB962C8B-B14F-4D97-AF65-F5344CB8AC3E}">
        <p14:creationId xmlns:p14="http://schemas.microsoft.com/office/powerpoint/2010/main" val="3126853509"/>
      </p:ext>
    </p:extLst>
  </p:cSld>
  <p:clrMapOvr>
    <a:masterClrMapping/>
  </p:clrMapOvr>
  <p:transition spd="med"/>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F4C9C3C-0DAA-4619-945C-908722C1A486}"/>
              </a:ext>
            </a:extLst>
          </p:cNvPr>
          <p:cNvSpPr/>
          <p:nvPr/>
        </p:nvSpPr>
        <p:spPr bwMode="gray">
          <a:xfrm>
            <a:off x="0" y="0"/>
            <a:ext cx="3013535" cy="6858000"/>
          </a:xfrm>
          <a:prstGeom prst="rect">
            <a:avLst/>
          </a:prstGeom>
          <a:solidFill>
            <a:srgbClr val="26890D"/>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Light" panose="020F0302020204030204" pitchFamily="34" charset="0"/>
            </a:endParaRPr>
          </a:p>
        </p:txBody>
      </p:sp>
      <p:sp>
        <p:nvSpPr>
          <p:cNvPr id="13" name="Rectangle 12">
            <a:extLst>
              <a:ext uri="{FF2B5EF4-FFF2-40B4-BE49-F238E27FC236}">
                <a16:creationId xmlns:a16="http://schemas.microsoft.com/office/drawing/2014/main" id="{B711C444-4604-C5B9-3E95-EB7CE243AB69}"/>
              </a:ext>
            </a:extLst>
          </p:cNvPr>
          <p:cNvSpPr/>
          <p:nvPr/>
        </p:nvSpPr>
        <p:spPr>
          <a:xfrm>
            <a:off x="396607" y="2733061"/>
            <a:ext cx="2291509" cy="2020825"/>
          </a:xfrm>
          <a:prstGeom prst="rect">
            <a:avLst/>
          </a:prstGeom>
        </p:spPr>
        <p:txBody>
          <a:bodyPr wrap="square" lIns="90818" tIns="45410" rIns="90818" bIns="45410" anchor="t">
            <a:spAutoFit/>
          </a:bodyPr>
          <a:lstStyle/>
          <a:p>
            <a:pPr indent="-159629" defTabSz="948386">
              <a:lnSpc>
                <a:spcPts val="1014"/>
              </a:lnSpc>
              <a:spcBef>
                <a:spcPts val="590"/>
              </a:spcBef>
              <a:buClr>
                <a:srgbClr val="000066"/>
              </a:buClr>
              <a:buSzPct val="75000"/>
              <a:tabLst>
                <a:tab pos="1312455" algn="l"/>
              </a:tabLst>
              <a:defRPr/>
            </a:pPr>
            <a:r>
              <a:rPr lang="en-US" sz="1091" dirty="0">
                <a:solidFill>
                  <a:schemeClr val="bg1"/>
                </a:solidFill>
                <a:latin typeface="Calibri Light" panose="020F0302020204030204" pitchFamily="34" charset="0"/>
                <a:ea typeface="Verdana" panose="020B0604030504040204" pitchFamily="34" charset="0"/>
                <a:cs typeface="Calibri Light" panose="020F0302020204030204" pitchFamily="34" charset="0"/>
              </a:rPr>
              <a:t>Professional and Technical Qualification</a:t>
            </a:r>
            <a:endParaRPr lang="en-US" sz="2388" dirty="0">
              <a:solidFill>
                <a:schemeClr val="bg1"/>
              </a:solidFill>
              <a:latin typeface="Calibri Light" panose="020F0302020204030204" pitchFamily="34" charset="0"/>
            </a:endParaRPr>
          </a:p>
          <a:p>
            <a:pPr marL="154122" lvl="2" indent="-152780" defTabSz="771834" fontAlgn="base">
              <a:lnSpc>
                <a:spcPts val="1014"/>
              </a:lnSpc>
              <a:spcBef>
                <a:spcPts val="300"/>
              </a:spcBef>
              <a:spcAft>
                <a:spcPts val="300"/>
              </a:spcAft>
              <a:buClr>
                <a:srgbClr val="00A3E0"/>
              </a:buClr>
              <a:buSzPct val="100000"/>
              <a:buFont typeface="Wingdings" pitchFamily="2" charset="2"/>
              <a:buChar char="§"/>
              <a:tabLst>
                <a:tab pos="4824662" algn="l"/>
              </a:tabLst>
              <a:defRPr/>
            </a:pPr>
            <a:endParaRPr lang="en-GB" sz="1041" dirty="0">
              <a:solidFill>
                <a:srgbClr val="FFFFFF"/>
              </a:solidFill>
              <a:latin typeface="Calibri Light" panose="020F0302020204030204" pitchFamily="34" charset="0"/>
              <a:ea typeface="Verdana" panose="020B0604030504040204" pitchFamily="34" charset="0"/>
            </a:endParaRP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BSc Business Computing</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University of Surrey</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Diploma Core Leadership-Stockholm School of Economics Oslo, Bangkok, Dubai</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SO/IEC 27001 LA</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SAP Certified Consultant (FICO)</a:t>
            </a:r>
          </a:p>
        </p:txBody>
      </p:sp>
      <p:sp>
        <p:nvSpPr>
          <p:cNvPr id="15" name="Rectangle 14">
            <a:extLst>
              <a:ext uri="{FF2B5EF4-FFF2-40B4-BE49-F238E27FC236}">
                <a16:creationId xmlns:a16="http://schemas.microsoft.com/office/drawing/2014/main" id="{DE0C5158-941F-A750-C95F-1A1D3CFE1905}"/>
              </a:ext>
            </a:extLst>
          </p:cNvPr>
          <p:cNvSpPr/>
          <p:nvPr/>
        </p:nvSpPr>
        <p:spPr>
          <a:xfrm>
            <a:off x="72685" y="1988718"/>
            <a:ext cx="2855131" cy="587232"/>
          </a:xfrm>
          <a:prstGeom prst="rect">
            <a:avLst/>
          </a:prstGeom>
        </p:spPr>
        <p:txBody>
          <a:bodyPr wrap="square" lIns="0" tIns="0" rIns="0" bIns="0">
            <a:spAutoFit/>
          </a:bodyPr>
          <a:lstStyle/>
          <a:p>
            <a:pPr algn="ctr" defTabSz="1208233" eaLnBrk="0" hangingPunct="0">
              <a:lnSpc>
                <a:spcPct val="110000"/>
              </a:lnSpc>
              <a:spcAft>
                <a:spcPct val="0"/>
              </a:spcAft>
            </a:pPr>
            <a:r>
              <a:rPr lang="en-US" sz="2381" dirty="0">
                <a:solidFill>
                  <a:prstClr val="white"/>
                </a:solidFill>
                <a:latin typeface="Calibri Light" panose="020F0302020204030204" pitchFamily="34" charset="0"/>
                <a:cs typeface="Arial" panose="020B0604020202020204" pitchFamily="34" charset="0"/>
              </a:rPr>
              <a:t>Syed Waqi Hasan </a:t>
            </a:r>
          </a:p>
          <a:p>
            <a:pPr algn="ctr" defTabSz="1208233" eaLnBrk="0" hangingPunct="0">
              <a:lnSpc>
                <a:spcPct val="110000"/>
              </a:lnSpc>
              <a:spcAft>
                <a:spcPct val="0"/>
              </a:spcAft>
            </a:pPr>
            <a:r>
              <a:rPr lang="en-US" sz="1094" dirty="0">
                <a:solidFill>
                  <a:prstClr val="white"/>
                </a:solidFill>
                <a:latin typeface="Calibri Light" panose="020F0302020204030204" pitchFamily="34" charset="0"/>
                <a:cs typeface="Arial" panose="020B0604020202020204" pitchFamily="34" charset="0"/>
              </a:rPr>
              <a:t>Senior Manager</a:t>
            </a:r>
          </a:p>
        </p:txBody>
      </p:sp>
      <p:sp>
        <p:nvSpPr>
          <p:cNvPr id="18" name="Title 1">
            <a:extLst>
              <a:ext uri="{FF2B5EF4-FFF2-40B4-BE49-F238E27FC236}">
                <a16:creationId xmlns:a16="http://schemas.microsoft.com/office/drawing/2014/main" id="{9B65D88F-0882-747E-DB74-A182995A99CB}"/>
              </a:ext>
            </a:extLst>
          </p:cNvPr>
          <p:cNvSpPr txBox="1">
            <a:spLocks/>
          </p:cNvSpPr>
          <p:nvPr/>
        </p:nvSpPr>
        <p:spPr>
          <a:xfrm>
            <a:off x="3218086" y="327008"/>
            <a:ext cx="7286397" cy="466096"/>
          </a:xfrm>
          <a:prstGeom prst="rect">
            <a:avLst/>
          </a:prstGeom>
        </p:spPr>
        <p:txBody>
          <a:bodyPr vert="horz" lIns="0" tIns="0" rIns="0" bIns="0" rtlCol="0" anchor="t" anchorCtr="0">
            <a:noAutofit/>
          </a:bodyPr>
          <a:lstStyle>
            <a:lvl1pPr algn="l" defTabSz="916686" rtl="0" eaLnBrk="1" latinLnBrk="0" hangingPunct="1">
              <a:spcBef>
                <a:spcPct val="0"/>
              </a:spcBef>
              <a:buNone/>
              <a:defRPr sz="2807" kern="1200">
                <a:solidFill>
                  <a:schemeClr val="accent1"/>
                </a:solidFill>
                <a:latin typeface="+mj-lt"/>
                <a:ea typeface="+mj-ea"/>
                <a:cs typeface="+mj-cs"/>
              </a:defRPr>
            </a:lvl1pPr>
          </a:lstStyle>
          <a:p>
            <a:pPr defTabSz="905920"/>
            <a:r>
              <a:rPr lang="en-US" sz="2981" dirty="0">
                <a:solidFill>
                  <a:srgbClr val="26890D"/>
                </a:solidFill>
                <a:latin typeface="Calibri Light" panose="020F0302020204030204" pitchFamily="34" charset="0"/>
                <a:cs typeface="Arial" panose="020B0604020202020204" pitchFamily="34" charset="0"/>
              </a:rPr>
              <a:t>Subject Matter Expert</a:t>
            </a:r>
          </a:p>
        </p:txBody>
      </p:sp>
      <p:pic>
        <p:nvPicPr>
          <p:cNvPr id="19" name="Picture 2" descr="Profile photo of Syed Waqi Hasan">
            <a:extLst>
              <a:ext uri="{FF2B5EF4-FFF2-40B4-BE49-F238E27FC236}">
                <a16:creationId xmlns:a16="http://schemas.microsoft.com/office/drawing/2014/main" id="{A0041A2E-67A0-4C9B-33F2-0D4748DE1F5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9185" y="276470"/>
            <a:ext cx="1417320" cy="1417320"/>
          </a:xfrm>
          <a:prstGeom prst="ellipse">
            <a:avLst/>
          </a:prstGeom>
          <a:ln w="127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20" name="Rectangle 3">
            <a:extLst>
              <a:ext uri="{FF2B5EF4-FFF2-40B4-BE49-F238E27FC236}">
                <a16:creationId xmlns:a16="http://schemas.microsoft.com/office/drawing/2014/main" id="{225B1456-E61D-D549-183A-F5CEC9405FDD}"/>
              </a:ext>
            </a:extLst>
          </p:cNvPr>
          <p:cNvSpPr txBox="1">
            <a:spLocks noChangeArrowheads="1"/>
          </p:cNvSpPr>
          <p:nvPr/>
        </p:nvSpPr>
        <p:spPr bwMode="auto">
          <a:xfrm>
            <a:off x="3218077" y="1008862"/>
            <a:ext cx="7739779" cy="906505"/>
          </a:xfrm>
          <a:prstGeom prst="rect">
            <a:avLst/>
          </a:prstGeom>
          <a:noFill/>
          <a:ln w="9525">
            <a:noFill/>
            <a:miter lim="800000"/>
            <a:headEnd/>
            <a:tailEnd/>
          </a:ln>
        </p:spPr>
        <p:txBody>
          <a:bodyPr lIns="108257" tIns="54130" rIns="0" bIns="5413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991" dirty="0">
                <a:solidFill>
                  <a:srgbClr val="575757"/>
                </a:solidFill>
                <a:latin typeface="Calibri Light" panose="020F0302020204030204" pitchFamily="34" charset="0"/>
              </a:rPr>
              <a:t>Syed Waqi Hasan is a Senior Manager at Deloitte’s Cyber Risk Advisory Practice. Waqi holds a Bachelor’s degree in Business Computing from University of Surrey, United Kingdom with more than 18 years of experience in Big Four Advisory, Telecommunications, Banks, Oil &amp; Gas, Manufacturing and Fintech sectors. Waqi has led teams in various projects including IT SOX 404 &amp; ISO 27001 Implementation and Compliance, Cyber &amp; Information Security Risk Management, IT Internal Audits, Business Continuity and IT Risk Management.</a:t>
            </a:r>
          </a:p>
        </p:txBody>
      </p:sp>
      <p:graphicFrame>
        <p:nvGraphicFramePr>
          <p:cNvPr id="21" name="Table 20">
            <a:extLst>
              <a:ext uri="{FF2B5EF4-FFF2-40B4-BE49-F238E27FC236}">
                <a16:creationId xmlns:a16="http://schemas.microsoft.com/office/drawing/2014/main" id="{E7B23A76-E535-3A24-A5C0-8003874E7D3C}"/>
              </a:ext>
            </a:extLst>
          </p:cNvPr>
          <p:cNvGraphicFramePr>
            <a:graphicFrameLocks noGrp="1"/>
          </p:cNvGraphicFramePr>
          <p:nvPr>
            <p:extLst>
              <p:ext uri="{D42A27DB-BD31-4B8C-83A1-F6EECF244321}">
                <p14:modId xmlns:p14="http://schemas.microsoft.com/office/powerpoint/2010/main" val="2497509753"/>
              </p:ext>
            </p:extLst>
          </p:nvPr>
        </p:nvGraphicFramePr>
        <p:xfrm>
          <a:off x="3218079" y="4420855"/>
          <a:ext cx="8402716" cy="2147908"/>
        </p:xfrm>
        <a:graphic>
          <a:graphicData uri="http://schemas.openxmlformats.org/drawingml/2006/table">
            <a:tbl>
              <a:tblPr firstRow="1" firstCol="1" bandRow="1"/>
              <a:tblGrid>
                <a:gridCol w="3699717">
                  <a:extLst>
                    <a:ext uri="{9D8B030D-6E8A-4147-A177-3AD203B41FA5}">
                      <a16:colId xmlns:a16="http://schemas.microsoft.com/office/drawing/2014/main" val="20000"/>
                    </a:ext>
                  </a:extLst>
                </a:gridCol>
                <a:gridCol w="4702999">
                  <a:extLst>
                    <a:ext uri="{9D8B030D-6E8A-4147-A177-3AD203B41FA5}">
                      <a16:colId xmlns:a16="http://schemas.microsoft.com/office/drawing/2014/main" val="20001"/>
                    </a:ext>
                  </a:extLst>
                </a:gridCol>
              </a:tblGrid>
              <a:tr h="1918889">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marR="0" lvl="0" indent="-190131" algn="l" defTabSz="1208233" rtl="0" eaLnBrk="1" fontAlgn="auto" latinLnBrk="0" hangingPunct="0">
                        <a:lnSpc>
                          <a:spcPct val="100000"/>
                        </a:lnSpc>
                        <a:spcBef>
                          <a:spcPts val="300"/>
                        </a:spcBef>
                        <a:spcAft>
                          <a:spcPts val="300"/>
                        </a:spcAft>
                        <a:buClrTx/>
                        <a:buSzTx/>
                        <a:buFontTx/>
                        <a:buNone/>
                        <a:tabLst/>
                        <a:defRPr/>
                      </a:pPr>
                      <a:r>
                        <a:rPr kumimoji="0" lang="en-GB" sz="990" b="0" i="0" u="none" strike="noStrike" cap="none" spc="0" normalizeH="0" baseline="0" dirty="0">
                          <a:ln>
                            <a:noFill/>
                          </a:ln>
                          <a:solidFill>
                            <a:srgbClr val="26890D"/>
                          </a:solidFill>
                          <a:effectLst/>
                          <a:uFillTx/>
                          <a:latin typeface="Calibri Light" panose="020F0302020204030204" pitchFamily="34" charset="0"/>
                          <a:ea typeface="Verdana" panose="020B0604030504040204" pitchFamily="34" charset="0"/>
                          <a:cs typeface="Calibri Light" panose="020F0302020204030204" pitchFamily="34" charset="0"/>
                          <a:sym typeface="Open Sans Light"/>
                        </a:rPr>
                        <a:t>Key Client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tc (KS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olutions (KS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Telenor</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tc Channel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tc Specialized</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GSK</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Pakistan Petroleum Limited</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Faysal Bank</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Bank Alfalah</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lvl="0" indent="0" algn="l" defTabSz="914400" rtl="0" eaLnBrk="1" latinLnBrk="0" hangingPunct="1">
                        <a:spcBef>
                          <a:spcPts val="300"/>
                        </a:spcBef>
                        <a:spcAft>
                          <a:spcPts val="0"/>
                        </a:spcAft>
                        <a:buFont typeface="Arial" panose="020B0604020202020204" pitchFamily="34" charset="0"/>
                        <a:buNone/>
                      </a:pPr>
                      <a:endPar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ICI Pakistan Limited</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Abbot Laboratorie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Public Procurement Authority</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Pakistan Stock Exchange </a:t>
                      </a: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2" name="Rectangle 3">
            <a:extLst>
              <a:ext uri="{FF2B5EF4-FFF2-40B4-BE49-F238E27FC236}">
                <a16:creationId xmlns:a16="http://schemas.microsoft.com/office/drawing/2014/main" id="{DAD1AE0E-9886-9EC5-725A-D9D413BEE81E}"/>
              </a:ext>
            </a:extLst>
          </p:cNvPr>
          <p:cNvSpPr txBox="1">
            <a:spLocks noChangeArrowheads="1"/>
          </p:cNvSpPr>
          <p:nvPr/>
        </p:nvSpPr>
        <p:spPr bwMode="auto">
          <a:xfrm>
            <a:off x="3207508" y="1731428"/>
            <a:ext cx="7739779" cy="2655638"/>
          </a:xfrm>
          <a:prstGeom prst="rect">
            <a:avLst/>
          </a:prstGeom>
          <a:noFill/>
          <a:ln w="9525">
            <a:noFill/>
            <a:miter lim="800000"/>
            <a:headEnd/>
            <a:tailEnd/>
          </a:ln>
        </p:spPr>
        <p:txBody>
          <a:bodyPr lIns="108257" tIns="54130" rIns="0" bIns="54130" anchor="t"/>
          <a:lstStyle/>
          <a:p>
            <a:pPr lvl="0" indent="-190131" defTabSz="1208233" eaLnBrk="1">
              <a:spcBef>
                <a:spcPts val="300"/>
              </a:spcBef>
              <a:spcAft>
                <a:spcPts val="300"/>
              </a:spcAft>
              <a:defRPr/>
            </a:pPr>
            <a:r>
              <a:rPr lang="en-US" sz="990" dirty="0">
                <a:solidFill>
                  <a:srgbClr val="26890D"/>
                </a:solidFill>
                <a:latin typeface="Calibri Light" panose="020F0302020204030204" pitchFamily="34" charset="0"/>
                <a:ea typeface="Verdana" panose="020B0604030504040204" pitchFamily="34" charset="0"/>
                <a:cs typeface="Calibri Light" panose="020F0302020204030204" pitchFamily="34" charset="0"/>
              </a:rPr>
              <a:t>Key Relevant Engagements – Outline</a:t>
            </a:r>
          </a:p>
          <a:p>
            <a:pPr marL="0" marR="0" lvl="1" indent="0" algn="just" defTabSz="914400" rtl="0" eaLnBrk="1" fontAlgn="auto" latinLnBrk="0" hangingPunct="1">
              <a:lnSpc>
                <a:spcPct val="100000"/>
              </a:lnSpc>
              <a:spcBef>
                <a:spcPts val="200"/>
              </a:spcBef>
              <a:spcAft>
                <a:spcPts val="200"/>
              </a:spcAft>
              <a:buClrTx/>
              <a:buSzPts val="1000"/>
              <a:buFontTx/>
              <a:buNone/>
              <a:tabLst>
                <a:tab pos="225959" algn="l"/>
              </a:tabLst>
              <a:defRPr/>
            </a:pPr>
            <a:r>
              <a:rPr lang="en-US" sz="991" dirty="0">
                <a:solidFill>
                  <a:srgbClr val="575757"/>
                </a:solidFill>
                <a:latin typeface="Calibri Light" panose="020F0302020204030204" pitchFamily="34" charset="0"/>
              </a:rPr>
              <a:t>Waqi </a:t>
            </a: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has led several key business continuity engagements in different sectors including Banking, Telecom, Manufacturing, etc. Key experience includes:</a:t>
            </a:r>
          </a:p>
          <a:p>
            <a:pPr marL="170354" marR="0" lvl="1" indent="-170354" algn="just" defTabSz="914400" rtl="0" eaLnBrk="1" fontAlgn="auto" latinLnBrk="0" hangingPunct="1">
              <a:lnSpc>
                <a:spcPct val="100000"/>
              </a:lnSpc>
              <a:spcBef>
                <a:spcPts val="200"/>
              </a:spcBef>
              <a:spcAft>
                <a:spcPts val="200"/>
              </a:spcAft>
              <a:buClrTx/>
              <a:buSzPts val="1000"/>
              <a:buFont typeface="Arial"/>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Verdana"/>
                <a:cs typeface="Calibri Light" panose="020F0302020204030204" pitchFamily="34" charset="0"/>
              </a:rPr>
              <a:t>Engagement Leader for Business Continuity Management Maturity Assessment at stc head office and its 13 subsidiaries , the largest telco service in the kingdom. </a:t>
            </a:r>
          </a:p>
          <a:p>
            <a:pPr marL="170354" marR="0" lvl="1" indent="-170354" algn="just" defTabSz="914400" rtl="0" eaLnBrk="1" fontAlgn="auto" latinLnBrk="0" hangingPunct="1">
              <a:lnSpc>
                <a:spcPct val="100000"/>
              </a:lnSpc>
              <a:spcBef>
                <a:spcPts val="200"/>
              </a:spcBef>
              <a:spcAft>
                <a:spcPts val="200"/>
              </a:spcAft>
              <a:buClrTx/>
              <a:buSzPts val="1000"/>
              <a:buFont typeface="Arial"/>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Verdana"/>
                <a:cs typeface="Calibri Light" panose="020F0302020204030204" pitchFamily="34" charset="0"/>
              </a:rPr>
              <a:t>Waqi has served as member of Business Continuity Steering Committee for the Telenor Pakistan and has led Business Continuity and Disaster Recovery initiatives for IT and Technology divisions.</a:t>
            </a:r>
          </a:p>
          <a:p>
            <a:pPr marL="170354" marR="0" lvl="1" indent="-170354" algn="just" defTabSz="914400" rtl="0" eaLnBrk="1" fontAlgn="auto" latinLnBrk="0" hangingPunct="1">
              <a:lnSpc>
                <a:spcPct val="100000"/>
              </a:lnSpc>
              <a:spcBef>
                <a:spcPts val="200"/>
              </a:spcBef>
              <a:spcAft>
                <a:spcPts val="200"/>
              </a:spcAft>
              <a:buClrTx/>
              <a:buSzPts val="1000"/>
              <a:buFont typeface="Arial"/>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Verdana"/>
                <a:cs typeface="Calibri Light" panose="020F0302020204030204" pitchFamily="34" charset="0"/>
              </a:rPr>
              <a:t>Led the development of Business Continuity Plan and conducted Business Impact Analysis for Faysal Bank.</a:t>
            </a:r>
          </a:p>
          <a:p>
            <a:pPr marL="170354" marR="0" lvl="1" indent="-170354" algn="just" defTabSz="914400" rtl="0" eaLnBrk="1" fontAlgn="auto" latinLnBrk="0" hangingPunct="1">
              <a:lnSpc>
                <a:spcPct val="100000"/>
              </a:lnSpc>
              <a:spcBef>
                <a:spcPts val="200"/>
              </a:spcBef>
              <a:spcAft>
                <a:spcPts val="200"/>
              </a:spcAft>
              <a:buClrTx/>
              <a:buSzPts val="1000"/>
              <a:buFont typeface="Arial"/>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Verdana"/>
                <a:cs typeface="Calibri Light" panose="020F0302020204030204" pitchFamily="34" charset="0"/>
              </a:rPr>
              <a:t>Waqi served as the member of Steering Committee for the launch of Easy Paisa ensuring that the first Mobile Banking platform in Pakistan is compliant with the Information Security, Disaster Recovery and Business Continuity requirements of Telenor Group and the State Bank of Pakistan. </a:t>
            </a:r>
          </a:p>
          <a:p>
            <a:pPr marL="170354" marR="0" lvl="1" indent="-170354" algn="just" defTabSz="914400" rtl="0" eaLnBrk="1" fontAlgn="auto" latinLnBrk="0" hangingPunct="1">
              <a:lnSpc>
                <a:spcPct val="100000"/>
              </a:lnSpc>
              <a:spcBef>
                <a:spcPts val="200"/>
              </a:spcBef>
              <a:spcAft>
                <a:spcPts val="200"/>
              </a:spcAft>
              <a:buClrTx/>
              <a:buSzPts val="1000"/>
              <a:buFont typeface="Arial"/>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Verdana"/>
                <a:cs typeface="Calibri Light" panose="020F0302020204030204" pitchFamily="34" charset="0"/>
              </a:rPr>
              <a:t>Waqi worked closely with State Bank of Pakistan to develop Branchless Banking Guidelines and achieved the first ISO27001 certification for Mobile Banking in Pakistan.</a:t>
            </a:r>
          </a:p>
          <a:p>
            <a:pPr marL="170354" marR="0" lvl="1" indent="-170354" algn="just" defTabSz="914400" rtl="0" eaLnBrk="1" fontAlgn="auto" latinLnBrk="0" hangingPunct="1">
              <a:lnSpc>
                <a:spcPct val="100000"/>
              </a:lnSpc>
              <a:spcBef>
                <a:spcPts val="200"/>
              </a:spcBef>
              <a:spcAft>
                <a:spcPts val="200"/>
              </a:spcAft>
              <a:buClrTx/>
              <a:buSzPts val="1000"/>
              <a:buFont typeface="Arial"/>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Verdana"/>
                <a:cs typeface="Calibri Light" panose="020F0302020204030204" pitchFamily="34" charset="0"/>
              </a:rPr>
              <a:t>Core team member for Business Continuity Enhancement Project (BCEP) at leading LNG company in Qatar assisting the organization in revamping its BCM Program.</a:t>
            </a:r>
          </a:p>
        </p:txBody>
      </p:sp>
    </p:spTree>
    <p:extLst>
      <p:ext uri="{BB962C8B-B14F-4D97-AF65-F5344CB8AC3E}">
        <p14:creationId xmlns:p14="http://schemas.microsoft.com/office/powerpoint/2010/main" val="3857555022"/>
      </p:ext>
    </p:extLst>
  </p:cSld>
  <p:clrMapOvr>
    <a:masterClrMapping/>
  </p:clrMapOvr>
  <p:transition spd="med"/>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390FE3C-98AD-B75C-06C1-1ECD168B4091}"/>
              </a:ext>
            </a:extLst>
          </p:cNvPr>
          <p:cNvSpPr/>
          <p:nvPr/>
        </p:nvSpPr>
        <p:spPr bwMode="gray">
          <a:xfrm>
            <a:off x="0" y="0"/>
            <a:ext cx="3013535" cy="6858000"/>
          </a:xfrm>
          <a:prstGeom prst="rect">
            <a:avLst/>
          </a:prstGeom>
          <a:solidFill>
            <a:srgbClr val="26890D"/>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Light" panose="020F0302020204030204" pitchFamily="34" charset="0"/>
            </a:endParaRPr>
          </a:p>
        </p:txBody>
      </p:sp>
      <p:sp>
        <p:nvSpPr>
          <p:cNvPr id="12" name="Rectangle 3">
            <a:extLst>
              <a:ext uri="{FF2B5EF4-FFF2-40B4-BE49-F238E27FC236}">
                <a16:creationId xmlns:a16="http://schemas.microsoft.com/office/drawing/2014/main" id="{23A77057-FD15-D0E3-C90F-F6F85E741BF1}"/>
              </a:ext>
            </a:extLst>
          </p:cNvPr>
          <p:cNvSpPr txBox="1">
            <a:spLocks noChangeArrowheads="1"/>
          </p:cNvSpPr>
          <p:nvPr/>
        </p:nvSpPr>
        <p:spPr bwMode="auto">
          <a:xfrm>
            <a:off x="3218077" y="810014"/>
            <a:ext cx="7739779" cy="906505"/>
          </a:xfrm>
          <a:prstGeom prst="rect">
            <a:avLst/>
          </a:prstGeom>
          <a:noFill/>
          <a:ln w="9525">
            <a:noFill/>
            <a:miter lim="800000"/>
            <a:headEnd/>
            <a:tailEnd/>
          </a:ln>
        </p:spPr>
        <p:txBody>
          <a:bodyPr lIns="108257" tIns="54130" rIns="0" bIns="54130" anchor="t"/>
          <a:lstStyle/>
          <a:p>
            <a:pPr lvl="1" indent="0" algn="just" defTabSz="1208233" fontAlgn="base">
              <a:spcBef>
                <a:spcPts val="300"/>
              </a:spcBef>
              <a:spcAft>
                <a:spcPts val="300"/>
              </a:spcAft>
              <a:defRPr/>
            </a:pPr>
            <a:r>
              <a:rPr lang="en-US" sz="943" dirty="0">
                <a:solidFill>
                  <a:srgbClr val="575757"/>
                </a:solidFill>
                <a:latin typeface="Calibri Light" panose="020F0302020204030204" pitchFamily="34" charset="0"/>
              </a:rPr>
              <a:t>Sohail is an experienced Senior Manager with Deloitte Risk Advisory, specializing in Business Continuity and Disaster Recovery. He has approx. 10 years of experience in Deloitte where he has been mainly responsible for Business Continuity Management System and Disaster Recovery projects. </a:t>
            </a:r>
          </a:p>
          <a:p>
            <a:pPr lvl="1" indent="0" algn="just" defTabSz="1208233" fontAlgn="base">
              <a:spcBef>
                <a:spcPts val="300"/>
              </a:spcBef>
              <a:spcAft>
                <a:spcPts val="300"/>
              </a:spcAft>
              <a:defRPr/>
            </a:pPr>
            <a:r>
              <a:rPr lang="en-US" sz="943" dirty="0">
                <a:solidFill>
                  <a:srgbClr val="575757"/>
                </a:solidFill>
                <a:latin typeface="Calibri Light" panose="020F0302020204030204" pitchFamily="34" charset="0"/>
              </a:rPr>
              <a:t>Sohail has been part of multiple teams performing end to end business continuity implementations and disaster recovery reviews covering current state assessment; business impact analysis; threat risk assessment; business continuity and disaster recovery strategies; crisis management plans, business continuity plans, IT DR plans; training &amp; awareness; and testing. </a:t>
            </a:r>
          </a:p>
        </p:txBody>
      </p:sp>
      <p:sp>
        <p:nvSpPr>
          <p:cNvPr id="13" name="Rectangle 12">
            <a:extLst>
              <a:ext uri="{FF2B5EF4-FFF2-40B4-BE49-F238E27FC236}">
                <a16:creationId xmlns:a16="http://schemas.microsoft.com/office/drawing/2014/main" id="{B711C444-4604-C5B9-3E95-EB7CE243AB69}"/>
              </a:ext>
            </a:extLst>
          </p:cNvPr>
          <p:cNvSpPr/>
          <p:nvPr/>
        </p:nvSpPr>
        <p:spPr>
          <a:xfrm>
            <a:off x="396607" y="2733061"/>
            <a:ext cx="2291509" cy="3218973"/>
          </a:xfrm>
          <a:prstGeom prst="rect">
            <a:avLst/>
          </a:prstGeom>
        </p:spPr>
        <p:txBody>
          <a:bodyPr wrap="square" lIns="90818" tIns="45410" rIns="90818" bIns="45410" anchor="t">
            <a:spAutoFit/>
          </a:bodyPr>
          <a:lstStyle/>
          <a:p>
            <a:pPr indent="-159629" defTabSz="948386">
              <a:lnSpc>
                <a:spcPts val="1014"/>
              </a:lnSpc>
              <a:spcBef>
                <a:spcPts val="590"/>
              </a:spcBef>
              <a:buClr>
                <a:srgbClr val="000066"/>
              </a:buClr>
              <a:buSzPct val="75000"/>
              <a:tabLst>
                <a:tab pos="1312455" algn="l"/>
              </a:tabLst>
              <a:defRPr/>
            </a:pPr>
            <a:r>
              <a:rPr lang="en-US" sz="1091" dirty="0">
                <a:solidFill>
                  <a:schemeClr val="bg1"/>
                </a:solidFill>
                <a:latin typeface="Calibri Light" panose="020F0302020204030204" pitchFamily="34" charset="0"/>
                <a:ea typeface="Verdana" panose="020B0604030504040204" pitchFamily="34" charset="0"/>
                <a:cs typeface="Calibri Light" panose="020F0302020204030204" pitchFamily="34" charset="0"/>
              </a:rPr>
              <a:t>Professional and Technical Qualification</a:t>
            </a:r>
            <a:endParaRPr lang="en-US" sz="2388" dirty="0">
              <a:solidFill>
                <a:schemeClr val="bg1"/>
              </a:solidFill>
              <a:latin typeface="Calibri Light" panose="020F0302020204030204" pitchFamily="34" charset="0"/>
            </a:endParaRPr>
          </a:p>
          <a:p>
            <a:pPr marL="154122" lvl="2" indent="-152780" defTabSz="771834" fontAlgn="base">
              <a:lnSpc>
                <a:spcPts val="1014"/>
              </a:lnSpc>
              <a:spcBef>
                <a:spcPts val="300"/>
              </a:spcBef>
              <a:spcAft>
                <a:spcPts val="300"/>
              </a:spcAft>
              <a:buClr>
                <a:srgbClr val="00A3E0"/>
              </a:buClr>
              <a:buSzPct val="100000"/>
              <a:buFont typeface="Wingdings" pitchFamily="2" charset="2"/>
              <a:buChar char="§"/>
              <a:tabLst>
                <a:tab pos="4824662" algn="l"/>
              </a:tabLst>
              <a:defRPr/>
            </a:pPr>
            <a:endParaRPr lang="en-GB" sz="1041" dirty="0">
              <a:solidFill>
                <a:srgbClr val="FFFFFF"/>
              </a:solidFill>
              <a:latin typeface="Calibri Light" panose="020F0302020204030204" pitchFamily="34" charset="0"/>
              <a:ea typeface="Verdana" panose="020B0604030504040204" pitchFamily="34" charset="0"/>
            </a:endParaRP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MS in Information and Communication Systems Security – The Royal Institute of Technology (KTH) – Stockholm, Sweden</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BS in Electronic Engineering – SSUET Karachi, Pakistan</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SO 22301:2012 Lead Implementer</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SO 27001:2013 Lead Implementer</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nformation System Auditor (CISA)</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nformation Security Manager (CISM) </a:t>
            </a:r>
          </a:p>
        </p:txBody>
      </p:sp>
      <p:sp>
        <p:nvSpPr>
          <p:cNvPr id="14" name="Rectangle 3">
            <a:extLst>
              <a:ext uri="{FF2B5EF4-FFF2-40B4-BE49-F238E27FC236}">
                <a16:creationId xmlns:a16="http://schemas.microsoft.com/office/drawing/2014/main" id="{945C6E4D-7201-778F-C6AE-9BC1CBC3A21E}"/>
              </a:ext>
            </a:extLst>
          </p:cNvPr>
          <p:cNvSpPr txBox="1">
            <a:spLocks noChangeArrowheads="1"/>
          </p:cNvSpPr>
          <p:nvPr/>
        </p:nvSpPr>
        <p:spPr bwMode="auto">
          <a:xfrm>
            <a:off x="3218077" y="1760623"/>
            <a:ext cx="7739779" cy="1860402"/>
          </a:xfrm>
          <a:prstGeom prst="rect">
            <a:avLst/>
          </a:prstGeom>
          <a:noFill/>
          <a:ln w="9525">
            <a:noFill/>
            <a:miter lim="800000"/>
            <a:headEnd/>
            <a:tailEnd/>
          </a:ln>
        </p:spPr>
        <p:txBody>
          <a:bodyPr lIns="108257" tIns="54130" rIns="0" bIns="54130" anchor="t"/>
          <a:lstStyle/>
          <a:p>
            <a:pPr marL="0" lvl="1" indent="-190131" defTabSz="1208233" fontAlgn="base">
              <a:spcBef>
                <a:spcPts val="300"/>
              </a:spcBef>
              <a:spcAft>
                <a:spcPts val="300"/>
              </a:spcAft>
              <a:buSzPts val="1000"/>
              <a:tabLst>
                <a:tab pos="225959" algn="l"/>
              </a:tabLst>
              <a:defRPr/>
            </a:pPr>
            <a:r>
              <a:rPr lang="en-US" sz="990" dirty="0">
                <a:solidFill>
                  <a:srgbClr val="26890D"/>
                </a:solidFill>
                <a:latin typeface="Calibri Light" panose="020F0302020204030204" pitchFamily="34" charset="0"/>
                <a:ea typeface="Verdana" panose="020B0604030504040204" pitchFamily="34" charset="0"/>
                <a:cs typeface="Calibri Light" panose="020F0302020204030204" pitchFamily="34" charset="0"/>
              </a:rPr>
              <a:t>Key Relevant Engagements – Outline</a:t>
            </a:r>
          </a:p>
          <a:p>
            <a:pPr lvl="1" indent="0" algn="just" defTabSz="1208233" fontAlgn="base">
              <a:spcBef>
                <a:spcPts val="300"/>
              </a:spcBef>
              <a:spcAft>
                <a:spcPts val="300"/>
              </a:spcAft>
              <a:defRPr/>
            </a:pPr>
            <a:r>
              <a:rPr lang="en-US" sz="943" dirty="0">
                <a:solidFill>
                  <a:srgbClr val="575757"/>
                </a:solidFill>
                <a:latin typeface="Calibri Light" panose="020F0302020204030204" pitchFamily="34" charset="0"/>
              </a:rPr>
              <a:t>During his tenure with Deloitte, Sohail has been engaged in the following projects:</a:t>
            </a:r>
          </a:p>
          <a:p>
            <a:pPr marL="169914" lvl="1" indent="-169914" algn="just" fontAlgn="base">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Extensive experience in Business Continuity and Disaster Recovery being part of the team for the following major clients:</a:t>
            </a:r>
          </a:p>
          <a:p>
            <a:pPr marL="169914" lvl="1" indent="-169914" algn="just" fontAlgn="base">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2 Public Sector Organizations, 1 Information and Communication Technology organization, 2 theme parks, 1 Motorsports Management Company</a:t>
            </a:r>
          </a:p>
          <a:p>
            <a:pPr marL="169914" lvl="1" indent="-169914" algn="just" fontAlgn="base">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All these projects included implementation of Business Continuity Management Systems as per the requirements of international standards such as ISO22301, as well as local UAE Standard issued by NCMEA AE/HSC 7000:2015. The activities included conducting current state assessments of BCMS, Business Impact Analysis for time critical business processes; threat risk assessment; Crisis Management Plan, BC Strategies, BC Plans, and BC Governance Framework; training and awareness; and testing and exercises. </a:t>
            </a:r>
          </a:p>
          <a:p>
            <a:pPr marL="169914" lvl="1" indent="-169914" algn="just" fontAlgn="base">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Developed and led the preparation, delivery and closure of multiple simulations. The simulations covered some of the key plans including IT DR Plan, Media Response Plan, Crisis Management and Communication Plan etc.</a:t>
            </a:r>
          </a:p>
        </p:txBody>
      </p:sp>
      <p:sp>
        <p:nvSpPr>
          <p:cNvPr id="15" name="Rectangle 14">
            <a:extLst>
              <a:ext uri="{FF2B5EF4-FFF2-40B4-BE49-F238E27FC236}">
                <a16:creationId xmlns:a16="http://schemas.microsoft.com/office/drawing/2014/main" id="{DE0C5158-941F-A750-C95F-1A1D3CFE1905}"/>
              </a:ext>
            </a:extLst>
          </p:cNvPr>
          <p:cNvSpPr/>
          <p:nvPr/>
        </p:nvSpPr>
        <p:spPr>
          <a:xfrm>
            <a:off x="72685" y="1988718"/>
            <a:ext cx="2855131" cy="587232"/>
          </a:xfrm>
          <a:prstGeom prst="rect">
            <a:avLst/>
          </a:prstGeom>
        </p:spPr>
        <p:txBody>
          <a:bodyPr wrap="square" lIns="0" tIns="0" rIns="0" bIns="0">
            <a:spAutoFit/>
          </a:bodyPr>
          <a:lstStyle/>
          <a:p>
            <a:pPr algn="ctr" defTabSz="1208233" eaLnBrk="0" hangingPunct="0">
              <a:lnSpc>
                <a:spcPct val="110000"/>
              </a:lnSpc>
              <a:spcAft>
                <a:spcPct val="0"/>
              </a:spcAft>
            </a:pPr>
            <a:r>
              <a:rPr lang="en-US" sz="2381" dirty="0">
                <a:solidFill>
                  <a:prstClr val="white"/>
                </a:solidFill>
                <a:latin typeface="Calibri Light" panose="020F0302020204030204" pitchFamily="34" charset="0"/>
                <a:cs typeface="Arial" panose="020B0604020202020204" pitchFamily="34" charset="0"/>
              </a:rPr>
              <a:t>Sohail Qureshi</a:t>
            </a:r>
          </a:p>
          <a:p>
            <a:pPr algn="ctr" defTabSz="1208233" eaLnBrk="0" hangingPunct="0">
              <a:lnSpc>
                <a:spcPct val="110000"/>
              </a:lnSpc>
              <a:spcAft>
                <a:spcPct val="0"/>
              </a:spcAft>
            </a:pPr>
            <a:r>
              <a:rPr lang="en-US" sz="1094" dirty="0">
                <a:solidFill>
                  <a:prstClr val="white"/>
                </a:solidFill>
                <a:latin typeface="Calibri Light" panose="020F0302020204030204" pitchFamily="34" charset="0"/>
                <a:cs typeface="Arial" panose="020B0604020202020204" pitchFamily="34" charset="0"/>
              </a:rPr>
              <a:t>Senior Manager</a:t>
            </a:r>
          </a:p>
        </p:txBody>
      </p:sp>
      <p:pic>
        <p:nvPicPr>
          <p:cNvPr id="16" name="Picture 15">
            <a:extLst>
              <a:ext uri="{FF2B5EF4-FFF2-40B4-BE49-F238E27FC236}">
                <a16:creationId xmlns:a16="http://schemas.microsoft.com/office/drawing/2014/main" id="{E268C8FE-BD2E-65EB-FE5D-B5617AAD2CA5}"/>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760821" y="264137"/>
            <a:ext cx="1466616" cy="1471162"/>
          </a:xfrm>
          <a:prstGeom prst="ellipse">
            <a:avLst/>
          </a:prstGeom>
          <a:ln w="28575" cap="rnd">
            <a:noFill/>
          </a:ln>
          <a:effectLst/>
          <a:scene3d>
            <a:camera prst="orthographicFront"/>
            <a:lightRig rig="contrasting" dir="t">
              <a:rot lat="0" lon="0" rev="3000000"/>
            </a:lightRig>
          </a:scene3d>
          <a:sp3d contourW="7620">
            <a:bevelT w="95250" h="31750"/>
            <a:contourClr>
              <a:srgbClr val="333333"/>
            </a:contourClr>
          </a:sp3d>
        </p:spPr>
      </p:pic>
      <p:graphicFrame>
        <p:nvGraphicFramePr>
          <p:cNvPr id="17" name="Table 16">
            <a:extLst>
              <a:ext uri="{FF2B5EF4-FFF2-40B4-BE49-F238E27FC236}">
                <a16:creationId xmlns:a16="http://schemas.microsoft.com/office/drawing/2014/main" id="{75A9FE65-D1E6-C4B3-8489-9FDC0E7F6F3C}"/>
              </a:ext>
            </a:extLst>
          </p:cNvPr>
          <p:cNvGraphicFramePr>
            <a:graphicFrameLocks noGrp="1"/>
          </p:cNvGraphicFramePr>
          <p:nvPr/>
        </p:nvGraphicFramePr>
        <p:xfrm>
          <a:off x="3190979" y="3645815"/>
          <a:ext cx="6620533" cy="1665812"/>
        </p:xfrm>
        <a:graphic>
          <a:graphicData uri="http://schemas.openxmlformats.org/drawingml/2006/table">
            <a:tbl>
              <a:tblPr firstRow="1" firstCol="1" bandRow="1"/>
              <a:tblGrid>
                <a:gridCol w="3191533">
                  <a:extLst>
                    <a:ext uri="{9D8B030D-6E8A-4147-A177-3AD203B41FA5}">
                      <a16:colId xmlns:a16="http://schemas.microsoft.com/office/drawing/2014/main" val="20000"/>
                    </a:ext>
                  </a:extLst>
                </a:gridCol>
                <a:gridCol w="3429000">
                  <a:extLst>
                    <a:ext uri="{9D8B030D-6E8A-4147-A177-3AD203B41FA5}">
                      <a16:colId xmlns:a16="http://schemas.microsoft.com/office/drawing/2014/main" val="20001"/>
                    </a:ext>
                  </a:extLst>
                </a:gridCol>
              </a:tblGrid>
              <a:tr h="1353144">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marR="0" lvl="0" indent="-190131" algn="l" defTabSz="1208233"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990" kern="1200" dirty="0">
                          <a:solidFill>
                            <a:srgbClr val="26890D"/>
                          </a:solidFill>
                          <a:latin typeface="Calibri Light" panose="020F0302020204030204" pitchFamily="34" charset="0"/>
                          <a:ea typeface="Verdana" panose="020B0604030504040204" pitchFamily="34" charset="0"/>
                          <a:cs typeface="Calibri Light" panose="020F0302020204030204" pitchFamily="34" charset="0"/>
                        </a:rPr>
                        <a:t>Key Clients</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NEOM</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Stc Group</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Solutions by stc</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Channels by stc</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ADNOC, UAE</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Dubai Electric and Water Authority (DEWA)</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Majed Al Futtaim Group, UAE</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The Olayyan Group, UAE</a:t>
                      </a:r>
                    </a:p>
                  </a:txBody>
                  <a:tcPr marL="72795" marR="72795" marT="27218" marB="27218">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endParaRPr lang="en-US" sz="1000" kern="1200" noProof="0" dirty="0">
                        <a:solidFill>
                          <a:srgbClr val="575757"/>
                        </a:solidFill>
                        <a:latin typeface="Calibri Light" panose="020F0302020204030204" pitchFamily="34" charset="0"/>
                        <a:ea typeface="+mn-ea"/>
                        <a:cs typeface="+mn-cs"/>
                      </a:endParaRPr>
                    </a:p>
                  </a:txBody>
                  <a:tcPr marL="72795" marR="72795" marT="27218" marB="27218">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8" name="Title 1">
            <a:extLst>
              <a:ext uri="{FF2B5EF4-FFF2-40B4-BE49-F238E27FC236}">
                <a16:creationId xmlns:a16="http://schemas.microsoft.com/office/drawing/2014/main" id="{9B65D88F-0882-747E-DB74-A182995A99CB}"/>
              </a:ext>
            </a:extLst>
          </p:cNvPr>
          <p:cNvSpPr txBox="1">
            <a:spLocks/>
          </p:cNvSpPr>
          <p:nvPr/>
        </p:nvSpPr>
        <p:spPr>
          <a:xfrm>
            <a:off x="3218086" y="327008"/>
            <a:ext cx="7286397" cy="466096"/>
          </a:xfrm>
          <a:prstGeom prst="rect">
            <a:avLst/>
          </a:prstGeom>
        </p:spPr>
        <p:txBody>
          <a:bodyPr vert="horz" lIns="0" tIns="0" rIns="0" bIns="0" rtlCol="0" anchor="t" anchorCtr="0">
            <a:noAutofit/>
          </a:bodyPr>
          <a:lstStyle>
            <a:lvl1pPr algn="l" defTabSz="916686" rtl="0" eaLnBrk="1" latinLnBrk="0" hangingPunct="1">
              <a:spcBef>
                <a:spcPct val="0"/>
              </a:spcBef>
              <a:buNone/>
              <a:defRPr sz="2807" kern="1200">
                <a:solidFill>
                  <a:schemeClr val="accent1"/>
                </a:solidFill>
                <a:latin typeface="+mj-lt"/>
                <a:ea typeface="+mj-ea"/>
                <a:cs typeface="+mj-cs"/>
              </a:defRPr>
            </a:lvl1pPr>
          </a:lstStyle>
          <a:p>
            <a:pPr defTabSz="905920"/>
            <a:r>
              <a:rPr lang="en-US" sz="2981" dirty="0">
                <a:solidFill>
                  <a:srgbClr val="26890D"/>
                </a:solidFill>
                <a:latin typeface="Calibri Light" panose="020F0302020204030204" pitchFamily="34" charset="0"/>
                <a:cs typeface="Arial" panose="020B0604020202020204" pitchFamily="34" charset="0"/>
              </a:rPr>
              <a:t>Subject Matter Expert</a:t>
            </a:r>
          </a:p>
        </p:txBody>
      </p:sp>
    </p:spTree>
    <p:extLst>
      <p:ext uri="{BB962C8B-B14F-4D97-AF65-F5344CB8AC3E}">
        <p14:creationId xmlns:p14="http://schemas.microsoft.com/office/powerpoint/2010/main" val="3586056481"/>
      </p:ext>
    </p:extLst>
  </p:cSld>
  <p:clrMapOvr>
    <a:masterClrMapping/>
  </p:clrMapOvr>
  <p:transition spd="med"/>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C5D962E-C235-6A81-1E9C-C6507500FF5E}"/>
              </a:ext>
            </a:extLst>
          </p:cNvPr>
          <p:cNvSpPr/>
          <p:nvPr/>
        </p:nvSpPr>
        <p:spPr bwMode="gray">
          <a:xfrm>
            <a:off x="0" y="0"/>
            <a:ext cx="3013535" cy="6858000"/>
          </a:xfrm>
          <a:prstGeom prst="rect">
            <a:avLst/>
          </a:prstGeom>
          <a:solidFill>
            <a:srgbClr val="26890D"/>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Light" panose="020F0302020204030204" pitchFamily="34" charset="0"/>
            </a:endParaRPr>
          </a:p>
        </p:txBody>
      </p:sp>
      <p:sp>
        <p:nvSpPr>
          <p:cNvPr id="3" name="Rectangle 2">
            <a:extLst>
              <a:ext uri="{FF2B5EF4-FFF2-40B4-BE49-F238E27FC236}">
                <a16:creationId xmlns:a16="http://schemas.microsoft.com/office/drawing/2014/main" id="{383F30ED-3413-2DB0-A02B-C6F3AFE337A8}"/>
              </a:ext>
            </a:extLst>
          </p:cNvPr>
          <p:cNvSpPr/>
          <p:nvPr/>
        </p:nvSpPr>
        <p:spPr>
          <a:xfrm>
            <a:off x="208490" y="2011306"/>
            <a:ext cx="2855131" cy="585196"/>
          </a:xfrm>
          <a:prstGeom prst="rect">
            <a:avLst/>
          </a:prstGeom>
        </p:spPr>
        <p:txBody>
          <a:bodyPr wrap="square" lIns="0" tIns="0" rIns="0" bIns="0">
            <a:spAutoFit/>
          </a:bodyPr>
          <a:lstStyle/>
          <a:p>
            <a:pPr algn="ctr" defTabSz="1208233" eaLnBrk="0" hangingPunct="0">
              <a:lnSpc>
                <a:spcPct val="110000"/>
              </a:lnSpc>
              <a:spcAft>
                <a:spcPct val="0"/>
              </a:spcAft>
            </a:pPr>
            <a:r>
              <a:rPr lang="en-US" sz="2381" dirty="0">
                <a:solidFill>
                  <a:prstClr val="white"/>
                </a:solidFill>
                <a:latin typeface="Calibri Light" panose="020F0302020204030204" pitchFamily="34" charset="0"/>
                <a:cs typeface="Arial" panose="020B0604020202020204" pitchFamily="34" charset="0"/>
              </a:rPr>
              <a:t>Varsha Sastry</a:t>
            </a:r>
          </a:p>
          <a:p>
            <a:pPr algn="ctr" defTabSz="1208233" eaLnBrk="0" hangingPunct="0">
              <a:lnSpc>
                <a:spcPct val="110000"/>
              </a:lnSpc>
              <a:spcAft>
                <a:spcPct val="0"/>
              </a:spcAft>
            </a:pPr>
            <a:r>
              <a:rPr lang="en-US" sz="1091" dirty="0">
                <a:solidFill>
                  <a:prstClr val="white"/>
                </a:solidFill>
                <a:latin typeface="Calibri Light" panose="020F0302020204030204" pitchFamily="34" charset="0"/>
                <a:cs typeface="Arial" panose="020B0604020202020204" pitchFamily="34" charset="0"/>
              </a:rPr>
              <a:t>Senior Consultant</a:t>
            </a:r>
          </a:p>
        </p:txBody>
      </p:sp>
      <p:sp>
        <p:nvSpPr>
          <p:cNvPr id="4" name="Rectangle 3">
            <a:extLst>
              <a:ext uri="{FF2B5EF4-FFF2-40B4-BE49-F238E27FC236}">
                <a16:creationId xmlns:a16="http://schemas.microsoft.com/office/drawing/2014/main" id="{7FEDA91D-4C6D-A86A-C724-F3418FEEC142}"/>
              </a:ext>
            </a:extLst>
          </p:cNvPr>
          <p:cNvSpPr txBox="1">
            <a:spLocks noChangeArrowheads="1"/>
          </p:cNvSpPr>
          <p:nvPr/>
        </p:nvSpPr>
        <p:spPr bwMode="auto">
          <a:xfrm>
            <a:off x="3218077" y="1008865"/>
            <a:ext cx="7739779" cy="706786"/>
          </a:xfrm>
          <a:prstGeom prst="rect">
            <a:avLst/>
          </a:prstGeom>
          <a:noFill/>
          <a:ln w="9525">
            <a:noFill/>
            <a:miter lim="800000"/>
            <a:headEnd/>
            <a:tailEnd/>
          </a:ln>
        </p:spPr>
        <p:txBody>
          <a:bodyPr lIns="108257" tIns="54130" rIns="0" bIns="54130" anchor="t"/>
          <a:lstStyle/>
          <a:p>
            <a:pPr algn="justLow" defTabSz="1208233" fontAlgn="base">
              <a:spcBef>
                <a:spcPts val="300"/>
              </a:spcBef>
              <a:spcAft>
                <a:spcPts val="300"/>
              </a:spcAft>
            </a:pPr>
            <a:r>
              <a:rPr lang="en-US" sz="943" dirty="0">
                <a:solidFill>
                  <a:srgbClr val="575757"/>
                </a:solidFill>
                <a:latin typeface="Calibri Light" panose="020F0302020204030204" pitchFamily="34" charset="0"/>
              </a:rPr>
              <a:t>Varsha is a Senior Consultant at Deloitte’s Cyber Services practice. She is an IT engineer with an MBA in finance having over 8 years of experience in Banking and IT industry. She is an experienced BCM consultant with certificate of The BCI (CBCI) and ISO 22301:2019 Lead Auditor. She has hands on experience in development and implementation of Business Continuity Management System and development of Disaster Recovery Plan.</a:t>
            </a:r>
          </a:p>
        </p:txBody>
      </p:sp>
      <p:sp>
        <p:nvSpPr>
          <p:cNvPr id="5" name="Rectangle 4">
            <a:extLst>
              <a:ext uri="{FF2B5EF4-FFF2-40B4-BE49-F238E27FC236}">
                <a16:creationId xmlns:a16="http://schemas.microsoft.com/office/drawing/2014/main" id="{B595BB54-BD55-7418-526B-40C613B8CAF4}"/>
              </a:ext>
            </a:extLst>
          </p:cNvPr>
          <p:cNvSpPr/>
          <p:nvPr/>
        </p:nvSpPr>
        <p:spPr>
          <a:xfrm>
            <a:off x="450854" y="2736591"/>
            <a:ext cx="2370395" cy="2770389"/>
          </a:xfrm>
          <a:prstGeom prst="rect">
            <a:avLst/>
          </a:prstGeom>
        </p:spPr>
        <p:txBody>
          <a:bodyPr wrap="square" lIns="90818" tIns="45410" rIns="90818" bIns="45410" anchor="t">
            <a:spAutoFit/>
          </a:bodyPr>
          <a:lstStyle/>
          <a:p>
            <a:pPr indent="-159629" defTabSz="948386">
              <a:lnSpc>
                <a:spcPts val="1014"/>
              </a:lnSpc>
              <a:spcBef>
                <a:spcPts val="590"/>
              </a:spcBef>
              <a:buClr>
                <a:srgbClr val="000066"/>
              </a:buClr>
              <a:buSzPct val="75000"/>
              <a:tabLst>
                <a:tab pos="1312455" algn="l"/>
              </a:tabLst>
              <a:defRPr/>
            </a:pPr>
            <a:r>
              <a:rPr lang="en-US" sz="1091" dirty="0">
                <a:solidFill>
                  <a:schemeClr val="bg1"/>
                </a:solidFill>
                <a:latin typeface="Calibri Light" panose="020F0302020204030204" pitchFamily="34" charset="0"/>
                <a:ea typeface="Verdana" panose="020B0604030504040204" pitchFamily="34" charset="0"/>
                <a:cs typeface="Calibri Light" panose="020F0302020204030204" pitchFamily="34" charset="0"/>
              </a:rPr>
              <a:t>Professional and Technical Qualification</a:t>
            </a:r>
            <a:endParaRPr lang="en-US" sz="2388" dirty="0">
              <a:solidFill>
                <a:schemeClr val="bg1"/>
              </a:solidFill>
              <a:latin typeface="Calibri Light" panose="020F0302020204030204" pitchFamily="34" charset="0"/>
            </a:endParaRPr>
          </a:p>
          <a:p>
            <a:pPr marL="1345" lvl="2" defTabSz="771834" fontAlgn="base">
              <a:spcBef>
                <a:spcPts val="300"/>
              </a:spcBef>
              <a:spcAft>
                <a:spcPts val="300"/>
              </a:spcAft>
              <a:buClr>
                <a:srgbClr val="00A3E0"/>
              </a:buClr>
              <a:buSzPct val="100000"/>
              <a:tabLst>
                <a:tab pos="4824662" algn="l"/>
              </a:tabLst>
            </a:pPr>
            <a:endParaRPr lang="en-US" sz="1041" dirty="0">
              <a:solidFill>
                <a:srgbClr val="FFFFFF"/>
              </a:solidFill>
              <a:latin typeface="Calibri Light" panose="020F0302020204030204" pitchFamily="34" charset="0"/>
              <a:ea typeface="Verdana" panose="020B0604030504040204" pitchFamily="34" charset="0"/>
            </a:endParaRP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Bachelor of Engineering – Information Science – Visweswaraya Technological University, India</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Master in Business Administration – Institute of Chartered Financial Analysts of India, India</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n Business Analytics  - Harvard Business School, USA </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ISO 22301 Lead Auditor – BSI</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cate of the BCI (CBCI) with merit</a:t>
            </a:r>
          </a:p>
          <a:p>
            <a:pPr marL="154122" lvl="2" indent="-152780" defTabSz="771834" fontAlgn="base">
              <a:spcBef>
                <a:spcPts val="300"/>
              </a:spcBef>
              <a:spcAft>
                <a:spcPts val="300"/>
              </a:spcAft>
              <a:buClr>
                <a:schemeClr val="bg1"/>
              </a:buClr>
              <a:buSzPct val="100000"/>
              <a:buFont typeface="Wingdings" pitchFamily="2" charset="2"/>
              <a:buChar char="§"/>
              <a:tabLst>
                <a:tab pos="4824662" algn="l"/>
              </a:tabLst>
            </a:pPr>
            <a:endParaRPr lang="en-US" sz="1041" dirty="0">
              <a:solidFill>
                <a:srgbClr val="FFFFFF"/>
              </a:solidFill>
              <a:latin typeface="Calibri Light" panose="020F0302020204030204" pitchFamily="34" charset="0"/>
              <a:ea typeface="Verdana" panose="020B0604030504040204" pitchFamily="34" charset="0"/>
            </a:endParaRPr>
          </a:p>
        </p:txBody>
      </p:sp>
      <p:graphicFrame>
        <p:nvGraphicFramePr>
          <p:cNvPr id="6" name="Table 5">
            <a:extLst>
              <a:ext uri="{FF2B5EF4-FFF2-40B4-BE49-F238E27FC236}">
                <a16:creationId xmlns:a16="http://schemas.microsoft.com/office/drawing/2014/main" id="{629379ED-8212-C1D7-139D-B9581601B746}"/>
              </a:ext>
            </a:extLst>
          </p:cNvPr>
          <p:cNvGraphicFramePr>
            <a:graphicFrameLocks noGrp="1"/>
          </p:cNvGraphicFramePr>
          <p:nvPr>
            <p:extLst>
              <p:ext uri="{D42A27DB-BD31-4B8C-83A1-F6EECF244321}">
                <p14:modId xmlns:p14="http://schemas.microsoft.com/office/powerpoint/2010/main" val="4121222175"/>
              </p:ext>
            </p:extLst>
          </p:nvPr>
        </p:nvGraphicFramePr>
        <p:xfrm>
          <a:off x="3338429" y="3537140"/>
          <a:ext cx="6534913" cy="943186"/>
        </p:xfrm>
        <a:graphic>
          <a:graphicData uri="http://schemas.openxmlformats.org/drawingml/2006/table">
            <a:tbl>
              <a:tblPr firstRow="1" firstCol="1" bandRow="1"/>
              <a:tblGrid>
                <a:gridCol w="6534913">
                  <a:extLst>
                    <a:ext uri="{9D8B030D-6E8A-4147-A177-3AD203B41FA5}">
                      <a16:colId xmlns:a16="http://schemas.microsoft.com/office/drawing/2014/main" val="20000"/>
                    </a:ext>
                  </a:extLst>
                </a:gridCol>
              </a:tblGrid>
              <a:tr h="560569">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marR="0" lvl="0" indent="-190131" algn="l" defTabSz="1208233"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990" kern="1200" dirty="0">
                          <a:solidFill>
                            <a:srgbClr val="26890D"/>
                          </a:solidFill>
                          <a:latin typeface="Calibri Light" panose="020F0302020204030204" pitchFamily="34" charset="0"/>
                          <a:ea typeface="Verdana" panose="020B0604030504040204" pitchFamily="34" charset="0"/>
                          <a:cs typeface="Calibri Light" panose="020F0302020204030204" pitchFamily="34" charset="0"/>
                        </a:rPr>
                        <a:t>Key Industries served:</a:t>
                      </a:r>
                    </a:p>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endPar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p>
                      <a:pPr marL="171259" marR="0" lvl="1" indent="-171259" algn="just" defTabSz="914400" rtl="0" eaLnBrk="1" fontAlgn="auto" latinLnBrk="0" hangingPunct="1">
                        <a:lnSpc>
                          <a:spcPts val="1000"/>
                        </a:lnSpc>
                        <a:spcBef>
                          <a:spcPts val="200"/>
                        </a:spcBef>
                        <a:spcAft>
                          <a:spcPts val="20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Financial services</a:t>
                      </a:r>
                    </a:p>
                    <a:p>
                      <a:pPr marL="171259" marR="0" lvl="1" indent="-171259" algn="just" defTabSz="914400" rtl="0" eaLnBrk="1" fontAlgn="auto" latinLnBrk="0" hangingPunct="1">
                        <a:lnSpc>
                          <a:spcPts val="1000"/>
                        </a:lnSpc>
                        <a:spcBef>
                          <a:spcPts val="200"/>
                        </a:spcBef>
                        <a:spcAft>
                          <a:spcPts val="20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Government</a:t>
                      </a:r>
                    </a:p>
                    <a:p>
                      <a:pPr marL="171259" marR="0" lvl="1" indent="-171259" algn="just" defTabSz="914400" rtl="0" eaLnBrk="1" fontAlgn="auto" latinLnBrk="0" hangingPunct="1">
                        <a:lnSpc>
                          <a:spcPts val="1000"/>
                        </a:lnSpc>
                        <a:spcBef>
                          <a:spcPts val="200"/>
                        </a:spcBef>
                        <a:spcAft>
                          <a:spcPts val="20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Real Estate Development</a:t>
                      </a: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Rectangle 3">
            <a:extLst>
              <a:ext uri="{FF2B5EF4-FFF2-40B4-BE49-F238E27FC236}">
                <a16:creationId xmlns:a16="http://schemas.microsoft.com/office/drawing/2014/main" id="{5FBD5DE4-0F61-6849-D8DE-5A6636A59652}"/>
              </a:ext>
            </a:extLst>
          </p:cNvPr>
          <p:cNvSpPr txBox="1">
            <a:spLocks noChangeArrowheads="1"/>
          </p:cNvSpPr>
          <p:nvPr/>
        </p:nvSpPr>
        <p:spPr bwMode="auto">
          <a:xfrm>
            <a:off x="3207508" y="1770080"/>
            <a:ext cx="7831774" cy="1613684"/>
          </a:xfrm>
          <a:prstGeom prst="rect">
            <a:avLst/>
          </a:prstGeom>
          <a:noFill/>
          <a:ln w="9525">
            <a:noFill/>
            <a:miter lim="800000"/>
            <a:headEnd/>
            <a:tailEnd/>
          </a:ln>
        </p:spPr>
        <p:txBody>
          <a:bodyPr lIns="108257" tIns="54130" rIns="0" bIns="54130" anchor="t"/>
          <a:lstStyle/>
          <a:p>
            <a:pPr indent="-190131" defTabSz="1208233">
              <a:spcBef>
                <a:spcPts val="300"/>
              </a:spcBef>
              <a:spcAft>
                <a:spcPts val="300"/>
              </a:spcAft>
            </a:pPr>
            <a:r>
              <a:rPr lang="en-US" sz="990" dirty="0">
                <a:solidFill>
                  <a:srgbClr val="26890D"/>
                </a:solidFill>
                <a:latin typeface="Calibri Light" panose="020F0302020204030204" pitchFamily="34" charset="0"/>
                <a:ea typeface="Verdana" panose="020B0604030504040204" pitchFamily="34" charset="0"/>
                <a:cs typeface="Calibri Light" panose="020F0302020204030204" pitchFamily="34" charset="0"/>
              </a:rPr>
              <a:t>Key Relevant Engagements – Outline</a:t>
            </a:r>
          </a:p>
          <a:p>
            <a:pPr lvl="1" indent="0" algn="just" defTabSz="906197">
              <a:spcBef>
                <a:spcPts val="300"/>
              </a:spcBef>
              <a:spcAft>
                <a:spcPts val="591"/>
              </a:spcAft>
              <a:defRP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Varsha has successfully delivered &amp; implemented Business Continuity Management System including :</a:t>
            </a:r>
          </a:p>
          <a:p>
            <a:pPr marL="171450" lvl="1" indent="-171450" algn="just" fontAlgn="base">
              <a:lnSpc>
                <a:spcPts val="991"/>
              </a:lnSpc>
              <a:spcBef>
                <a:spcPts val="200"/>
              </a:spcBef>
              <a:spcAft>
                <a:spcPts val="200"/>
              </a:spcAft>
              <a:buSzPts val="1000"/>
              <a:buFont typeface="Arial" panose="020B0604020202020204" pitchFamily="34" charset="0"/>
              <a:buChar char="•"/>
              <a:tabLst>
                <a:tab pos="225959" algn="l"/>
              </a:tabLst>
              <a:defRPr/>
            </a:pPr>
            <a:r>
              <a:rPr lang="en-US" sz="943" dirty="0">
                <a:solidFill>
                  <a:srgbClr val="575757"/>
                </a:solidFill>
                <a:latin typeface="Calibri Light" panose="020F0302020204030204" pitchFamily="34" charset="0"/>
              </a:rPr>
              <a:t>Documentation development requirements based on NCEMA 7000:2021 and ISO 22301:2021 requirements.</a:t>
            </a:r>
          </a:p>
          <a:p>
            <a:pPr marL="171450" lvl="1" indent="-171450" algn="just" fontAlgn="base">
              <a:lnSpc>
                <a:spcPts val="991"/>
              </a:lnSpc>
              <a:spcBef>
                <a:spcPts val="200"/>
              </a:spcBef>
              <a:spcAft>
                <a:spcPts val="200"/>
              </a:spcAft>
              <a:buSzPts val="1000"/>
              <a:buFont typeface="Arial" panose="020B0604020202020204" pitchFamily="34" charset="0"/>
              <a:buChar char="•"/>
              <a:tabLst>
                <a:tab pos="225959" algn="l"/>
              </a:tabLst>
              <a:defRPr/>
            </a:pPr>
            <a:r>
              <a:rPr lang="en-US" sz="943" dirty="0">
                <a:solidFill>
                  <a:srgbClr val="575757"/>
                </a:solidFill>
                <a:latin typeface="Calibri Light" panose="020F0302020204030204" pitchFamily="34" charset="0"/>
              </a:rPr>
              <a:t>This includes and is not limited to : Business Impact Analysis procedure, Threat Risk Assessment procedure, Testing and Exercising procedure, Business Continuity Management Governance, Business Continuity Management Manual, Business Continuity Management Policy and Supporting Documents.</a:t>
            </a:r>
          </a:p>
          <a:p>
            <a:pPr marL="171450" lvl="1" indent="-171450" algn="just" fontAlgn="base">
              <a:lnSpc>
                <a:spcPts val="991"/>
              </a:lnSpc>
              <a:spcBef>
                <a:spcPts val="200"/>
              </a:spcBef>
              <a:spcAft>
                <a:spcPts val="200"/>
              </a:spcAft>
              <a:buSzPts val="1000"/>
              <a:buFont typeface="Arial" panose="020B0604020202020204" pitchFamily="34" charset="0"/>
              <a:buChar char="•"/>
              <a:tabLst>
                <a:tab pos="225959" algn="l"/>
              </a:tabLst>
              <a:defRPr/>
            </a:pPr>
            <a:r>
              <a:rPr lang="en-US" sz="943" dirty="0">
                <a:solidFill>
                  <a:srgbClr val="575757"/>
                </a:solidFill>
                <a:latin typeface="Calibri Light" panose="020F0302020204030204" pitchFamily="34" charset="0"/>
              </a:rPr>
              <a:t>Conducted Business Impact Analysis for Federal Authority.</a:t>
            </a:r>
          </a:p>
          <a:p>
            <a:pPr marL="171450" lvl="1" indent="-171450" algn="just" fontAlgn="base">
              <a:lnSpc>
                <a:spcPts val="991"/>
              </a:lnSpc>
              <a:spcBef>
                <a:spcPts val="200"/>
              </a:spcBef>
              <a:spcAft>
                <a:spcPts val="200"/>
              </a:spcAft>
              <a:buSzPts val="1000"/>
              <a:buFont typeface="Arial" panose="020B0604020202020204" pitchFamily="34" charset="0"/>
              <a:buChar char="•"/>
              <a:tabLst>
                <a:tab pos="225959" algn="l"/>
              </a:tabLst>
              <a:defRPr/>
            </a:pPr>
            <a:r>
              <a:rPr lang="en-US" sz="943" dirty="0">
                <a:solidFill>
                  <a:srgbClr val="575757"/>
                </a:solidFill>
                <a:latin typeface="Calibri Light" panose="020F0302020204030204" pitchFamily="34" charset="0"/>
              </a:rPr>
              <a:t>Identified organization’s critical processes, recovery requirements and critical dependencies.</a:t>
            </a:r>
          </a:p>
          <a:p>
            <a:pPr marL="171450" lvl="1" indent="-171450" algn="just" fontAlgn="base">
              <a:lnSpc>
                <a:spcPts val="991"/>
              </a:lnSpc>
              <a:spcBef>
                <a:spcPts val="200"/>
              </a:spcBef>
              <a:spcAft>
                <a:spcPts val="200"/>
              </a:spcAft>
              <a:buSzPts val="1000"/>
              <a:buFont typeface="Arial" panose="020B0604020202020204" pitchFamily="34" charset="0"/>
              <a:buChar char="•"/>
              <a:tabLst>
                <a:tab pos="225959" algn="l"/>
              </a:tabLst>
              <a:defRPr/>
            </a:pPr>
            <a:r>
              <a:rPr lang="en-US" sz="943" dirty="0">
                <a:solidFill>
                  <a:srgbClr val="575757"/>
                </a:solidFill>
                <a:latin typeface="Calibri Light" panose="020F0302020204030204" pitchFamily="34" charset="0"/>
              </a:rPr>
              <a:t>Supported onsite team with required research, analysis, and documentation for conducting Business Impact Analysis (BIA)</a:t>
            </a:r>
          </a:p>
          <a:p>
            <a:pPr marL="171450" lvl="1" indent="-171450" algn="just" fontAlgn="base">
              <a:lnSpc>
                <a:spcPts val="991"/>
              </a:lnSpc>
              <a:spcBef>
                <a:spcPts val="200"/>
              </a:spcBef>
              <a:spcAft>
                <a:spcPts val="200"/>
              </a:spcAft>
              <a:buSzPts val="1000"/>
              <a:buFont typeface="Arial" panose="020B0604020202020204" pitchFamily="34" charset="0"/>
              <a:buChar char="•"/>
              <a:tabLst>
                <a:tab pos="225959" algn="l"/>
              </a:tabLst>
              <a:defRPr/>
            </a:pPr>
            <a:r>
              <a:rPr lang="en-US" sz="943" dirty="0">
                <a:solidFill>
                  <a:srgbClr val="575757"/>
                </a:solidFill>
                <a:latin typeface="Calibri Light" panose="020F0302020204030204" pitchFamily="34" charset="0"/>
              </a:rPr>
              <a:t>Training &amp; capacity building.</a:t>
            </a:r>
          </a:p>
        </p:txBody>
      </p:sp>
      <p:pic>
        <p:nvPicPr>
          <p:cNvPr id="8" name="Picture 7" descr="A person wearing glasses&#10;&#10;Description automatically generated with medium confidence">
            <a:extLst>
              <a:ext uri="{FF2B5EF4-FFF2-40B4-BE49-F238E27FC236}">
                <a16:creationId xmlns:a16="http://schemas.microsoft.com/office/drawing/2014/main" id="{187D147A-6E1C-6CB7-BA7E-EF28D6E76454}"/>
              </a:ext>
            </a:extLst>
          </p:cNvPr>
          <p:cNvPicPr>
            <a:picLocks/>
          </p:cNvPicPr>
          <p:nvPr/>
        </p:nvPicPr>
        <p:blipFill>
          <a:blip r:embed="rId2">
            <a:extLst>
              <a:ext uri="{28A0092B-C50C-407E-A947-70E740481C1C}">
                <a14:useLocalDpi xmlns:a14="http://schemas.microsoft.com/office/drawing/2010/main" val="0"/>
              </a:ext>
            </a:extLst>
          </a:blip>
          <a:stretch>
            <a:fillRect/>
          </a:stretch>
        </p:blipFill>
        <p:spPr>
          <a:xfrm>
            <a:off x="741761" y="253592"/>
            <a:ext cx="1504734" cy="1494451"/>
          </a:xfrm>
          <a:prstGeom prst="ellipse">
            <a:avLst/>
          </a:prstGeom>
          <a:ln w="28575" cap="rnd">
            <a:noFill/>
          </a:ln>
          <a:effectLst/>
          <a:scene3d>
            <a:camera prst="orthographicFront"/>
            <a:lightRig rig="contrasting" dir="t">
              <a:rot lat="0" lon="0" rev="3000000"/>
            </a:lightRig>
          </a:scene3d>
          <a:sp3d contourW="7620">
            <a:bevelT w="95250" h="31750"/>
            <a:contourClr>
              <a:srgbClr val="333333"/>
            </a:contourClr>
          </a:sp3d>
        </p:spPr>
      </p:pic>
      <p:sp>
        <p:nvSpPr>
          <p:cNvPr id="9" name="Title 1">
            <a:extLst>
              <a:ext uri="{FF2B5EF4-FFF2-40B4-BE49-F238E27FC236}">
                <a16:creationId xmlns:a16="http://schemas.microsoft.com/office/drawing/2014/main" id="{A3C1DC89-340C-FAD1-B4B3-F43836A88CEB}"/>
              </a:ext>
            </a:extLst>
          </p:cNvPr>
          <p:cNvSpPr txBox="1">
            <a:spLocks/>
          </p:cNvSpPr>
          <p:nvPr/>
        </p:nvSpPr>
        <p:spPr>
          <a:xfrm>
            <a:off x="3317229" y="330535"/>
            <a:ext cx="7286397" cy="466096"/>
          </a:xfrm>
          <a:prstGeom prst="rect">
            <a:avLst/>
          </a:prstGeom>
        </p:spPr>
        <p:txBody>
          <a:bodyPr vert="horz" lIns="0" tIns="0" rIns="0" bIns="0" rtlCol="0" anchor="t" anchorCtr="0">
            <a:noAutofit/>
          </a:bodyPr>
          <a:lstStyle>
            <a:lvl1pPr algn="l" defTabSz="916686" rtl="0" eaLnBrk="1" latinLnBrk="0" hangingPunct="1">
              <a:spcBef>
                <a:spcPct val="0"/>
              </a:spcBef>
              <a:buNone/>
              <a:defRPr sz="2807" kern="1200">
                <a:solidFill>
                  <a:schemeClr val="accent1"/>
                </a:solidFill>
                <a:latin typeface="+mj-lt"/>
                <a:ea typeface="+mj-ea"/>
                <a:cs typeface="+mj-cs"/>
              </a:defRPr>
            </a:lvl1pPr>
          </a:lstStyle>
          <a:p>
            <a:pPr defTabSz="905920"/>
            <a:r>
              <a:rPr lang="en-US" sz="2981" dirty="0">
                <a:solidFill>
                  <a:srgbClr val="26890D"/>
                </a:solidFill>
                <a:latin typeface="Calibri Light" panose="020F0302020204030204" pitchFamily="34" charset="0"/>
                <a:cs typeface="Arial" panose="020B0604020202020204" pitchFamily="34" charset="0"/>
              </a:rPr>
              <a:t>Senior Consultant</a:t>
            </a:r>
          </a:p>
        </p:txBody>
      </p:sp>
    </p:spTree>
    <p:extLst>
      <p:ext uri="{BB962C8B-B14F-4D97-AF65-F5344CB8AC3E}">
        <p14:creationId xmlns:p14="http://schemas.microsoft.com/office/powerpoint/2010/main" val="3494596641"/>
      </p:ext>
    </p:extLst>
  </p:cSld>
  <p:clrMapOvr>
    <a:masterClrMapping/>
  </p:clrMapOvr>
  <p:transition spd="med"/>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2" name="Title 1"/>
          <p:cNvSpPr txBox="1">
            <a:spLocks noGrp="1"/>
          </p:cNvSpPr>
          <p:nvPr>
            <p:ph type="title"/>
          </p:nvPr>
        </p:nvSpPr>
        <p:spPr>
          <a:prstGeom prst="rect">
            <a:avLst/>
          </a:prstGeom>
        </p:spPr>
        <p:txBody>
          <a:bodyPr/>
          <a:lstStyle/>
          <a:p>
            <a:r>
              <a:rPr lang="en-US" dirty="0">
                <a:latin typeface="+mn-lt"/>
              </a:rPr>
              <a:t>Credentials</a:t>
            </a:r>
            <a:endParaRPr dirty="0">
              <a:latin typeface="+mn-lt"/>
            </a:endParaRPr>
          </a:p>
        </p:txBody>
      </p:sp>
    </p:spTree>
    <p:extLst>
      <p:ext uri="{BB962C8B-B14F-4D97-AF65-F5344CB8AC3E}">
        <p14:creationId xmlns:p14="http://schemas.microsoft.com/office/powerpoint/2010/main" val="2825169362"/>
      </p:ext>
    </p:extLst>
  </p:cSld>
  <p:clrMapOvr>
    <a:masterClrMapping/>
  </p:clrMapOvr>
  <p:transition spd="slow">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bwMode="gray">
          <a:xfrm>
            <a:off x="501650" y="317501"/>
            <a:ext cx="11188700" cy="334100"/>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j-ea"/>
                <a:cs typeface="Calibri" panose="020F0502020204030204" pitchFamily="34" charset="0"/>
              </a:rPr>
              <a:t>Our Credentials </a:t>
            </a:r>
            <a:endParaRPr kumimoji="0" lang="en-US" sz="2000" b="1" i="0" u="none" strike="noStrike" kern="1200" cap="none" spc="0" normalizeH="0" baseline="0" noProof="0">
              <a:ln>
                <a:noFill/>
              </a:ln>
              <a:solidFill>
                <a:srgbClr val="FF0000"/>
              </a:solidFill>
              <a:effectLst/>
              <a:uLnTx/>
              <a:uFillTx/>
              <a:latin typeface="Calibri" panose="020F0502020204030204" pitchFamily="34" charset="0"/>
              <a:ea typeface="+mj-ea"/>
              <a:cs typeface="Calibri" panose="020F0502020204030204" pitchFamily="34" charset="0"/>
            </a:endParaRPr>
          </a:p>
        </p:txBody>
      </p:sp>
      <p:sp>
        <p:nvSpPr>
          <p:cNvPr id="56" name="Text Placeholder 1">
            <a:extLst>
              <a:ext uri="{FF2B5EF4-FFF2-40B4-BE49-F238E27FC236}">
                <a16:creationId xmlns:a16="http://schemas.microsoft.com/office/drawing/2014/main" id="{1C0BEC98-07DA-4FFE-AE59-935D86457BE0}"/>
              </a:ext>
            </a:extLst>
          </p:cNvPr>
          <p:cNvSpPr>
            <a:spLocks noGrp="1"/>
          </p:cNvSpPr>
          <p:nvPr>
            <p:ph type="body" sz="quarter" idx="13"/>
          </p:nvPr>
        </p:nvSpPr>
        <p:spPr>
          <a:xfrm>
            <a:off x="501650" y="651601"/>
            <a:ext cx="11188700" cy="326300"/>
          </a:xfrm>
        </p:spPr>
        <p:txBody>
          <a:bodyPr/>
          <a:lstStyle/>
          <a:p>
            <a:r>
              <a:rPr lang="en-US" sz="1800"/>
              <a:t>Our BCM and Resilience Experience</a:t>
            </a:r>
          </a:p>
        </p:txBody>
      </p:sp>
      <p:sp>
        <p:nvSpPr>
          <p:cNvPr id="2" name="Content Placeholder 3">
            <a:extLst>
              <a:ext uri="{FF2B5EF4-FFF2-40B4-BE49-F238E27FC236}">
                <a16:creationId xmlns:a16="http://schemas.microsoft.com/office/drawing/2014/main" id="{EF869277-3AD1-1DD2-B8CE-AD7EE6C37CCC}"/>
              </a:ext>
            </a:extLst>
          </p:cNvPr>
          <p:cNvSpPr txBox="1">
            <a:spLocks/>
          </p:cNvSpPr>
          <p:nvPr/>
        </p:nvSpPr>
        <p:spPr>
          <a:xfrm>
            <a:off x="469900" y="1229730"/>
            <a:ext cx="10633527" cy="717268"/>
          </a:xfrm>
          <a:prstGeom prst="rect">
            <a:avLst/>
          </a:prstGeom>
        </p:spPr>
        <p:txBody>
          <a:bodyPr vert="horz" lIns="0" tIns="0" rIns="0" bIns="0" rtlCol="0">
            <a:noAutofit/>
          </a:bodyPr>
          <a:lstStyle>
            <a:lvl1pPr marL="0" indent="0" algn="l" defTabSz="1219170" rtl="0" eaLnBrk="1" latinLnBrk="0" hangingPunct="1">
              <a:lnSpc>
                <a:spcPct val="120000"/>
              </a:lnSpc>
              <a:spcBef>
                <a:spcPts val="0"/>
              </a:spcBef>
              <a:spcAft>
                <a:spcPts val="12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1219170" rtl="0" eaLnBrk="1" latinLnBrk="0" hangingPunct="1">
              <a:spcBef>
                <a:spcPts val="0"/>
              </a:spcBef>
              <a:spcAft>
                <a:spcPts val="600"/>
              </a:spcAft>
              <a:buClrTx/>
              <a:buSzPct val="100000"/>
              <a:buFont typeface="Arial"/>
              <a:buNone/>
              <a:defRPr lang="en-US" sz="11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6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6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6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912813"/>
            <a:r>
              <a:rPr lang="en-GB" altLang="en-US" dirty="0">
                <a:solidFill>
                  <a:srgbClr val="000000"/>
                </a:solidFill>
                <a:latin typeface="Calibri" panose="020F0502020204030204" pitchFamily="34" charset="0"/>
                <a:ea typeface="Times New Roman" pitchFamily="18" charset="0"/>
                <a:cs typeface="Calibri" panose="020F0502020204030204" pitchFamily="34" charset="0"/>
              </a:rPr>
              <a:t>Our Middle East BCM practice has experienced practitioners and consultants certified in the business continuity field. We have successfully developed and evolved BCMS, implemented end-to-end projects, assessed readiness and maturity, and advised on BCM best practices.</a:t>
            </a:r>
          </a:p>
        </p:txBody>
      </p:sp>
      <p:grpSp>
        <p:nvGrpSpPr>
          <p:cNvPr id="3" name="Group 2">
            <a:extLst>
              <a:ext uri="{FF2B5EF4-FFF2-40B4-BE49-F238E27FC236}">
                <a16:creationId xmlns:a16="http://schemas.microsoft.com/office/drawing/2014/main" id="{9C5DB190-8792-2F3A-1849-78493344B146}"/>
              </a:ext>
            </a:extLst>
          </p:cNvPr>
          <p:cNvGrpSpPr/>
          <p:nvPr/>
        </p:nvGrpSpPr>
        <p:grpSpPr>
          <a:xfrm>
            <a:off x="793776" y="1748728"/>
            <a:ext cx="9617537" cy="4516489"/>
            <a:chOff x="793776" y="1748728"/>
            <a:chExt cx="9617537" cy="4516489"/>
          </a:xfrm>
        </p:grpSpPr>
        <p:grpSp>
          <p:nvGrpSpPr>
            <p:cNvPr id="5" name="Group 4">
              <a:extLst>
                <a:ext uri="{FF2B5EF4-FFF2-40B4-BE49-F238E27FC236}">
                  <a16:creationId xmlns:a16="http://schemas.microsoft.com/office/drawing/2014/main" id="{53FDA781-0850-D728-C521-FD7CA88C8CAD}"/>
                </a:ext>
              </a:extLst>
            </p:cNvPr>
            <p:cNvGrpSpPr/>
            <p:nvPr/>
          </p:nvGrpSpPr>
          <p:grpSpPr>
            <a:xfrm>
              <a:off x="7508033" y="1821662"/>
              <a:ext cx="1435449" cy="4353527"/>
              <a:chOff x="7747340" y="1769404"/>
              <a:chExt cx="1532556" cy="4602018"/>
            </a:xfrm>
          </p:grpSpPr>
          <p:pic>
            <p:nvPicPr>
              <p:cNvPr id="40" name="Picture 39">
                <a:extLst>
                  <a:ext uri="{FF2B5EF4-FFF2-40B4-BE49-F238E27FC236}">
                    <a16:creationId xmlns:a16="http://schemas.microsoft.com/office/drawing/2014/main" id="{B0132270-AE9D-60D6-AB19-AC8805720B97}"/>
                  </a:ext>
                </a:extLst>
              </p:cNvPr>
              <p:cNvPicPr/>
              <p:nvPr/>
            </p:nvPicPr>
            <p:blipFill>
              <a:blip r:embed="rId3" cstate="email">
                <a:extLst>
                  <a:ext uri="{28A0092B-C50C-407E-A947-70E740481C1C}">
                    <a14:useLocalDpi xmlns:a14="http://schemas.microsoft.com/office/drawing/2010/main"/>
                  </a:ext>
                </a:extLst>
              </a:blip>
              <a:stretch>
                <a:fillRect/>
              </a:stretch>
            </p:blipFill>
            <p:spPr>
              <a:xfrm>
                <a:off x="7950929" y="4844007"/>
                <a:ext cx="1125379" cy="699958"/>
              </a:xfrm>
              <a:prstGeom prst="rect">
                <a:avLst/>
              </a:prstGeom>
            </p:spPr>
          </p:pic>
          <p:pic>
            <p:nvPicPr>
              <p:cNvPr id="41" name="Picture 40" descr="http://www.heavyliftpfi.com/_Attachments/Gallery/Shared/Etihad%20Rail%20Logo.jpg">
                <a:extLst>
                  <a:ext uri="{FF2B5EF4-FFF2-40B4-BE49-F238E27FC236}">
                    <a16:creationId xmlns:a16="http://schemas.microsoft.com/office/drawing/2014/main" id="{CB44827C-7BFC-0B03-FA62-701FAA3ECF98}"/>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829687" y="3832831"/>
                <a:ext cx="1367862" cy="594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7" descr="image001">
                <a:extLst>
                  <a:ext uri="{FF2B5EF4-FFF2-40B4-BE49-F238E27FC236}">
                    <a16:creationId xmlns:a16="http://schemas.microsoft.com/office/drawing/2014/main" id="{2DAE1CD8-7B48-7CDB-5EF0-1B62CF564465}"/>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747340" y="2729919"/>
                <a:ext cx="1532556" cy="549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2" descr="C:\Users\haammar\Desktop\Maaden Logo - Good.png">
                <a:extLst>
                  <a:ext uri="{FF2B5EF4-FFF2-40B4-BE49-F238E27FC236}">
                    <a16:creationId xmlns:a16="http://schemas.microsoft.com/office/drawing/2014/main" id="{B193BB44-330E-9446-2C43-0667CE2D40DD}"/>
                  </a:ext>
                </a:extLst>
              </p:cNvPr>
              <p:cNvPicPr/>
              <p:nvPr/>
            </p:nvPicPr>
            <p:blipFill>
              <a:blip r:embed="rId6" cstate="email">
                <a:extLst>
                  <a:ext uri="{28A0092B-C50C-407E-A947-70E740481C1C}">
                    <a14:useLocalDpi xmlns:a14="http://schemas.microsoft.com/office/drawing/2010/main"/>
                  </a:ext>
                </a:extLst>
              </a:blip>
              <a:srcRect/>
              <a:stretch>
                <a:fillRect/>
              </a:stretch>
            </p:blipFill>
            <p:spPr bwMode="auto">
              <a:xfrm>
                <a:off x="7979607" y="5928174"/>
                <a:ext cx="1068023" cy="443248"/>
              </a:xfrm>
              <a:prstGeom prst="rect">
                <a:avLst/>
              </a:prstGeom>
              <a:noFill/>
              <a:ln w="9525">
                <a:noFill/>
                <a:miter lim="800000"/>
                <a:headEnd/>
                <a:tailEnd/>
              </a:ln>
            </p:spPr>
          </p:pic>
          <p:pic>
            <p:nvPicPr>
              <p:cNvPr id="61" name="Picture 60">
                <a:extLst>
                  <a:ext uri="{FF2B5EF4-FFF2-40B4-BE49-F238E27FC236}">
                    <a16:creationId xmlns:a16="http://schemas.microsoft.com/office/drawing/2014/main" id="{2A2B8C2C-8818-5999-74F9-D36BB9826FA2}"/>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829489" y="1769404"/>
                <a:ext cx="1368258" cy="482934"/>
              </a:xfrm>
              <a:prstGeom prst="rect">
                <a:avLst/>
              </a:prstGeom>
            </p:spPr>
          </p:pic>
        </p:grpSp>
        <p:grpSp>
          <p:nvGrpSpPr>
            <p:cNvPr id="6" name="Group 5">
              <a:extLst>
                <a:ext uri="{FF2B5EF4-FFF2-40B4-BE49-F238E27FC236}">
                  <a16:creationId xmlns:a16="http://schemas.microsoft.com/office/drawing/2014/main" id="{D2DD3506-1967-CEF4-2B04-5432BBF16C9C}"/>
                </a:ext>
              </a:extLst>
            </p:cNvPr>
            <p:cNvGrpSpPr/>
            <p:nvPr/>
          </p:nvGrpSpPr>
          <p:grpSpPr>
            <a:xfrm>
              <a:off x="6211494" y="1903961"/>
              <a:ext cx="1370276" cy="4358508"/>
              <a:chOff x="6281189" y="1856401"/>
              <a:chExt cx="1462974" cy="4607284"/>
            </a:xfrm>
          </p:grpSpPr>
          <p:pic>
            <p:nvPicPr>
              <p:cNvPr id="35" name="Picture 34">
                <a:extLst>
                  <a:ext uri="{FF2B5EF4-FFF2-40B4-BE49-F238E27FC236}">
                    <a16:creationId xmlns:a16="http://schemas.microsoft.com/office/drawing/2014/main" id="{B7B64C57-F2C1-F90B-19E3-801CBFD1634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281189" y="4808490"/>
                <a:ext cx="1462974" cy="770993"/>
              </a:xfrm>
              <a:prstGeom prst="rect">
                <a:avLst/>
              </a:prstGeom>
            </p:spPr>
          </p:pic>
          <p:pic>
            <p:nvPicPr>
              <p:cNvPr id="36" name="Picture 35">
                <a:extLst>
                  <a:ext uri="{FF2B5EF4-FFF2-40B4-BE49-F238E27FC236}">
                    <a16:creationId xmlns:a16="http://schemas.microsoft.com/office/drawing/2014/main" id="{6E880779-CFA2-6A67-CF84-BEF96B11D30E}"/>
                  </a:ext>
                </a:extLst>
              </p:cNvPr>
              <p:cNvPicPr/>
              <p:nvPr/>
            </p:nvPicPr>
            <p:blipFill>
              <a:blip r:embed="rId9" cstate="email">
                <a:extLst>
                  <a:ext uri="{28A0092B-C50C-407E-A947-70E740481C1C}">
                    <a14:useLocalDpi xmlns:a14="http://schemas.microsoft.com/office/drawing/2010/main"/>
                  </a:ext>
                </a:extLst>
              </a:blip>
              <a:stretch>
                <a:fillRect/>
              </a:stretch>
            </p:blipFill>
            <p:spPr>
              <a:xfrm>
                <a:off x="6475491" y="4007634"/>
                <a:ext cx="1074371" cy="244446"/>
              </a:xfrm>
              <a:prstGeom prst="rect">
                <a:avLst/>
              </a:prstGeom>
            </p:spPr>
          </p:pic>
          <p:pic>
            <p:nvPicPr>
              <p:cNvPr id="37" name="Picture 36">
                <a:extLst>
                  <a:ext uri="{FF2B5EF4-FFF2-40B4-BE49-F238E27FC236}">
                    <a16:creationId xmlns:a16="http://schemas.microsoft.com/office/drawing/2014/main" id="{966EFA85-5CA4-F70E-E5EF-E797F44ADF0F}"/>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485932" y="2681138"/>
                <a:ext cx="1053489" cy="646854"/>
              </a:xfrm>
              <a:prstGeom prst="rect">
                <a:avLst/>
              </a:prstGeom>
            </p:spPr>
          </p:pic>
          <p:pic>
            <p:nvPicPr>
              <p:cNvPr id="38" name="Picture 37">
                <a:extLst>
                  <a:ext uri="{FF2B5EF4-FFF2-40B4-BE49-F238E27FC236}">
                    <a16:creationId xmlns:a16="http://schemas.microsoft.com/office/drawing/2014/main" id="{3242EEF8-DCB4-581E-E75F-BBF171E2565B}"/>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364468" y="5835911"/>
                <a:ext cx="1296417" cy="627774"/>
              </a:xfrm>
              <a:prstGeom prst="rect">
                <a:avLst/>
              </a:prstGeom>
            </p:spPr>
          </p:pic>
          <p:pic>
            <p:nvPicPr>
              <p:cNvPr id="39" name="Picture 38">
                <a:extLst>
                  <a:ext uri="{FF2B5EF4-FFF2-40B4-BE49-F238E27FC236}">
                    <a16:creationId xmlns:a16="http://schemas.microsoft.com/office/drawing/2014/main" id="{99BFDBED-0BA5-0ACE-29C3-503AA5D78C3A}"/>
                  </a:ext>
                </a:extLst>
              </p:cNvPr>
              <p:cNvPicPr/>
              <p:nvPr/>
            </p:nvPicPr>
            <p:blipFill>
              <a:blip r:embed="rId12" cstate="email">
                <a:extLst>
                  <a:ext uri="{28A0092B-C50C-407E-A947-70E740481C1C}">
                    <a14:useLocalDpi xmlns:a14="http://schemas.microsoft.com/office/drawing/2010/main"/>
                  </a:ext>
                </a:extLst>
              </a:blip>
              <a:stretch>
                <a:fillRect/>
              </a:stretch>
            </p:blipFill>
            <p:spPr>
              <a:xfrm>
                <a:off x="6373353" y="1856401"/>
                <a:ext cx="1278646" cy="308940"/>
              </a:xfrm>
              <a:prstGeom prst="rect">
                <a:avLst/>
              </a:prstGeom>
            </p:spPr>
          </p:pic>
        </p:grpSp>
        <p:grpSp>
          <p:nvGrpSpPr>
            <p:cNvPr id="7" name="Group 6">
              <a:extLst>
                <a:ext uri="{FF2B5EF4-FFF2-40B4-BE49-F238E27FC236}">
                  <a16:creationId xmlns:a16="http://schemas.microsoft.com/office/drawing/2014/main" id="{6821CD92-9134-D6DE-7BD1-211282E3724C}"/>
                </a:ext>
              </a:extLst>
            </p:cNvPr>
            <p:cNvGrpSpPr/>
            <p:nvPr/>
          </p:nvGrpSpPr>
          <p:grpSpPr>
            <a:xfrm>
              <a:off x="793776" y="1842805"/>
              <a:ext cx="1235145" cy="4407412"/>
              <a:chOff x="4884380" y="1791754"/>
              <a:chExt cx="1318702" cy="4658979"/>
            </a:xfrm>
          </p:grpSpPr>
          <p:pic>
            <p:nvPicPr>
              <p:cNvPr id="30" name="Picture 29">
                <a:extLst>
                  <a:ext uri="{FF2B5EF4-FFF2-40B4-BE49-F238E27FC236}">
                    <a16:creationId xmlns:a16="http://schemas.microsoft.com/office/drawing/2014/main" id="{AFC2E3E4-5F58-CAEA-B3D5-2C788FBBB7BF}"/>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982615" y="4919733"/>
                <a:ext cx="1122233" cy="548507"/>
              </a:xfrm>
              <a:prstGeom prst="rect">
                <a:avLst/>
              </a:prstGeom>
            </p:spPr>
          </p:pic>
          <p:pic>
            <p:nvPicPr>
              <p:cNvPr id="31" name="Picture 30">
                <a:extLst>
                  <a:ext uri="{FF2B5EF4-FFF2-40B4-BE49-F238E27FC236}">
                    <a16:creationId xmlns:a16="http://schemas.microsoft.com/office/drawing/2014/main" id="{CA64CC0E-7F12-0351-457E-0595A0017B76}"/>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935474" y="3910739"/>
                <a:ext cx="1216514" cy="438236"/>
              </a:xfrm>
              <a:prstGeom prst="rect">
                <a:avLst/>
              </a:prstGeom>
            </p:spPr>
          </p:pic>
          <p:pic>
            <p:nvPicPr>
              <p:cNvPr id="32" name="Picture 31">
                <a:extLst>
                  <a:ext uri="{FF2B5EF4-FFF2-40B4-BE49-F238E27FC236}">
                    <a16:creationId xmlns:a16="http://schemas.microsoft.com/office/drawing/2014/main" id="{C2E440C5-3411-E88F-6C86-E37465F2E308}"/>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069063" y="2557906"/>
                <a:ext cx="949336" cy="893319"/>
              </a:xfrm>
              <a:prstGeom prst="rect">
                <a:avLst/>
              </a:prstGeom>
            </p:spPr>
          </p:pic>
          <p:pic>
            <p:nvPicPr>
              <p:cNvPr id="33" name="Picture 32">
                <a:extLst>
                  <a:ext uri="{FF2B5EF4-FFF2-40B4-BE49-F238E27FC236}">
                    <a16:creationId xmlns:a16="http://schemas.microsoft.com/office/drawing/2014/main" id="{85FE1A63-6E78-1FDE-F2E1-9BEFF64D96A4}"/>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884380" y="5848864"/>
                <a:ext cx="1318702" cy="601869"/>
              </a:xfrm>
              <a:prstGeom prst="rect">
                <a:avLst/>
              </a:prstGeom>
            </p:spPr>
          </p:pic>
          <p:pic>
            <p:nvPicPr>
              <p:cNvPr id="34" name="Picture 33">
                <a:extLst>
                  <a:ext uri="{FF2B5EF4-FFF2-40B4-BE49-F238E27FC236}">
                    <a16:creationId xmlns:a16="http://schemas.microsoft.com/office/drawing/2014/main" id="{B535F1C0-D216-5CA3-933E-7D76946C4B29}"/>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939079" y="1791754"/>
                <a:ext cx="1209304" cy="438235"/>
              </a:xfrm>
              <a:prstGeom prst="rect">
                <a:avLst/>
              </a:prstGeom>
            </p:spPr>
          </p:pic>
        </p:grpSp>
        <p:pic>
          <p:nvPicPr>
            <p:cNvPr id="8" name="Picture 7" descr="C:\Users\Khaled\Desktop\Saudi Payments\Stationary\PPT Template\JPG\PPT-09.png">
              <a:extLst>
                <a:ext uri="{FF2B5EF4-FFF2-40B4-BE49-F238E27FC236}">
                  <a16:creationId xmlns:a16="http://schemas.microsoft.com/office/drawing/2014/main" id="{DE358FF5-0CA1-854B-7DB3-E3303CA798E5}"/>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3801692" y="2822556"/>
              <a:ext cx="841732" cy="50158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823A95F6-1F54-CD87-7BA4-AB84E0FB25F1}"/>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3517240" y="4842077"/>
              <a:ext cx="1410639" cy="438506"/>
            </a:xfrm>
            <a:prstGeom prst="rect">
              <a:avLst/>
            </a:prstGeom>
          </p:spPr>
        </p:pic>
        <p:pic>
          <p:nvPicPr>
            <p:cNvPr id="10" name="Picture 133207">
              <a:extLst>
                <a:ext uri="{FF2B5EF4-FFF2-40B4-BE49-F238E27FC236}">
                  <a16:creationId xmlns:a16="http://schemas.microsoft.com/office/drawing/2014/main" id="{AB90FE88-0E44-1DDD-C88D-A1A283B8A2D2}"/>
                </a:ext>
              </a:extLst>
            </p:cNvPr>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3692307" y="3786182"/>
              <a:ext cx="1060503" cy="45440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6E149A6A-DFD1-1685-093D-48D330D0317B}"/>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3617467" y="5665847"/>
              <a:ext cx="1210186" cy="599370"/>
            </a:xfrm>
            <a:prstGeom prst="rect">
              <a:avLst/>
            </a:prstGeom>
          </p:spPr>
        </p:pic>
        <p:grpSp>
          <p:nvGrpSpPr>
            <p:cNvPr id="12" name="Group 11">
              <a:extLst>
                <a:ext uri="{FF2B5EF4-FFF2-40B4-BE49-F238E27FC236}">
                  <a16:creationId xmlns:a16="http://schemas.microsoft.com/office/drawing/2014/main" id="{F3AE8BD5-4CA4-43E2-9D73-50A6B946A79F}"/>
                </a:ext>
              </a:extLst>
            </p:cNvPr>
            <p:cNvGrpSpPr/>
            <p:nvPr/>
          </p:nvGrpSpPr>
          <p:grpSpPr>
            <a:xfrm>
              <a:off x="8944337" y="1772429"/>
              <a:ext cx="1466976" cy="4315516"/>
              <a:chOff x="9382740" y="1717361"/>
              <a:chExt cx="1566216" cy="4561838"/>
            </a:xfrm>
          </p:grpSpPr>
          <p:pic>
            <p:nvPicPr>
              <p:cNvPr id="25" name="Picture 24" descr="ENEC_HeaderLogoPNG.png">
                <a:extLst>
                  <a:ext uri="{FF2B5EF4-FFF2-40B4-BE49-F238E27FC236}">
                    <a16:creationId xmlns:a16="http://schemas.microsoft.com/office/drawing/2014/main" id="{78780870-625F-8E3B-D3B6-D361DE2F83CE}"/>
                  </a:ext>
                </a:extLst>
              </p:cNvPr>
              <p:cNvPicPr/>
              <p:nvPr/>
            </p:nvPicPr>
            <p:blipFill>
              <a:blip r:embed="rId22" cstate="email">
                <a:extLst>
                  <a:ext uri="{28A0092B-C50C-407E-A947-70E740481C1C}">
                    <a14:useLocalDpi xmlns:a14="http://schemas.microsoft.com/office/drawing/2010/main"/>
                  </a:ext>
                </a:extLst>
              </a:blip>
              <a:srcRect/>
              <a:stretch>
                <a:fillRect/>
              </a:stretch>
            </p:blipFill>
            <p:spPr>
              <a:xfrm>
                <a:off x="9828593" y="5002007"/>
                <a:ext cx="594872" cy="383958"/>
              </a:xfrm>
              <a:prstGeom prst="rect">
                <a:avLst/>
              </a:prstGeom>
              <a:noFill/>
              <a:ln>
                <a:noFill/>
              </a:ln>
            </p:spPr>
          </p:pic>
          <p:pic>
            <p:nvPicPr>
              <p:cNvPr id="26" name="Picture 25">
                <a:extLst>
                  <a:ext uri="{FF2B5EF4-FFF2-40B4-BE49-F238E27FC236}">
                    <a16:creationId xmlns:a16="http://schemas.microsoft.com/office/drawing/2014/main" id="{DAC3FDD5-3077-5701-7FBA-C73E7BC0031A}"/>
                  </a:ext>
                </a:extLst>
              </p:cNvPr>
              <p:cNvPicPr/>
              <p:nvPr/>
            </p:nvPicPr>
            <p:blipFill>
              <a:blip r:embed="rId23" cstate="email">
                <a:extLst>
                  <a:ext uri="{28A0092B-C50C-407E-A947-70E740481C1C}">
                    <a14:useLocalDpi xmlns:a14="http://schemas.microsoft.com/office/drawing/2010/main"/>
                  </a:ext>
                </a:extLst>
              </a:blip>
              <a:stretch>
                <a:fillRect/>
              </a:stretch>
            </p:blipFill>
            <p:spPr>
              <a:xfrm>
                <a:off x="9708458" y="3766663"/>
                <a:ext cx="835142" cy="726388"/>
              </a:xfrm>
              <a:prstGeom prst="rect">
                <a:avLst/>
              </a:prstGeom>
            </p:spPr>
          </p:pic>
          <p:pic>
            <p:nvPicPr>
              <p:cNvPr id="27" name="Picture 26" descr="C:\Users\haammar\AppData\Local\Microsoft\Windows\Temporary Internet Files\Content.Outlook\NVB6F3QA\CBK - LOGO.png">
                <a:extLst>
                  <a:ext uri="{FF2B5EF4-FFF2-40B4-BE49-F238E27FC236}">
                    <a16:creationId xmlns:a16="http://schemas.microsoft.com/office/drawing/2014/main" id="{84019FD8-1A2C-9326-5042-B49F1DF67DB6}"/>
                  </a:ext>
                </a:extLst>
              </p:cNvPr>
              <p:cNvPicPr/>
              <p:nvPr/>
            </p:nvPicPr>
            <p:blipFill>
              <a:blip r:embed="rId24" cstate="email">
                <a:extLst>
                  <a:ext uri="{28A0092B-C50C-407E-A947-70E740481C1C}">
                    <a14:useLocalDpi xmlns:a14="http://schemas.microsoft.com/office/drawing/2010/main"/>
                  </a:ext>
                </a:extLst>
              </a:blip>
              <a:srcRect/>
              <a:stretch>
                <a:fillRect/>
              </a:stretch>
            </p:blipFill>
            <p:spPr bwMode="auto">
              <a:xfrm>
                <a:off x="9774941" y="2677651"/>
                <a:ext cx="702176" cy="653829"/>
              </a:xfrm>
              <a:prstGeom prst="rect">
                <a:avLst/>
              </a:prstGeom>
              <a:noFill/>
              <a:ln w="9525">
                <a:noFill/>
                <a:miter lim="800000"/>
                <a:headEnd/>
                <a:tailEnd/>
              </a:ln>
            </p:spPr>
          </p:pic>
          <p:graphicFrame>
            <p:nvGraphicFramePr>
              <p:cNvPr id="28" name="Object 27">
                <a:extLst>
                  <a:ext uri="{FF2B5EF4-FFF2-40B4-BE49-F238E27FC236}">
                    <a16:creationId xmlns:a16="http://schemas.microsoft.com/office/drawing/2014/main" id="{260C1C5C-53B9-4F61-BBC3-B3787025A14E}"/>
                  </a:ext>
                </a:extLst>
              </p:cNvPr>
              <p:cNvGraphicFramePr>
                <a:graphicFrameLocks noChangeAspect="1"/>
              </p:cNvGraphicFramePr>
              <p:nvPr>
                <p:extLst>
                  <p:ext uri="{D42A27DB-BD31-4B8C-83A1-F6EECF244321}">
                    <p14:modId xmlns:p14="http://schemas.microsoft.com/office/powerpoint/2010/main" val="3105018026"/>
                  </p:ext>
                </p:extLst>
              </p:nvPr>
            </p:nvGraphicFramePr>
            <p:xfrm>
              <a:off x="9795620" y="6020397"/>
              <a:ext cx="660818" cy="258802"/>
            </p:xfrm>
            <a:graphic>
              <a:graphicData uri="http://schemas.openxmlformats.org/presentationml/2006/ole">
                <mc:AlternateContent xmlns:mc="http://schemas.openxmlformats.org/markup-compatibility/2006">
                  <mc:Choice xmlns:v="urn:schemas-microsoft-com:vml" Requires="v">
                    <p:oleObj name="Bitmap Image" r:id="rId25" imgW="1695687" imgH="733333" progId="Paint.Picture">
                      <p:embed/>
                    </p:oleObj>
                  </mc:Choice>
                  <mc:Fallback>
                    <p:oleObj name="Bitmap Image" r:id="rId25" imgW="1695687" imgH="733333" progId="Paint.Picture">
                      <p:embed/>
                      <p:pic>
                        <p:nvPicPr>
                          <p:cNvPr id="28" name="Object 27">
                            <a:extLst>
                              <a:ext uri="{FF2B5EF4-FFF2-40B4-BE49-F238E27FC236}">
                                <a16:creationId xmlns:a16="http://schemas.microsoft.com/office/drawing/2014/main" id="{260C1C5C-53B9-4F61-BBC3-B3787025A14E}"/>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95620" y="6020397"/>
                            <a:ext cx="660818" cy="258802"/>
                          </a:xfrm>
                          <a:prstGeom prst="rect">
                            <a:avLst/>
                          </a:prstGeom>
                          <a:noFill/>
                        </p:spPr>
                      </p:pic>
                    </p:oleObj>
                  </mc:Fallback>
                </mc:AlternateContent>
              </a:graphicData>
            </a:graphic>
          </p:graphicFrame>
          <p:pic>
            <p:nvPicPr>
              <p:cNvPr id="29" name="Picture 28" descr="Text&#10;&#10;Description automatically generated">
                <a:extLst>
                  <a:ext uri="{FF2B5EF4-FFF2-40B4-BE49-F238E27FC236}">
                    <a16:creationId xmlns:a16="http://schemas.microsoft.com/office/drawing/2014/main" id="{18991B9B-AB03-5ED2-DDE4-F17F3234AAB8}"/>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9382740" y="1717361"/>
                <a:ext cx="1566216" cy="558617"/>
              </a:xfrm>
              <a:prstGeom prst="rect">
                <a:avLst/>
              </a:prstGeom>
            </p:spPr>
          </p:pic>
        </p:grpSp>
        <p:pic>
          <p:nvPicPr>
            <p:cNvPr id="13" name="Picture 12">
              <a:extLst>
                <a:ext uri="{FF2B5EF4-FFF2-40B4-BE49-F238E27FC236}">
                  <a16:creationId xmlns:a16="http://schemas.microsoft.com/office/drawing/2014/main" id="{BEB5FFC9-069A-FD25-9EB2-E0B21442B2FB}"/>
                </a:ext>
              </a:extLst>
            </p:cNvPr>
            <p:cNvPicPr>
              <a:picLocks noChangeAspect="1"/>
            </p:cNvPicPr>
            <p:nvPr/>
          </p:nvPicPr>
          <p:blipFill rotWithShape="1">
            <a:blip r:embed="rId28" cstate="email">
              <a:extLst>
                <a:ext uri="{28A0092B-C50C-407E-A947-70E740481C1C}">
                  <a14:useLocalDpi xmlns:a14="http://schemas.microsoft.com/office/drawing/2010/main"/>
                </a:ext>
              </a:extLst>
            </a:blip>
            <a:srcRect/>
            <a:stretch/>
          </p:blipFill>
          <p:spPr>
            <a:xfrm>
              <a:off x="2051624" y="4790333"/>
              <a:ext cx="1539353" cy="541994"/>
            </a:xfrm>
            <a:prstGeom prst="rect">
              <a:avLst/>
            </a:prstGeom>
          </p:spPr>
        </p:pic>
        <p:pic>
          <p:nvPicPr>
            <p:cNvPr id="14" name="Picture 13">
              <a:extLst>
                <a:ext uri="{FF2B5EF4-FFF2-40B4-BE49-F238E27FC236}">
                  <a16:creationId xmlns:a16="http://schemas.microsoft.com/office/drawing/2014/main" id="{8040100C-D149-34F1-C6CA-8D6B7008F25D}"/>
                </a:ext>
              </a:extLst>
            </p:cNvPr>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2291049" y="3808505"/>
              <a:ext cx="1060503" cy="492311"/>
            </a:xfrm>
            <a:prstGeom prst="rect">
              <a:avLst/>
            </a:prstGeom>
          </p:spPr>
        </p:pic>
        <p:pic>
          <p:nvPicPr>
            <p:cNvPr id="15" name="Picture 14" descr="http://www.iranmall.ir/source/Arab%20Banks/rte_NCB%20logo.JPG">
              <a:extLst>
                <a:ext uri="{FF2B5EF4-FFF2-40B4-BE49-F238E27FC236}">
                  <a16:creationId xmlns:a16="http://schemas.microsoft.com/office/drawing/2014/main" id="{B22E531F-E790-63E6-9302-04B77D52E133}"/>
                </a:ext>
              </a:extLst>
            </p:cNvPr>
            <p:cNvPicPr/>
            <p:nvPr/>
          </p:nvPicPr>
          <p:blipFill>
            <a:blip r:embed="rId30" cstate="email">
              <a:extLst>
                <a:ext uri="{28A0092B-C50C-407E-A947-70E740481C1C}">
                  <a14:useLocalDpi xmlns:a14="http://schemas.microsoft.com/office/drawing/2010/main"/>
                </a:ext>
              </a:extLst>
            </a:blip>
            <a:srcRect/>
            <a:stretch>
              <a:fillRect/>
            </a:stretch>
          </p:blipFill>
          <p:spPr bwMode="auto">
            <a:xfrm>
              <a:off x="2238501" y="5841153"/>
              <a:ext cx="1165598" cy="248757"/>
            </a:xfrm>
            <a:prstGeom prst="rect">
              <a:avLst/>
            </a:prstGeom>
            <a:noFill/>
            <a:ln>
              <a:noFill/>
            </a:ln>
          </p:spPr>
        </p:pic>
        <p:pic>
          <p:nvPicPr>
            <p:cNvPr id="16" name="Picture 15">
              <a:extLst>
                <a:ext uri="{FF2B5EF4-FFF2-40B4-BE49-F238E27FC236}">
                  <a16:creationId xmlns:a16="http://schemas.microsoft.com/office/drawing/2014/main" id="{100F3C54-D373-02FE-4CAF-A4A4A2DCAA77}"/>
                </a:ext>
              </a:extLst>
            </p:cNvPr>
            <p:cNvPicPr>
              <a:picLocks noChangeAspect="1"/>
            </p:cNvPicPr>
            <p:nvPr/>
          </p:nvPicPr>
          <p:blipFill>
            <a:blip r:embed="rId31" cstate="email">
              <a:extLst>
                <a:ext uri="{BEBA8EAE-BF5A-486C-A8C5-ECC9F3942E4B}">
                  <a14:imgProps xmlns:a14="http://schemas.microsoft.com/office/drawing/2010/main">
                    <a14:imgLayer r:embed="rId32">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2087149" y="2844622"/>
              <a:ext cx="1398235" cy="409746"/>
            </a:xfrm>
            <a:prstGeom prst="rect">
              <a:avLst/>
            </a:prstGeom>
          </p:spPr>
        </p:pic>
        <p:grpSp>
          <p:nvGrpSpPr>
            <p:cNvPr id="17" name="Group 16">
              <a:extLst>
                <a:ext uri="{FF2B5EF4-FFF2-40B4-BE49-F238E27FC236}">
                  <a16:creationId xmlns:a16="http://schemas.microsoft.com/office/drawing/2014/main" id="{DD51185D-D3CC-EAF4-CDB7-282B26DFA874}"/>
                </a:ext>
              </a:extLst>
            </p:cNvPr>
            <p:cNvGrpSpPr/>
            <p:nvPr/>
          </p:nvGrpSpPr>
          <p:grpSpPr>
            <a:xfrm>
              <a:off x="4862637" y="1881658"/>
              <a:ext cx="1697977" cy="4321930"/>
              <a:chOff x="628095" y="1881658"/>
              <a:chExt cx="1697977" cy="4321930"/>
            </a:xfrm>
          </p:grpSpPr>
          <p:pic>
            <p:nvPicPr>
              <p:cNvPr id="20" name="Picture 19" descr="Logo&#10;&#10;Description automatically generated">
                <a:extLst>
                  <a:ext uri="{FF2B5EF4-FFF2-40B4-BE49-F238E27FC236}">
                    <a16:creationId xmlns:a16="http://schemas.microsoft.com/office/drawing/2014/main" id="{F8BC8CF6-99AE-8DA2-1171-DD70FFC76F34}"/>
                  </a:ext>
                </a:extLst>
              </p:cNvPr>
              <p:cNvPicPr/>
              <p:nvPr/>
            </p:nvPicPr>
            <p:blipFill rotWithShape="1">
              <a:blip r:embed="rId33" cstate="email">
                <a:extLst>
                  <a:ext uri="{28A0092B-C50C-407E-A947-70E740481C1C}">
                    <a14:useLocalDpi xmlns:a14="http://schemas.microsoft.com/office/drawing/2010/main"/>
                  </a:ext>
                </a:extLst>
              </a:blip>
              <a:srcRect/>
              <a:stretch/>
            </p:blipFill>
            <p:spPr bwMode="auto">
              <a:xfrm>
                <a:off x="628095" y="5746731"/>
                <a:ext cx="1697977" cy="456857"/>
              </a:xfrm>
              <a:prstGeom prst="rect">
                <a:avLst/>
              </a:prstGeom>
              <a:ln>
                <a:noFill/>
              </a:ln>
              <a:extLst>
                <a:ext uri="{53640926-AAD7-44D8-BBD7-CCE9431645EC}">
                  <a14:shadowObscured xmlns:a14="http://schemas.microsoft.com/office/drawing/2010/main"/>
                </a:ext>
              </a:extLst>
            </p:spPr>
          </p:pic>
          <p:pic>
            <p:nvPicPr>
              <p:cNvPr id="21" name="Picture 20">
                <a:extLst>
                  <a:ext uri="{FF2B5EF4-FFF2-40B4-BE49-F238E27FC236}">
                    <a16:creationId xmlns:a16="http://schemas.microsoft.com/office/drawing/2014/main" id="{665B0AFF-C292-0A33-52EC-074DFC3685EE}"/>
                  </a:ext>
                </a:extLst>
              </p:cNvPr>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882012" y="4734967"/>
                <a:ext cx="1180605" cy="652725"/>
              </a:xfrm>
              <a:prstGeom prst="rect">
                <a:avLst/>
              </a:prstGeom>
            </p:spPr>
          </p:pic>
          <p:pic>
            <p:nvPicPr>
              <p:cNvPr id="22" name="Picture 21">
                <a:extLst>
                  <a:ext uri="{FF2B5EF4-FFF2-40B4-BE49-F238E27FC236}">
                    <a16:creationId xmlns:a16="http://schemas.microsoft.com/office/drawing/2014/main" id="{A312492D-C23E-5225-1286-255FB4940FA0}"/>
                  </a:ext>
                </a:extLst>
              </p:cNvPr>
              <p:cNvPicPr>
                <a:picLocks noChangeAspect="1"/>
              </p:cNvPicPr>
              <p:nvPr/>
            </p:nvPicPr>
            <p:blipFill rotWithShape="1">
              <a:blip r:embed="rId35" cstate="email">
                <a:extLst>
                  <a:ext uri="{28A0092B-C50C-407E-A947-70E740481C1C}">
                    <a14:useLocalDpi xmlns:a14="http://schemas.microsoft.com/office/drawing/2010/main"/>
                  </a:ext>
                </a:extLst>
              </a:blip>
              <a:srcRect/>
              <a:stretch/>
            </p:blipFill>
            <p:spPr>
              <a:xfrm>
                <a:off x="739654" y="3652505"/>
                <a:ext cx="1465321" cy="804309"/>
              </a:xfrm>
              <a:prstGeom prst="rect">
                <a:avLst/>
              </a:prstGeom>
            </p:spPr>
          </p:pic>
          <p:pic>
            <p:nvPicPr>
              <p:cNvPr id="23" name="Picture 22" descr="p2">
                <a:extLst>
                  <a:ext uri="{FF2B5EF4-FFF2-40B4-BE49-F238E27FC236}">
                    <a16:creationId xmlns:a16="http://schemas.microsoft.com/office/drawing/2014/main" id="{516DD48A-4F10-5910-9704-7BABC6019CC1}"/>
                  </a:ext>
                </a:extLst>
              </p:cNvPr>
              <p:cNvPicPr/>
              <p:nvPr/>
            </p:nvPicPr>
            <p:blipFill rotWithShape="1">
              <a:blip r:embed="rId36" cstate="email">
                <a:extLst>
                  <a:ext uri="{28A0092B-C50C-407E-A947-70E740481C1C}">
                    <a14:useLocalDpi xmlns:a14="http://schemas.microsoft.com/office/drawing/2010/main"/>
                  </a:ext>
                </a:extLst>
              </a:blip>
              <a:srcRect/>
              <a:stretch/>
            </p:blipFill>
            <p:spPr bwMode="auto">
              <a:xfrm>
                <a:off x="837528" y="2792197"/>
                <a:ext cx="1269573" cy="395864"/>
              </a:xfrm>
              <a:prstGeom prst="rect">
                <a:avLst/>
              </a:prstGeom>
              <a:noFill/>
              <a:ln>
                <a:noFill/>
              </a:ln>
            </p:spPr>
          </p:pic>
          <p:pic>
            <p:nvPicPr>
              <p:cNvPr id="24" name="Picture 23">
                <a:extLst>
                  <a:ext uri="{FF2B5EF4-FFF2-40B4-BE49-F238E27FC236}">
                    <a16:creationId xmlns:a16="http://schemas.microsoft.com/office/drawing/2014/main" id="{8F3D140D-0378-AFC3-3EAD-3DD98238D087}"/>
                  </a:ext>
                </a:extLst>
              </p:cNvPr>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a:off x="733996" y="1881658"/>
                <a:ext cx="1462400" cy="336865"/>
              </a:xfrm>
              <a:prstGeom prst="rect">
                <a:avLst/>
              </a:prstGeom>
            </p:spPr>
          </p:pic>
        </p:grpSp>
        <p:pic>
          <p:nvPicPr>
            <p:cNvPr id="18" name="Picture 17" descr="A logo with a arch and text&#10;&#10;Description automatically generated">
              <a:extLst>
                <a:ext uri="{FF2B5EF4-FFF2-40B4-BE49-F238E27FC236}">
                  <a16:creationId xmlns:a16="http://schemas.microsoft.com/office/drawing/2014/main" id="{588A1767-E2CD-CFEB-D2D9-255C89B438BC}"/>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380434" y="1748728"/>
              <a:ext cx="881731" cy="881731"/>
            </a:xfrm>
            <a:prstGeom prst="rect">
              <a:avLst/>
            </a:prstGeom>
          </p:spPr>
        </p:pic>
        <p:pic>
          <p:nvPicPr>
            <p:cNvPr id="19" name="Picture 18">
              <a:extLst>
                <a:ext uri="{FF2B5EF4-FFF2-40B4-BE49-F238E27FC236}">
                  <a16:creationId xmlns:a16="http://schemas.microsoft.com/office/drawing/2014/main" id="{E8C4CB00-D3ED-2688-D1C5-49B92C8C66FF}"/>
                </a:ext>
              </a:extLst>
            </p:cNvPr>
            <p:cNvPicPr>
              <a:picLocks noChangeAspect="1"/>
            </p:cNvPicPr>
            <p:nvPr/>
          </p:nvPicPr>
          <p:blipFill rotWithShape="1">
            <a:blip r:embed="rId39"/>
            <a:srcRect t="26688" b="25999"/>
            <a:stretch/>
          </p:blipFill>
          <p:spPr>
            <a:xfrm>
              <a:off x="3436942" y="1867282"/>
              <a:ext cx="1356818" cy="641938"/>
            </a:xfrm>
            <a:prstGeom prst="rect">
              <a:avLst/>
            </a:prstGeom>
          </p:spPr>
        </p:pic>
      </p:grpSp>
    </p:spTree>
    <p:extLst>
      <p:ext uri="{BB962C8B-B14F-4D97-AF65-F5344CB8AC3E}">
        <p14:creationId xmlns:p14="http://schemas.microsoft.com/office/powerpoint/2010/main" val="3151105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bwMode="gray">
          <a:xfrm>
            <a:off x="501650" y="317501"/>
            <a:ext cx="11188700" cy="334100"/>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j-ea"/>
                <a:cs typeface="Calibri" panose="020F0502020204030204" pitchFamily="34" charset="0"/>
              </a:rPr>
              <a:t>Our Credentials </a:t>
            </a:r>
            <a:endParaRPr kumimoji="0" lang="en-US" sz="2000" b="1" i="0" u="none" strike="noStrike" kern="1200" cap="none" spc="0" normalizeH="0" baseline="0" noProof="0">
              <a:ln>
                <a:noFill/>
              </a:ln>
              <a:solidFill>
                <a:srgbClr val="FF0000"/>
              </a:solidFill>
              <a:effectLst/>
              <a:uLnTx/>
              <a:uFillTx/>
              <a:latin typeface="Calibri" panose="020F0502020204030204" pitchFamily="34" charset="0"/>
              <a:ea typeface="+mj-ea"/>
              <a:cs typeface="Calibri" panose="020F0502020204030204" pitchFamily="34" charset="0"/>
            </a:endParaRPr>
          </a:p>
        </p:txBody>
      </p:sp>
      <p:sp>
        <p:nvSpPr>
          <p:cNvPr id="56" name="Text Placeholder 1">
            <a:extLst>
              <a:ext uri="{FF2B5EF4-FFF2-40B4-BE49-F238E27FC236}">
                <a16:creationId xmlns:a16="http://schemas.microsoft.com/office/drawing/2014/main" id="{1C0BEC98-07DA-4FFE-AE59-935D86457BE0}"/>
              </a:ext>
            </a:extLst>
          </p:cNvPr>
          <p:cNvSpPr>
            <a:spLocks noGrp="1"/>
          </p:cNvSpPr>
          <p:nvPr>
            <p:ph type="body" sz="quarter" idx="13"/>
          </p:nvPr>
        </p:nvSpPr>
        <p:spPr>
          <a:xfrm>
            <a:off x="501650" y="651601"/>
            <a:ext cx="11188700" cy="326300"/>
          </a:xfrm>
        </p:spPr>
        <p:txBody>
          <a:bodyPr/>
          <a:lstStyle/>
          <a:p>
            <a:r>
              <a:rPr lang="en-US" sz="1800"/>
              <a:t>Our BCM and Resilience Experience</a:t>
            </a:r>
          </a:p>
        </p:txBody>
      </p:sp>
      <p:sp>
        <p:nvSpPr>
          <p:cNvPr id="24" name="Rectangle 23">
            <a:extLst>
              <a:ext uri="{FF2B5EF4-FFF2-40B4-BE49-F238E27FC236}">
                <a16:creationId xmlns:a16="http://schemas.microsoft.com/office/drawing/2014/main" id="{677C65DE-C30B-9DA6-C78B-061365A63F8F}"/>
              </a:ext>
            </a:extLst>
          </p:cNvPr>
          <p:cNvSpPr/>
          <p:nvPr/>
        </p:nvSpPr>
        <p:spPr>
          <a:xfrm>
            <a:off x="1649692" y="1237200"/>
            <a:ext cx="2111969" cy="4915492"/>
          </a:xfrm>
          <a:prstGeom prst="rect">
            <a:avLst/>
          </a:prstGeom>
          <a:noFill/>
          <a:ln w="3175" cap="flat" cmpd="sng" algn="ctr">
            <a:solidFill>
              <a:srgbClr val="046A38"/>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87" b="0"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endParaRPr>
          </a:p>
        </p:txBody>
      </p:sp>
      <p:sp>
        <p:nvSpPr>
          <p:cNvPr id="25" name="Rectangle 24">
            <a:extLst>
              <a:ext uri="{FF2B5EF4-FFF2-40B4-BE49-F238E27FC236}">
                <a16:creationId xmlns:a16="http://schemas.microsoft.com/office/drawing/2014/main" id="{BE8D01B8-5B52-9D5D-4910-2E8DD9F66726}"/>
              </a:ext>
            </a:extLst>
          </p:cNvPr>
          <p:cNvSpPr/>
          <p:nvPr/>
        </p:nvSpPr>
        <p:spPr>
          <a:xfrm>
            <a:off x="1649692" y="1237201"/>
            <a:ext cx="2110465" cy="240569"/>
          </a:xfrm>
          <a:prstGeom prst="rect">
            <a:avLst/>
          </a:prstGeom>
          <a:solidFill>
            <a:srgbClr val="046A38"/>
          </a:solidFill>
          <a:ln w="3175" cap="flat" cmpd="sng" algn="ctr">
            <a:solidFill>
              <a:srgbClr val="3C8A2E"/>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7" b="1"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rPr>
              <a:t>Royal Commission for Al Ula</a:t>
            </a:r>
          </a:p>
        </p:txBody>
      </p:sp>
      <p:sp>
        <p:nvSpPr>
          <p:cNvPr id="26" name="Rectangle 25">
            <a:extLst>
              <a:ext uri="{FF2B5EF4-FFF2-40B4-BE49-F238E27FC236}">
                <a16:creationId xmlns:a16="http://schemas.microsoft.com/office/drawing/2014/main" id="{4B3BD8C8-C1EC-4D9D-EEA9-F4A66C714E00}"/>
              </a:ext>
            </a:extLst>
          </p:cNvPr>
          <p:cNvSpPr/>
          <p:nvPr/>
        </p:nvSpPr>
        <p:spPr>
          <a:xfrm>
            <a:off x="1649692" y="2201955"/>
            <a:ext cx="2110465" cy="315073"/>
          </a:xfrm>
          <a:prstGeom prst="rect">
            <a:avLst/>
          </a:prstGeom>
          <a:solidFill>
            <a:srgbClr val="046A38"/>
          </a:solidFill>
          <a:ln w="3175" cap="flat" cmpd="sng" algn="ctr">
            <a:solidFill>
              <a:srgbClr val="3C8A2E"/>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7" b="1" i="0" u="none" strike="noStrike" kern="1200" cap="none" spc="0" normalizeH="0" baseline="0" noProof="0" dirty="0">
                <a:ln>
                  <a:noFill/>
                </a:ln>
                <a:solidFill>
                  <a:srgbClr val="FFFFFF"/>
                </a:solidFill>
                <a:effectLst/>
                <a:uLnTx/>
                <a:uFillTx/>
                <a:latin typeface="Verdana"/>
                <a:ea typeface="Open Sans Light" panose="020B0306030504020204" pitchFamily="34" charset="0"/>
                <a:cs typeface="Open Sans Light" panose="020B0306030504020204" pitchFamily="34" charset="0"/>
              </a:rPr>
              <a:t>Project  Details</a:t>
            </a:r>
          </a:p>
        </p:txBody>
      </p:sp>
      <p:sp>
        <p:nvSpPr>
          <p:cNvPr id="27" name="Rectangle 26">
            <a:extLst>
              <a:ext uri="{FF2B5EF4-FFF2-40B4-BE49-F238E27FC236}">
                <a16:creationId xmlns:a16="http://schemas.microsoft.com/office/drawing/2014/main" id="{BE6A1D30-FD10-230A-2141-BA23690388FC}"/>
              </a:ext>
            </a:extLst>
          </p:cNvPr>
          <p:cNvSpPr/>
          <p:nvPr/>
        </p:nvSpPr>
        <p:spPr>
          <a:xfrm>
            <a:off x="6162302" y="1237200"/>
            <a:ext cx="2111969" cy="4915492"/>
          </a:xfrm>
          <a:prstGeom prst="rect">
            <a:avLst/>
          </a:prstGeom>
          <a:noFill/>
          <a:ln w="3175" cap="flat" cmpd="sng" algn="ctr">
            <a:solidFill>
              <a:srgbClr val="62B5E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87" b="0"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endParaRPr>
          </a:p>
        </p:txBody>
      </p:sp>
      <p:sp>
        <p:nvSpPr>
          <p:cNvPr id="28" name="Rectangle 27">
            <a:extLst>
              <a:ext uri="{FF2B5EF4-FFF2-40B4-BE49-F238E27FC236}">
                <a16:creationId xmlns:a16="http://schemas.microsoft.com/office/drawing/2014/main" id="{EEAC084F-C1EF-DB61-773B-5F9DE2128479}"/>
              </a:ext>
            </a:extLst>
          </p:cNvPr>
          <p:cNvSpPr/>
          <p:nvPr/>
        </p:nvSpPr>
        <p:spPr>
          <a:xfrm>
            <a:off x="6162301" y="1237201"/>
            <a:ext cx="2110465" cy="240569"/>
          </a:xfrm>
          <a:prstGeom prst="rect">
            <a:avLst/>
          </a:prstGeom>
          <a:solidFill>
            <a:srgbClr val="62B5E5"/>
          </a:solidFill>
          <a:ln w="3175" cap="flat" cmpd="sng" algn="ctr">
            <a:solidFill>
              <a:srgbClr val="62B5E5"/>
            </a:solidFill>
            <a:prstDash val="solid"/>
          </a:ln>
          <a:effectLst/>
        </p:spPr>
        <p:txBody>
          <a:bodyPr lIns="72018" tIns="36010" rIns="72018" bIns="36010" rtlCol="0" anchor="ctr"/>
          <a:lstStyle/>
          <a:p>
            <a:pPr marL="0" marR="0" lvl="0" indent="0" algn="ctr" defTabSz="829544"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Verdana"/>
                <a:ea typeface="Verdana" panose="020B0604030504040204" pitchFamily="34" charset="0"/>
                <a:cs typeface="+mn-cs"/>
              </a:rPr>
              <a:t>ROSHN Real Estate Company</a:t>
            </a:r>
          </a:p>
        </p:txBody>
      </p:sp>
      <p:sp>
        <p:nvSpPr>
          <p:cNvPr id="29" name="Rectangle 28">
            <a:extLst>
              <a:ext uri="{FF2B5EF4-FFF2-40B4-BE49-F238E27FC236}">
                <a16:creationId xmlns:a16="http://schemas.microsoft.com/office/drawing/2014/main" id="{8C6D5F10-FFA2-3D02-CB57-6DC26EB59713}"/>
              </a:ext>
            </a:extLst>
          </p:cNvPr>
          <p:cNvSpPr/>
          <p:nvPr/>
        </p:nvSpPr>
        <p:spPr>
          <a:xfrm>
            <a:off x="6162301" y="2201955"/>
            <a:ext cx="2110465" cy="315073"/>
          </a:xfrm>
          <a:prstGeom prst="rect">
            <a:avLst/>
          </a:prstGeom>
          <a:solidFill>
            <a:srgbClr val="62B5E5"/>
          </a:solidFill>
          <a:ln w="3175" cap="flat" cmpd="sng" algn="ctr">
            <a:solidFill>
              <a:srgbClr val="62B5E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17" b="1" i="0" u="none" strike="noStrike" kern="1200" cap="none" spc="0" normalizeH="0" baseline="0" noProof="0" dirty="0">
                <a:ln>
                  <a:noFill/>
                </a:ln>
                <a:solidFill>
                  <a:srgbClr val="FFFFFF"/>
                </a:solidFill>
                <a:effectLst/>
                <a:uLnTx/>
                <a:uFillTx/>
                <a:latin typeface="Verdana"/>
                <a:ea typeface="Open Sans Light" panose="020B0306030504020204" pitchFamily="34" charset="0"/>
                <a:cs typeface="Open Sans Light" panose="020B0306030504020204" pitchFamily="34" charset="0"/>
              </a:rPr>
              <a:t>Project  Details</a:t>
            </a:r>
          </a:p>
        </p:txBody>
      </p:sp>
      <p:sp>
        <p:nvSpPr>
          <p:cNvPr id="30" name="Rectangle 29">
            <a:extLst>
              <a:ext uri="{FF2B5EF4-FFF2-40B4-BE49-F238E27FC236}">
                <a16:creationId xmlns:a16="http://schemas.microsoft.com/office/drawing/2014/main" id="{DAA3CBAE-9924-2DFF-47FF-09B173062143}"/>
              </a:ext>
            </a:extLst>
          </p:cNvPr>
          <p:cNvSpPr/>
          <p:nvPr/>
        </p:nvSpPr>
        <p:spPr>
          <a:xfrm>
            <a:off x="8418330" y="1237200"/>
            <a:ext cx="2111969" cy="4915492"/>
          </a:xfrm>
          <a:prstGeom prst="rect">
            <a:avLst/>
          </a:prstGeom>
          <a:noFill/>
          <a:ln w="3175" cap="flat" cmpd="sng" algn="ctr">
            <a:solidFill>
              <a:srgbClr val="012169"/>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87" b="0"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endParaRPr>
          </a:p>
        </p:txBody>
      </p:sp>
      <p:sp>
        <p:nvSpPr>
          <p:cNvPr id="31" name="Rectangle 30">
            <a:extLst>
              <a:ext uri="{FF2B5EF4-FFF2-40B4-BE49-F238E27FC236}">
                <a16:creationId xmlns:a16="http://schemas.microsoft.com/office/drawing/2014/main" id="{39EE8E6B-721D-8857-9249-A231F03ED068}"/>
              </a:ext>
            </a:extLst>
          </p:cNvPr>
          <p:cNvSpPr/>
          <p:nvPr/>
        </p:nvSpPr>
        <p:spPr>
          <a:xfrm>
            <a:off x="8418330" y="1237201"/>
            <a:ext cx="2110465" cy="240569"/>
          </a:xfrm>
          <a:prstGeom prst="rect">
            <a:avLst/>
          </a:prstGeom>
          <a:solidFill>
            <a:srgbClr val="012169"/>
          </a:solidFill>
          <a:ln w="3175" cap="flat" cmpd="sng" algn="ctr">
            <a:solidFill>
              <a:srgbClr val="012169"/>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7" b="1"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rPr>
              <a:t>Ministry of Commerce</a:t>
            </a:r>
          </a:p>
        </p:txBody>
      </p:sp>
      <p:sp>
        <p:nvSpPr>
          <p:cNvPr id="32" name="Rectangle 31">
            <a:extLst>
              <a:ext uri="{FF2B5EF4-FFF2-40B4-BE49-F238E27FC236}">
                <a16:creationId xmlns:a16="http://schemas.microsoft.com/office/drawing/2014/main" id="{7F3E69D0-E511-672E-FDC9-BEFABF5C56EA}"/>
              </a:ext>
            </a:extLst>
          </p:cNvPr>
          <p:cNvSpPr/>
          <p:nvPr/>
        </p:nvSpPr>
        <p:spPr>
          <a:xfrm>
            <a:off x="8418330" y="2201955"/>
            <a:ext cx="2110465" cy="315073"/>
          </a:xfrm>
          <a:prstGeom prst="rect">
            <a:avLst/>
          </a:prstGeom>
          <a:solidFill>
            <a:srgbClr val="012169"/>
          </a:solidFill>
          <a:ln w="3175" cap="flat" cmpd="sng" algn="ctr">
            <a:solidFill>
              <a:srgbClr val="012169"/>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17" b="1" i="0" u="none" strike="noStrike" kern="1200" cap="none" spc="0" normalizeH="0" baseline="0" noProof="0" dirty="0">
                <a:ln>
                  <a:noFill/>
                </a:ln>
                <a:solidFill>
                  <a:srgbClr val="FFFFFF"/>
                </a:solidFill>
                <a:effectLst/>
                <a:uLnTx/>
                <a:uFillTx/>
                <a:latin typeface="Verdana"/>
                <a:ea typeface="Open Sans Light" panose="020B0306030504020204" pitchFamily="34" charset="0"/>
                <a:cs typeface="Open Sans Light" panose="020B0306030504020204" pitchFamily="34" charset="0"/>
              </a:rPr>
              <a:t>Project  Details</a:t>
            </a:r>
          </a:p>
        </p:txBody>
      </p:sp>
      <p:sp>
        <p:nvSpPr>
          <p:cNvPr id="33" name="Rectangle 32">
            <a:extLst>
              <a:ext uri="{FF2B5EF4-FFF2-40B4-BE49-F238E27FC236}">
                <a16:creationId xmlns:a16="http://schemas.microsoft.com/office/drawing/2014/main" id="{8E91060A-CFA2-BC82-2344-DECA47540953}"/>
              </a:ext>
            </a:extLst>
          </p:cNvPr>
          <p:cNvSpPr/>
          <p:nvPr/>
        </p:nvSpPr>
        <p:spPr>
          <a:xfrm>
            <a:off x="1721450" y="2539097"/>
            <a:ext cx="2048819" cy="808950"/>
          </a:xfrm>
          <a:prstGeom prst="rect">
            <a:avLst/>
          </a:prstGeom>
        </p:spPr>
        <p:txBody>
          <a:bodyPr wrap="square" lIns="72018" tIns="36010" rIns="72018" bIns="36010">
            <a:spAutoFit/>
          </a:bodyPr>
          <a:lstStyle/>
          <a:p>
            <a:pPr marL="154145" indent="-154145" hangingPunct="1">
              <a:buFont typeface="Arial" panose="020B0604020202020204" pitchFamily="34" charset="0"/>
              <a:buChar char="•"/>
            </a:pPr>
            <a:endParaRPr lang="en-US" sz="807" b="1" kern="1200" dirty="0">
              <a:solidFill>
                <a:prstClr val="black"/>
              </a:solidFill>
              <a:latin typeface="Verdana"/>
              <a:ea typeface="+mn-ea"/>
              <a:cs typeface="+mn-cs"/>
            </a:endParaRPr>
          </a:p>
          <a:p>
            <a:pPr marL="154145" indent="-154145" hangingPunct="1">
              <a:buFont typeface="Arial" panose="020B0604020202020204" pitchFamily="34" charset="0"/>
              <a:buChar char="•"/>
            </a:pPr>
            <a:endParaRPr lang="en-US" sz="807" b="1" kern="1200" dirty="0">
              <a:solidFill>
                <a:prstClr val="black"/>
              </a:solidFill>
              <a:latin typeface="Verdana"/>
              <a:ea typeface="+mn-ea"/>
              <a:cs typeface="+mn-cs"/>
            </a:endParaRPr>
          </a:p>
          <a:p>
            <a:pPr defTabSz="822107" hangingPunct="1">
              <a:spcBef>
                <a:spcPts val="272"/>
              </a:spcBef>
            </a:pPr>
            <a:endParaRPr lang="en-US" sz="807" kern="12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54145" indent="-154145" defTabSz="822107" hangingPunct="1">
              <a:spcBef>
                <a:spcPts val="272"/>
              </a:spcBef>
              <a:buFont typeface="Arial" panose="020B0604020202020204" pitchFamily="34" charset="0"/>
              <a:buChar char="•"/>
            </a:pPr>
            <a:endParaRPr lang="en-US" sz="807" kern="12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defTabSz="822107" hangingPunct="1">
              <a:spcBef>
                <a:spcPts val="272"/>
              </a:spcBef>
            </a:pPr>
            <a:endParaRPr lang="en-US" sz="807" kern="12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4" name="Rectangle 33">
            <a:extLst>
              <a:ext uri="{FF2B5EF4-FFF2-40B4-BE49-F238E27FC236}">
                <a16:creationId xmlns:a16="http://schemas.microsoft.com/office/drawing/2014/main" id="{6DC95321-8EC4-3D24-A5AE-CDF1B8CBE615}"/>
              </a:ext>
            </a:extLst>
          </p:cNvPr>
          <p:cNvSpPr/>
          <p:nvPr/>
        </p:nvSpPr>
        <p:spPr>
          <a:xfrm>
            <a:off x="6164020" y="2517028"/>
            <a:ext cx="2108746" cy="3277820"/>
          </a:xfrm>
          <a:prstGeom prst="rect">
            <a:avLst/>
          </a:prstGeom>
        </p:spPr>
        <p:txBody>
          <a:bodyPr wrap="square">
            <a:spAutoFit/>
          </a:bodyPr>
          <a:lstStyle/>
          <a:p>
            <a:pPr algn="just" hangingPunct="1">
              <a:defRPr/>
            </a:pPr>
            <a:r>
              <a:rPr lang="en-US" sz="900" kern="1200" dirty="0">
                <a:solidFill>
                  <a:prstClr val="black"/>
                </a:solidFill>
                <a:latin typeface="Calibri" panose="020F0502020204030204" pitchFamily="34" charset="0"/>
                <a:ea typeface="+mn-ea"/>
                <a:cs typeface="Calibri" panose="020F0502020204030204" pitchFamily="34" charset="0"/>
              </a:rPr>
              <a:t>ROSHN is a real estate entity established under the Public Investment Fund (PIF). </a:t>
            </a:r>
          </a:p>
          <a:p>
            <a:pPr algn="just" hangingPunct="1">
              <a:defRPr/>
            </a:pPr>
            <a:r>
              <a:rPr lang="en-US" sz="900" kern="1200" dirty="0">
                <a:solidFill>
                  <a:prstClr val="black"/>
                </a:solidFill>
                <a:latin typeface="Calibri" panose="020F0502020204030204" pitchFamily="34" charset="0"/>
                <a:ea typeface="+mn-ea"/>
                <a:cs typeface="Calibri" panose="020F0502020204030204" pitchFamily="34" charset="0"/>
              </a:rPr>
              <a:t>ROSH partnered with Deloitte to implement a robust BCMS in light of ROSHN’s mission and vision to make long term investments in the future of cities across Saudi Arabia by developing great communities with best-in-class homes and to be the most trusted community developer in Saudi Arabia. The engagement was completed over a period of 8 months, with below key outcomes:</a:t>
            </a:r>
          </a:p>
          <a:p>
            <a:pPr marL="171450" indent="-171450" algn="just" hangingPunct="1">
              <a:buFont typeface="Arial" panose="020B0604020202020204" pitchFamily="34" charset="0"/>
              <a:buChar char="•"/>
              <a:defRPr/>
            </a:pPr>
            <a:r>
              <a:rPr lang="en-US" sz="900" kern="1200" dirty="0">
                <a:solidFill>
                  <a:prstClr val="black"/>
                </a:solidFill>
                <a:latin typeface="Calibri" panose="020F0502020204030204" pitchFamily="34" charset="0"/>
                <a:ea typeface="+mn-ea"/>
                <a:cs typeface="Calibri" panose="020F0502020204030204" pitchFamily="34" charset="0"/>
              </a:rPr>
              <a:t>A Business Continuity Management System which is aligned with the ISO 22301:2019 standards and is reflective of ROSHN’s culture and operations.</a:t>
            </a:r>
          </a:p>
          <a:p>
            <a:pPr marL="171450" indent="-171450" algn="just" hangingPunct="1">
              <a:buFont typeface="Arial" panose="020B0604020202020204" pitchFamily="34" charset="0"/>
              <a:buChar char="•"/>
              <a:defRPr/>
            </a:pPr>
            <a:r>
              <a:rPr lang="en-US" sz="900" kern="1200" dirty="0">
                <a:solidFill>
                  <a:prstClr val="black"/>
                </a:solidFill>
                <a:latin typeface="Calibri" panose="020F0502020204030204" pitchFamily="34" charset="0"/>
                <a:ea typeface="+mn-ea"/>
                <a:cs typeface="Calibri" panose="020F0502020204030204" pitchFamily="34" charset="0"/>
              </a:rPr>
              <a:t>Trained, skilled professionals who understand the importance of resilience, and are confident and competent to complete their assigned roles in the BCMS.</a:t>
            </a:r>
          </a:p>
        </p:txBody>
      </p:sp>
      <p:sp>
        <p:nvSpPr>
          <p:cNvPr id="35" name="Rectangle 34">
            <a:extLst>
              <a:ext uri="{FF2B5EF4-FFF2-40B4-BE49-F238E27FC236}">
                <a16:creationId xmlns:a16="http://schemas.microsoft.com/office/drawing/2014/main" id="{A63E5BD3-BC1B-3758-54A5-EE948D341774}"/>
              </a:ext>
            </a:extLst>
          </p:cNvPr>
          <p:cNvSpPr/>
          <p:nvPr/>
        </p:nvSpPr>
        <p:spPr>
          <a:xfrm>
            <a:off x="1651196" y="2532684"/>
            <a:ext cx="2118406" cy="2164503"/>
          </a:xfrm>
          <a:prstGeom prst="rect">
            <a:avLst/>
          </a:prstGeom>
        </p:spPr>
        <p:txBody>
          <a:bodyPr wrap="square">
            <a:spAutoFit/>
          </a:bodyPr>
          <a:lstStyle/>
          <a:p>
            <a:pPr algn="just" hangingPunct="1">
              <a:lnSpc>
                <a:spcPct val="107000"/>
              </a:lnSpc>
            </a:pPr>
            <a:r>
              <a:rPr lang="en-US" sz="791" kern="1200" dirty="0">
                <a:solidFill>
                  <a:prstClr val="black"/>
                </a:solidFill>
                <a:latin typeface="Verdana"/>
                <a:ea typeface="+mn-ea"/>
                <a:cs typeface="+mn-cs"/>
              </a:rPr>
              <a:t>Establishment and operation of Governance, Risk and Compliance (GRC). Due to its vast experience in GRC, its qualified team and strong relationships, Deloitte has recently completed a mega project for the Royal Commission for AlUla (RCU). Deloitte is responsible for the establishment of the GRC function based on the build-operate-transfer model over an 18-month period. The scope of work covered the development of the enterprise risk, enterprise resilience, governance, ethics and compliance departments part of the GRC division.</a:t>
            </a:r>
          </a:p>
        </p:txBody>
      </p:sp>
      <p:sp>
        <p:nvSpPr>
          <p:cNvPr id="36" name="Rectangle 35">
            <a:extLst>
              <a:ext uri="{FF2B5EF4-FFF2-40B4-BE49-F238E27FC236}">
                <a16:creationId xmlns:a16="http://schemas.microsoft.com/office/drawing/2014/main" id="{D4DCCA1A-FF65-EB29-E239-827232137842}"/>
              </a:ext>
            </a:extLst>
          </p:cNvPr>
          <p:cNvSpPr/>
          <p:nvPr/>
        </p:nvSpPr>
        <p:spPr>
          <a:xfrm>
            <a:off x="3906089" y="1237200"/>
            <a:ext cx="2111969" cy="4915492"/>
          </a:xfrm>
          <a:prstGeom prst="rect">
            <a:avLst/>
          </a:prstGeom>
          <a:noFill/>
          <a:ln w="3175" cap="flat" cmpd="sng" algn="ctr">
            <a:solidFill>
              <a:srgbClr val="86BC2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87" b="0"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endParaRPr>
          </a:p>
        </p:txBody>
      </p:sp>
      <p:sp>
        <p:nvSpPr>
          <p:cNvPr id="37" name="Rectangle 36">
            <a:extLst>
              <a:ext uri="{FF2B5EF4-FFF2-40B4-BE49-F238E27FC236}">
                <a16:creationId xmlns:a16="http://schemas.microsoft.com/office/drawing/2014/main" id="{DAD09E05-5E91-E695-F68C-91B8FA76473A}"/>
              </a:ext>
            </a:extLst>
          </p:cNvPr>
          <p:cNvSpPr/>
          <p:nvPr/>
        </p:nvSpPr>
        <p:spPr>
          <a:xfrm>
            <a:off x="3906088" y="1237201"/>
            <a:ext cx="2110465" cy="240569"/>
          </a:xfrm>
          <a:prstGeom prst="rect">
            <a:avLst/>
          </a:prstGeom>
          <a:solidFill>
            <a:srgbClr val="86BC25"/>
          </a:solidFill>
          <a:ln w="3175" cap="flat" cmpd="sng" algn="ctr">
            <a:solidFill>
              <a:srgbClr val="86BC2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mn-cs"/>
              </a:rPr>
              <a:t>Uptown Jeddah Company</a:t>
            </a:r>
          </a:p>
        </p:txBody>
      </p:sp>
      <p:sp>
        <p:nvSpPr>
          <p:cNvPr id="38" name="Rectangle 37">
            <a:extLst>
              <a:ext uri="{FF2B5EF4-FFF2-40B4-BE49-F238E27FC236}">
                <a16:creationId xmlns:a16="http://schemas.microsoft.com/office/drawing/2014/main" id="{76D93EE4-92F2-975D-996F-E5E495B52F9E}"/>
              </a:ext>
            </a:extLst>
          </p:cNvPr>
          <p:cNvSpPr/>
          <p:nvPr/>
        </p:nvSpPr>
        <p:spPr>
          <a:xfrm>
            <a:off x="3906088" y="2201955"/>
            <a:ext cx="2110465" cy="315073"/>
          </a:xfrm>
          <a:prstGeom prst="rect">
            <a:avLst/>
          </a:prstGeom>
          <a:solidFill>
            <a:srgbClr val="86BC25"/>
          </a:solidFill>
          <a:ln w="3175" cap="flat" cmpd="sng" algn="ctr">
            <a:solidFill>
              <a:srgbClr val="86BC2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17" b="1" i="0" u="none" strike="noStrike" kern="1200" cap="none" spc="0" normalizeH="0" baseline="0" noProof="0" dirty="0">
                <a:ln>
                  <a:noFill/>
                </a:ln>
                <a:solidFill>
                  <a:srgbClr val="FFFFFF"/>
                </a:solidFill>
                <a:effectLst/>
                <a:uLnTx/>
                <a:uFillTx/>
                <a:latin typeface="Verdana"/>
                <a:ea typeface="Open Sans Light" panose="020B0306030504020204" pitchFamily="34" charset="0"/>
                <a:cs typeface="Open Sans Light" panose="020B0306030504020204" pitchFamily="34" charset="0"/>
              </a:rPr>
              <a:t>Project  Details</a:t>
            </a:r>
          </a:p>
        </p:txBody>
      </p:sp>
      <p:sp>
        <p:nvSpPr>
          <p:cNvPr id="39" name="Rectangle 38">
            <a:extLst>
              <a:ext uri="{FF2B5EF4-FFF2-40B4-BE49-F238E27FC236}">
                <a16:creationId xmlns:a16="http://schemas.microsoft.com/office/drawing/2014/main" id="{7F19A37B-987D-8C09-5740-4E343F5C9FF8}"/>
              </a:ext>
            </a:extLst>
          </p:cNvPr>
          <p:cNvSpPr/>
          <p:nvPr/>
        </p:nvSpPr>
        <p:spPr>
          <a:xfrm>
            <a:off x="3912158" y="2517028"/>
            <a:ext cx="2104395" cy="3378232"/>
          </a:xfrm>
          <a:prstGeom prst="rect">
            <a:avLst/>
          </a:prstGeom>
        </p:spPr>
        <p:txBody>
          <a:bodyPr wrap="square">
            <a:spAutoFit/>
          </a:bodyPr>
          <a:lstStyle/>
          <a:p>
            <a:pPr algn="just" hangingPunct="1">
              <a:defRPr/>
            </a:pPr>
            <a:r>
              <a:rPr lang="en-US" sz="791" kern="1200" dirty="0">
                <a:solidFill>
                  <a:prstClr val="black"/>
                </a:solidFill>
                <a:latin typeface="Verdana"/>
                <a:ea typeface="+mn-ea"/>
                <a:cs typeface="+mn-cs"/>
              </a:rPr>
              <a:t>Uptown Jeddah Company engaged Deloitte &amp; Touche Advisory Saudi Limited to Establish the Business Continuity Management Function and implement  an end-to-end Business Continuity Management System for the Company. The project had a timeline of 10 Months. </a:t>
            </a:r>
          </a:p>
          <a:p>
            <a:pPr algn="just" hangingPunct="1">
              <a:defRPr/>
            </a:pPr>
            <a:r>
              <a:rPr lang="en-US" sz="791" kern="1200" dirty="0">
                <a:solidFill>
                  <a:prstClr val="black"/>
                </a:solidFill>
                <a:latin typeface="Verdana"/>
                <a:ea typeface="+mn-ea"/>
                <a:cs typeface="+mn-cs"/>
              </a:rPr>
              <a:t>The scope of work covered the establishment of the function develop the policy and operating model, in addition to BCM Framework and manual procedures. Also as part of the scope performing Threat Risk Assessment and Business Impact Analysis for the whole entity. As a result of this analysis, Deloitte has delivered an updated Business Continuity Plans and Recovery Strategies that are will support Uptown Jeddah Company in recovering their time critical services and operations in a timely manner. </a:t>
            </a:r>
          </a:p>
          <a:p>
            <a:pPr algn="just" hangingPunct="1">
              <a:defRPr/>
            </a:pPr>
            <a:r>
              <a:rPr lang="en-US" sz="791" kern="1200" dirty="0">
                <a:solidFill>
                  <a:prstClr val="black"/>
                </a:solidFill>
                <a:latin typeface="Verdana"/>
                <a:ea typeface="+mn-ea"/>
                <a:cs typeface="+mn-cs"/>
              </a:rPr>
              <a:t>As part of the scope Deloitte developed the Incident Response and Crisis Management framework and related plans.</a:t>
            </a:r>
          </a:p>
        </p:txBody>
      </p:sp>
      <p:pic>
        <p:nvPicPr>
          <p:cNvPr id="40" name="Picture 39">
            <a:extLst>
              <a:ext uri="{FF2B5EF4-FFF2-40B4-BE49-F238E27FC236}">
                <a16:creationId xmlns:a16="http://schemas.microsoft.com/office/drawing/2014/main" id="{3D5A0423-C26B-ECE0-E93B-FD05BC320E0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5895" t="6330" r="17755" b="8419"/>
          <a:stretch/>
        </p:blipFill>
        <p:spPr>
          <a:xfrm>
            <a:off x="9066421" y="1521663"/>
            <a:ext cx="811229" cy="648983"/>
          </a:xfrm>
          <a:prstGeom prst="rect">
            <a:avLst/>
          </a:prstGeom>
        </p:spPr>
      </p:pic>
      <p:sp>
        <p:nvSpPr>
          <p:cNvPr id="41" name="Rectangle 40">
            <a:extLst>
              <a:ext uri="{FF2B5EF4-FFF2-40B4-BE49-F238E27FC236}">
                <a16:creationId xmlns:a16="http://schemas.microsoft.com/office/drawing/2014/main" id="{240777AB-D8F2-AB77-C6F7-ED5B0BEFE711}"/>
              </a:ext>
            </a:extLst>
          </p:cNvPr>
          <p:cNvSpPr/>
          <p:nvPr/>
        </p:nvSpPr>
        <p:spPr>
          <a:xfrm>
            <a:off x="8415497" y="2530758"/>
            <a:ext cx="2126819" cy="2286796"/>
          </a:xfrm>
          <a:prstGeom prst="rect">
            <a:avLst/>
          </a:prstGeom>
        </p:spPr>
        <p:txBody>
          <a:bodyPr wrap="square">
            <a:spAutoFit/>
          </a:bodyPr>
          <a:lstStyle/>
          <a:p>
            <a:pPr algn="just" hangingPunct="1">
              <a:defRPr/>
            </a:pPr>
            <a:r>
              <a:rPr lang="en-US" sz="791" kern="1200" dirty="0">
                <a:solidFill>
                  <a:prstClr val="black"/>
                </a:solidFill>
                <a:latin typeface="Verdana"/>
                <a:ea typeface="+mn-ea"/>
                <a:cs typeface="+mn-cs"/>
              </a:rPr>
              <a:t>Deloitte &amp; Touche Advisory Saudi Limited led the development and implementation efforts for a comprehensive Business Continuity Management program for MC for a period of </a:t>
            </a:r>
            <a:r>
              <a:rPr lang="en-US" sz="791" b="1" kern="1200" dirty="0">
                <a:solidFill>
                  <a:prstClr val="black"/>
                </a:solidFill>
                <a:latin typeface="Verdana"/>
                <a:ea typeface="+mn-ea"/>
                <a:cs typeface="+mn-cs"/>
              </a:rPr>
              <a:t>10 Months</a:t>
            </a:r>
            <a:r>
              <a:rPr lang="en-US" sz="791" kern="1200" dirty="0">
                <a:solidFill>
                  <a:prstClr val="black"/>
                </a:solidFill>
                <a:latin typeface="Verdana"/>
                <a:ea typeface="+mn-ea"/>
                <a:cs typeface="+mn-cs"/>
              </a:rPr>
              <a:t>. The project comprised of establishing BCM Governance Policies and Procedures as well as conducting organization-wide Business Impact Analysis, IT Disaster Recovery Assessment and Threat Risk Assessment outlining the recovery time and recovery point objectives for the MCs critical services and processes. Moreover, a number of exercises (Tabletop and Simulation) have been conducted to evaluate MC’s crisis preparedness.</a:t>
            </a:r>
          </a:p>
        </p:txBody>
      </p:sp>
      <p:pic>
        <p:nvPicPr>
          <p:cNvPr id="42" name="Picture 41">
            <a:extLst>
              <a:ext uri="{FF2B5EF4-FFF2-40B4-BE49-F238E27FC236}">
                <a16:creationId xmlns:a16="http://schemas.microsoft.com/office/drawing/2014/main" id="{D6DBECA4-149E-9CEF-A20D-13C01D17DFC5}"/>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1794999" y="1633459"/>
            <a:ext cx="1819850" cy="425390"/>
          </a:xfrm>
          <a:prstGeom prst="rect">
            <a:avLst/>
          </a:prstGeom>
        </p:spPr>
      </p:pic>
      <p:pic>
        <p:nvPicPr>
          <p:cNvPr id="43" name="Picture 42">
            <a:extLst>
              <a:ext uri="{FF2B5EF4-FFF2-40B4-BE49-F238E27FC236}">
                <a16:creationId xmlns:a16="http://schemas.microsoft.com/office/drawing/2014/main" id="{AD5D0C2A-33B8-D2AC-CD8F-2AE91670AD4B}"/>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438809" y="1534071"/>
            <a:ext cx="1001379" cy="552225"/>
          </a:xfrm>
          <a:prstGeom prst="rect">
            <a:avLst/>
          </a:prstGeom>
        </p:spPr>
      </p:pic>
      <p:pic>
        <p:nvPicPr>
          <p:cNvPr id="44" name="Picture 43">
            <a:extLst>
              <a:ext uri="{FF2B5EF4-FFF2-40B4-BE49-F238E27FC236}">
                <a16:creationId xmlns:a16="http://schemas.microsoft.com/office/drawing/2014/main" id="{15190B16-ABE8-4E0C-340D-06540B1BA9A4}"/>
              </a:ext>
            </a:extLst>
          </p:cNvPr>
          <p:cNvPicPr>
            <a:picLocks noChangeAspect="1"/>
          </p:cNvPicPr>
          <p:nvPr/>
        </p:nvPicPr>
        <p:blipFill>
          <a:blip r:embed="rId6"/>
          <a:stretch>
            <a:fillRect/>
          </a:stretch>
        </p:blipFill>
        <p:spPr>
          <a:xfrm>
            <a:off x="6521679" y="1556826"/>
            <a:ext cx="1353429" cy="640135"/>
          </a:xfrm>
          <a:prstGeom prst="rect">
            <a:avLst/>
          </a:prstGeom>
        </p:spPr>
      </p:pic>
    </p:spTree>
    <p:extLst>
      <p:ext uri="{BB962C8B-B14F-4D97-AF65-F5344CB8AC3E}">
        <p14:creationId xmlns:p14="http://schemas.microsoft.com/office/powerpoint/2010/main" val="353215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bwMode="gray">
          <a:xfrm>
            <a:off x="501650" y="317501"/>
            <a:ext cx="11188700" cy="334100"/>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j-ea"/>
                <a:cs typeface="Calibri" panose="020F0502020204030204" pitchFamily="34" charset="0"/>
              </a:rPr>
              <a:t>Our Credentials </a:t>
            </a:r>
            <a:endParaRPr kumimoji="0" lang="en-US" sz="2000" b="1" i="0" u="none" strike="noStrike" kern="1200" cap="none" spc="0" normalizeH="0" baseline="0" noProof="0">
              <a:ln>
                <a:noFill/>
              </a:ln>
              <a:solidFill>
                <a:srgbClr val="FF0000"/>
              </a:solidFill>
              <a:effectLst/>
              <a:uLnTx/>
              <a:uFillTx/>
              <a:latin typeface="Calibri" panose="020F0502020204030204" pitchFamily="34" charset="0"/>
              <a:ea typeface="+mj-ea"/>
              <a:cs typeface="Calibri" panose="020F0502020204030204" pitchFamily="34" charset="0"/>
            </a:endParaRPr>
          </a:p>
        </p:txBody>
      </p:sp>
      <p:sp>
        <p:nvSpPr>
          <p:cNvPr id="56" name="Text Placeholder 1">
            <a:extLst>
              <a:ext uri="{FF2B5EF4-FFF2-40B4-BE49-F238E27FC236}">
                <a16:creationId xmlns:a16="http://schemas.microsoft.com/office/drawing/2014/main" id="{1C0BEC98-07DA-4FFE-AE59-935D86457BE0}"/>
              </a:ext>
            </a:extLst>
          </p:cNvPr>
          <p:cNvSpPr>
            <a:spLocks noGrp="1"/>
          </p:cNvSpPr>
          <p:nvPr>
            <p:ph type="body" sz="quarter" idx="13"/>
          </p:nvPr>
        </p:nvSpPr>
        <p:spPr>
          <a:xfrm>
            <a:off x="501650" y="651601"/>
            <a:ext cx="11188700" cy="326300"/>
          </a:xfrm>
        </p:spPr>
        <p:txBody>
          <a:bodyPr/>
          <a:lstStyle/>
          <a:p>
            <a:r>
              <a:rPr lang="en-US" sz="1800"/>
              <a:t>Our BCM and Resilience Experience</a:t>
            </a:r>
          </a:p>
        </p:txBody>
      </p:sp>
      <p:grpSp>
        <p:nvGrpSpPr>
          <p:cNvPr id="2" name="Group 1">
            <a:extLst>
              <a:ext uri="{FF2B5EF4-FFF2-40B4-BE49-F238E27FC236}">
                <a16:creationId xmlns:a16="http://schemas.microsoft.com/office/drawing/2014/main" id="{47DEB2E1-89FD-9C88-30FF-94510D1BE98B}"/>
              </a:ext>
            </a:extLst>
          </p:cNvPr>
          <p:cNvGrpSpPr/>
          <p:nvPr/>
        </p:nvGrpSpPr>
        <p:grpSpPr>
          <a:xfrm>
            <a:off x="1649692" y="1237200"/>
            <a:ext cx="8892624" cy="4915492"/>
            <a:chOff x="1649692" y="1237200"/>
            <a:chExt cx="8892624" cy="4915492"/>
          </a:xfrm>
        </p:grpSpPr>
        <p:sp>
          <p:nvSpPr>
            <p:cNvPr id="3" name="Rectangle 2">
              <a:extLst>
                <a:ext uri="{FF2B5EF4-FFF2-40B4-BE49-F238E27FC236}">
                  <a16:creationId xmlns:a16="http://schemas.microsoft.com/office/drawing/2014/main" id="{A0ECFDC8-AA5A-BE03-EAE7-8C51F556FFCB}"/>
                </a:ext>
              </a:extLst>
            </p:cNvPr>
            <p:cNvSpPr/>
            <p:nvPr/>
          </p:nvSpPr>
          <p:spPr>
            <a:xfrm>
              <a:off x="1649692" y="1237200"/>
              <a:ext cx="2111969" cy="4915492"/>
            </a:xfrm>
            <a:prstGeom prst="rect">
              <a:avLst/>
            </a:prstGeom>
            <a:noFill/>
            <a:ln w="3175" cap="flat" cmpd="sng" algn="ctr">
              <a:solidFill>
                <a:srgbClr val="046A38"/>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87" b="0"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endParaRPr>
            </a:p>
          </p:txBody>
        </p:sp>
        <p:sp>
          <p:nvSpPr>
            <p:cNvPr id="5" name="Rectangle 4">
              <a:extLst>
                <a:ext uri="{FF2B5EF4-FFF2-40B4-BE49-F238E27FC236}">
                  <a16:creationId xmlns:a16="http://schemas.microsoft.com/office/drawing/2014/main" id="{BBA0C4D1-D069-FCFB-38EE-811C7453BB3F}"/>
                </a:ext>
              </a:extLst>
            </p:cNvPr>
            <p:cNvSpPr/>
            <p:nvPr/>
          </p:nvSpPr>
          <p:spPr>
            <a:xfrm>
              <a:off x="1649692" y="1237201"/>
              <a:ext cx="2110465" cy="240569"/>
            </a:xfrm>
            <a:prstGeom prst="rect">
              <a:avLst/>
            </a:prstGeom>
            <a:solidFill>
              <a:srgbClr val="046A38"/>
            </a:solidFill>
            <a:ln w="3175" cap="flat" cmpd="sng" algn="ctr">
              <a:solidFill>
                <a:srgbClr val="3C8A2E"/>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707" b="1"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rPr>
                <a:t>Saudi Arabian Monetary Authority (SAMA)</a:t>
              </a:r>
            </a:p>
          </p:txBody>
        </p:sp>
        <p:sp>
          <p:nvSpPr>
            <p:cNvPr id="6" name="Rectangle 5">
              <a:extLst>
                <a:ext uri="{FF2B5EF4-FFF2-40B4-BE49-F238E27FC236}">
                  <a16:creationId xmlns:a16="http://schemas.microsoft.com/office/drawing/2014/main" id="{4B460955-9678-D83D-02D3-8E0385616810}"/>
                </a:ext>
              </a:extLst>
            </p:cNvPr>
            <p:cNvSpPr/>
            <p:nvPr/>
          </p:nvSpPr>
          <p:spPr>
            <a:xfrm>
              <a:off x="1649692" y="2201955"/>
              <a:ext cx="2110465" cy="315073"/>
            </a:xfrm>
            <a:prstGeom prst="rect">
              <a:avLst/>
            </a:prstGeom>
            <a:solidFill>
              <a:srgbClr val="046A38"/>
            </a:solidFill>
            <a:ln w="3175" cap="flat" cmpd="sng" algn="ctr">
              <a:solidFill>
                <a:srgbClr val="3C8A2E"/>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7" b="1" i="0" u="none" strike="noStrike" kern="1200" cap="none" spc="0" normalizeH="0" baseline="0" noProof="0" dirty="0">
                  <a:ln>
                    <a:noFill/>
                  </a:ln>
                  <a:solidFill>
                    <a:srgbClr val="FFFFFF"/>
                  </a:solidFill>
                  <a:effectLst/>
                  <a:uLnTx/>
                  <a:uFillTx/>
                  <a:latin typeface="Verdana"/>
                  <a:ea typeface="Open Sans Light" panose="020B0306030504020204" pitchFamily="34" charset="0"/>
                  <a:cs typeface="Open Sans Light" panose="020B0306030504020204" pitchFamily="34" charset="0"/>
                </a:rPr>
                <a:t>Project  Details</a:t>
              </a:r>
            </a:p>
          </p:txBody>
        </p:sp>
        <p:sp>
          <p:nvSpPr>
            <p:cNvPr id="7" name="Rectangle 6">
              <a:extLst>
                <a:ext uri="{FF2B5EF4-FFF2-40B4-BE49-F238E27FC236}">
                  <a16:creationId xmlns:a16="http://schemas.microsoft.com/office/drawing/2014/main" id="{13957BBC-A79D-466E-14B5-F01923F4FB33}"/>
                </a:ext>
              </a:extLst>
            </p:cNvPr>
            <p:cNvSpPr/>
            <p:nvPr/>
          </p:nvSpPr>
          <p:spPr>
            <a:xfrm>
              <a:off x="6162302" y="1237200"/>
              <a:ext cx="2111969" cy="4915492"/>
            </a:xfrm>
            <a:prstGeom prst="rect">
              <a:avLst/>
            </a:prstGeom>
            <a:noFill/>
            <a:ln w="3175" cap="flat" cmpd="sng" algn="ctr">
              <a:solidFill>
                <a:srgbClr val="62B5E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87" b="0"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endParaRPr>
            </a:p>
          </p:txBody>
        </p:sp>
        <p:sp>
          <p:nvSpPr>
            <p:cNvPr id="8" name="Rectangle 7">
              <a:extLst>
                <a:ext uri="{FF2B5EF4-FFF2-40B4-BE49-F238E27FC236}">
                  <a16:creationId xmlns:a16="http://schemas.microsoft.com/office/drawing/2014/main" id="{BDF3D7D8-B367-CC0E-57D2-C6F2E7D036A4}"/>
                </a:ext>
              </a:extLst>
            </p:cNvPr>
            <p:cNvSpPr/>
            <p:nvPr/>
          </p:nvSpPr>
          <p:spPr>
            <a:xfrm>
              <a:off x="6162301" y="1237201"/>
              <a:ext cx="2110465" cy="240569"/>
            </a:xfrm>
            <a:prstGeom prst="rect">
              <a:avLst/>
            </a:prstGeom>
            <a:solidFill>
              <a:srgbClr val="62B5E5"/>
            </a:solidFill>
            <a:ln w="3175" cap="flat" cmpd="sng" algn="ctr">
              <a:solidFill>
                <a:srgbClr val="62B5E5"/>
              </a:solidFill>
              <a:prstDash val="solid"/>
            </a:ln>
            <a:effectLst/>
          </p:spPr>
          <p:txBody>
            <a:bodyPr lIns="72018" tIns="36010" rIns="72018" bIns="36010" rtlCol="0" anchor="ctr"/>
            <a:lstStyle/>
            <a:p>
              <a:pPr marL="0" marR="0" lvl="0" indent="0" algn="ctr" defTabSz="822107" eaLnBrk="1" fontAlgn="auto" latinLnBrk="0" hangingPunct="1">
                <a:lnSpc>
                  <a:spcPct val="100000"/>
                </a:lnSpc>
                <a:spcBef>
                  <a:spcPts val="0"/>
                </a:spcBef>
                <a:spcAft>
                  <a:spcPts val="0"/>
                </a:spcAft>
                <a:buClrTx/>
                <a:buSzTx/>
                <a:buFontTx/>
                <a:buNone/>
                <a:tabLst/>
                <a:defRPr/>
              </a:pPr>
              <a:r>
                <a:rPr kumimoji="0" lang="en-US" sz="717" b="1" i="0" u="none" strike="noStrike" kern="1200" cap="none" spc="0" normalizeH="0" baseline="0" noProof="0" dirty="0">
                  <a:ln>
                    <a:noFill/>
                  </a:ln>
                  <a:solidFill>
                    <a:prstClr val="white"/>
                  </a:solidFill>
                  <a:effectLst/>
                  <a:uLnTx/>
                  <a:uFillTx/>
                  <a:latin typeface="Verdana"/>
                  <a:ea typeface="Verdana" panose="020B0604030504040204" pitchFamily="34" charset="0"/>
                  <a:cs typeface="Verdana" panose="020B0604030504040204" pitchFamily="34" charset="0"/>
                </a:rPr>
                <a:t>Bupa Arabia</a:t>
              </a:r>
            </a:p>
          </p:txBody>
        </p:sp>
        <p:sp>
          <p:nvSpPr>
            <p:cNvPr id="9" name="Rectangle 8">
              <a:extLst>
                <a:ext uri="{FF2B5EF4-FFF2-40B4-BE49-F238E27FC236}">
                  <a16:creationId xmlns:a16="http://schemas.microsoft.com/office/drawing/2014/main" id="{5971B309-3A0A-89BC-0FBD-DF43916A6A98}"/>
                </a:ext>
              </a:extLst>
            </p:cNvPr>
            <p:cNvSpPr/>
            <p:nvPr/>
          </p:nvSpPr>
          <p:spPr>
            <a:xfrm>
              <a:off x="6162301" y="2201955"/>
              <a:ext cx="2110465" cy="315073"/>
            </a:xfrm>
            <a:prstGeom prst="rect">
              <a:avLst/>
            </a:prstGeom>
            <a:solidFill>
              <a:srgbClr val="62B5E5"/>
            </a:solidFill>
            <a:ln w="3175" cap="flat" cmpd="sng" algn="ctr">
              <a:solidFill>
                <a:srgbClr val="62B5E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17" b="1" i="0" u="none" strike="noStrike" kern="1200" cap="none" spc="0" normalizeH="0" baseline="0" noProof="0" dirty="0">
                  <a:ln>
                    <a:noFill/>
                  </a:ln>
                  <a:solidFill>
                    <a:srgbClr val="FFFFFF"/>
                  </a:solidFill>
                  <a:effectLst/>
                  <a:uLnTx/>
                  <a:uFillTx/>
                  <a:latin typeface="Verdana"/>
                  <a:ea typeface="Open Sans Light" panose="020B0306030504020204" pitchFamily="34" charset="0"/>
                  <a:cs typeface="Open Sans Light" panose="020B0306030504020204" pitchFamily="34" charset="0"/>
                </a:rPr>
                <a:t>Project  Details</a:t>
              </a:r>
            </a:p>
          </p:txBody>
        </p:sp>
        <p:sp>
          <p:nvSpPr>
            <p:cNvPr id="10" name="Rectangle 9">
              <a:extLst>
                <a:ext uri="{FF2B5EF4-FFF2-40B4-BE49-F238E27FC236}">
                  <a16:creationId xmlns:a16="http://schemas.microsoft.com/office/drawing/2014/main" id="{354F160C-7BBA-DA84-1B0A-29B978BD147F}"/>
                </a:ext>
              </a:extLst>
            </p:cNvPr>
            <p:cNvSpPr/>
            <p:nvPr/>
          </p:nvSpPr>
          <p:spPr>
            <a:xfrm>
              <a:off x="8418330" y="1237200"/>
              <a:ext cx="2111969" cy="4915492"/>
            </a:xfrm>
            <a:prstGeom prst="rect">
              <a:avLst/>
            </a:prstGeom>
            <a:noFill/>
            <a:ln w="3175" cap="flat" cmpd="sng" algn="ctr">
              <a:solidFill>
                <a:srgbClr val="012169"/>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87" b="0"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endParaRPr>
            </a:p>
          </p:txBody>
        </p:sp>
        <p:sp>
          <p:nvSpPr>
            <p:cNvPr id="11" name="Rectangle 10">
              <a:extLst>
                <a:ext uri="{FF2B5EF4-FFF2-40B4-BE49-F238E27FC236}">
                  <a16:creationId xmlns:a16="http://schemas.microsoft.com/office/drawing/2014/main" id="{12714488-0A12-6C47-FA63-211528727A8F}"/>
                </a:ext>
              </a:extLst>
            </p:cNvPr>
            <p:cNvSpPr/>
            <p:nvPr/>
          </p:nvSpPr>
          <p:spPr>
            <a:xfrm>
              <a:off x="8418330" y="1237201"/>
              <a:ext cx="2110465" cy="240569"/>
            </a:xfrm>
            <a:prstGeom prst="rect">
              <a:avLst/>
            </a:prstGeom>
            <a:solidFill>
              <a:srgbClr val="012169"/>
            </a:solidFill>
            <a:ln w="3175" cap="flat" cmpd="sng" algn="ctr">
              <a:solidFill>
                <a:srgbClr val="012169"/>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7" b="1"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rPr>
                <a:t>Tadawul</a:t>
              </a:r>
            </a:p>
          </p:txBody>
        </p:sp>
        <p:sp>
          <p:nvSpPr>
            <p:cNvPr id="12" name="Rectangle 11">
              <a:extLst>
                <a:ext uri="{FF2B5EF4-FFF2-40B4-BE49-F238E27FC236}">
                  <a16:creationId xmlns:a16="http://schemas.microsoft.com/office/drawing/2014/main" id="{CEA6AC4C-2AFF-962A-887C-6C09A9E640D4}"/>
                </a:ext>
              </a:extLst>
            </p:cNvPr>
            <p:cNvSpPr/>
            <p:nvPr/>
          </p:nvSpPr>
          <p:spPr>
            <a:xfrm>
              <a:off x="8418330" y="2201955"/>
              <a:ext cx="2110465" cy="315073"/>
            </a:xfrm>
            <a:prstGeom prst="rect">
              <a:avLst/>
            </a:prstGeom>
            <a:solidFill>
              <a:srgbClr val="012169"/>
            </a:solidFill>
            <a:ln w="3175" cap="flat" cmpd="sng" algn="ctr">
              <a:solidFill>
                <a:srgbClr val="012169"/>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17" b="1" i="0" u="none" strike="noStrike" kern="1200" cap="none" spc="0" normalizeH="0" baseline="0" noProof="0" dirty="0">
                  <a:ln>
                    <a:noFill/>
                  </a:ln>
                  <a:solidFill>
                    <a:srgbClr val="FFFFFF"/>
                  </a:solidFill>
                  <a:effectLst/>
                  <a:uLnTx/>
                  <a:uFillTx/>
                  <a:latin typeface="Verdana"/>
                  <a:ea typeface="Open Sans Light" panose="020B0306030504020204" pitchFamily="34" charset="0"/>
                  <a:cs typeface="Open Sans Light" panose="020B0306030504020204" pitchFamily="34" charset="0"/>
                </a:rPr>
                <a:t>Project  Details</a:t>
              </a:r>
            </a:p>
          </p:txBody>
        </p:sp>
        <p:sp>
          <p:nvSpPr>
            <p:cNvPr id="13" name="Rectangle 12">
              <a:extLst>
                <a:ext uri="{FF2B5EF4-FFF2-40B4-BE49-F238E27FC236}">
                  <a16:creationId xmlns:a16="http://schemas.microsoft.com/office/drawing/2014/main" id="{B2B3F35A-79CE-46CD-46CD-C60371BA74EC}"/>
                </a:ext>
              </a:extLst>
            </p:cNvPr>
            <p:cNvSpPr/>
            <p:nvPr/>
          </p:nvSpPr>
          <p:spPr>
            <a:xfrm>
              <a:off x="1721450" y="2539097"/>
              <a:ext cx="2048819" cy="808950"/>
            </a:xfrm>
            <a:prstGeom prst="rect">
              <a:avLst/>
            </a:prstGeom>
          </p:spPr>
          <p:txBody>
            <a:bodyPr wrap="square" lIns="72018" tIns="36010" rIns="72018" bIns="36010">
              <a:spAutoFit/>
            </a:bodyPr>
            <a:lstStyle/>
            <a:p>
              <a:pPr marL="154145" marR="0" lvl="0" indent="-154145"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7" b="1" i="0" u="none" strike="noStrike" kern="1200" cap="none" spc="0" normalizeH="0" baseline="0" noProof="0" dirty="0">
                <a:ln>
                  <a:noFill/>
                </a:ln>
                <a:solidFill>
                  <a:prstClr val="black"/>
                </a:solidFill>
                <a:effectLst/>
                <a:uLnTx/>
                <a:uFillTx/>
                <a:latin typeface="Verdana"/>
                <a:ea typeface="+mn-ea"/>
                <a:cs typeface="+mn-cs"/>
              </a:endParaRPr>
            </a:p>
            <a:p>
              <a:pPr marL="154145" marR="0" lvl="0" indent="-154145"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7" b="1" i="0" u="none" strike="noStrike" kern="1200" cap="none" spc="0" normalizeH="0" baseline="0" noProof="0" dirty="0">
                <a:ln>
                  <a:noFill/>
                </a:ln>
                <a:solidFill>
                  <a:prstClr val="black"/>
                </a:solidFill>
                <a:effectLst/>
                <a:uLnTx/>
                <a:uFillTx/>
                <a:latin typeface="Verdana"/>
                <a:ea typeface="+mn-ea"/>
                <a:cs typeface="+mn-cs"/>
              </a:endParaRPr>
            </a:p>
            <a:p>
              <a:pPr marL="0" marR="0" lvl="0" indent="0" defTabSz="822107" eaLnBrk="1" fontAlgn="auto" latinLnBrk="0" hangingPunct="1">
                <a:lnSpc>
                  <a:spcPct val="100000"/>
                </a:lnSpc>
                <a:spcBef>
                  <a:spcPts val="272"/>
                </a:spcBef>
                <a:spcAft>
                  <a:spcPts val="0"/>
                </a:spcAft>
                <a:buClrTx/>
                <a:buSzTx/>
                <a:buFontTx/>
                <a:buNone/>
                <a:tabLst/>
                <a:defRPr/>
              </a:pPr>
              <a:endParaRPr kumimoji="0" lang="en-US" sz="807"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54145" marR="0" lvl="0" indent="-154145" defTabSz="822107" eaLnBrk="1" fontAlgn="auto" latinLnBrk="0" hangingPunct="1">
                <a:lnSpc>
                  <a:spcPct val="100000"/>
                </a:lnSpc>
                <a:spcBef>
                  <a:spcPts val="272"/>
                </a:spcBef>
                <a:spcAft>
                  <a:spcPts val="0"/>
                </a:spcAft>
                <a:buClrTx/>
                <a:buSzTx/>
                <a:buFont typeface="Arial" panose="020B0604020202020204" pitchFamily="34" charset="0"/>
                <a:buChar char="•"/>
                <a:tabLst/>
                <a:defRPr/>
              </a:pPr>
              <a:endParaRPr kumimoji="0" lang="en-US" sz="807"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defTabSz="822107" eaLnBrk="1" fontAlgn="auto" latinLnBrk="0" hangingPunct="1">
                <a:lnSpc>
                  <a:spcPct val="100000"/>
                </a:lnSpc>
                <a:spcBef>
                  <a:spcPts val="272"/>
                </a:spcBef>
                <a:spcAft>
                  <a:spcPts val="0"/>
                </a:spcAft>
                <a:buClrTx/>
                <a:buSzTx/>
                <a:buFontTx/>
                <a:buNone/>
                <a:tabLst/>
                <a:defRPr/>
              </a:pPr>
              <a:endParaRPr kumimoji="0" lang="en-US" sz="807"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Rectangle 13">
              <a:extLst>
                <a:ext uri="{FF2B5EF4-FFF2-40B4-BE49-F238E27FC236}">
                  <a16:creationId xmlns:a16="http://schemas.microsoft.com/office/drawing/2014/main" id="{2A12C066-194E-DFDB-D7E1-BCE70FD18D93}"/>
                </a:ext>
              </a:extLst>
            </p:cNvPr>
            <p:cNvSpPr/>
            <p:nvPr/>
          </p:nvSpPr>
          <p:spPr>
            <a:xfrm>
              <a:off x="6164020" y="2517028"/>
              <a:ext cx="2159406" cy="359179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Bupa Arabia, a leading insurer in Saudi Arabia, engaged Deloitte to develop and implement an end-to-end BCM Program covering their Head Office and other locations.</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791"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Deloitte &amp; Touche M.E is working with Bupa Arabia to deliver an end-to-end BCM Program, focusing on developing a well prepared framework to minimize the impacts due to business disruption, provision to protect the interests of key stakeholders, and establish a process for internal communication, decision making and priority setting during incidents.</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791"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Our team is working closely with Bupa to build a culture of resilience to protect its mission, vision, and goals, and to mitigate risks. Deloitte has successfully developed a BCM Framework and Governance structure for Bupa and is currently delivering key assessments and strategies, that will be followed by a comprehensive Incident Response and Crisis Management framework.</a:t>
              </a:r>
            </a:p>
          </p:txBody>
        </p:sp>
        <p:sp>
          <p:nvSpPr>
            <p:cNvPr id="15" name="Rectangle 14">
              <a:extLst>
                <a:ext uri="{FF2B5EF4-FFF2-40B4-BE49-F238E27FC236}">
                  <a16:creationId xmlns:a16="http://schemas.microsoft.com/office/drawing/2014/main" id="{D68B433D-C235-2DF3-E2DA-0E96FCEA73AF}"/>
                </a:ext>
              </a:extLst>
            </p:cNvPr>
            <p:cNvSpPr/>
            <p:nvPr/>
          </p:nvSpPr>
          <p:spPr>
            <a:xfrm>
              <a:off x="1651196" y="2532684"/>
              <a:ext cx="2118406" cy="3602784"/>
            </a:xfrm>
            <a:prstGeom prst="rect">
              <a:avLst/>
            </a:prstGeom>
          </p:spPr>
          <p:txBody>
            <a:bodyPr wrap="square">
              <a:spAutoFit/>
            </a:bodyPr>
            <a:lstStyle/>
            <a:p>
              <a:pPr marL="0" marR="0" lvl="0" indent="0" algn="just" defTabSz="914400" eaLnBrk="1" fontAlgn="auto" latinLnBrk="0" hangingPunct="1">
                <a:lnSpc>
                  <a:spcPct val="107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Deloitte was engaged to develop Business Continuity Development Program for SAMA Head Office, all branches and Committees across the Kingdom. In line with the understanding of the vision and requirements of SAMA, Deloitte built on its realization of the scale and criticality of such an important initiative by investing </a:t>
              </a:r>
              <a:r>
                <a:rPr kumimoji="0" lang="en-US" sz="791" b="1" i="0" u="none" strike="noStrike" kern="1200" cap="none" spc="0" normalizeH="0" baseline="0" noProof="0" dirty="0">
                  <a:ln>
                    <a:noFill/>
                  </a:ln>
                  <a:solidFill>
                    <a:prstClr val="black"/>
                  </a:solidFill>
                  <a:effectLst/>
                  <a:uLnTx/>
                  <a:uFillTx/>
                  <a:latin typeface="Verdana"/>
                  <a:ea typeface="+mn-ea"/>
                  <a:cs typeface="+mn-cs"/>
                </a:rPr>
                <a:t>24 months</a:t>
              </a:r>
              <a:r>
                <a:rPr kumimoji="0" lang="en-US" sz="791" b="0" i="0" u="none" strike="noStrike" kern="1200" cap="none" spc="0" normalizeH="0" baseline="0" noProof="0" dirty="0">
                  <a:ln>
                    <a:noFill/>
                  </a:ln>
                  <a:solidFill>
                    <a:prstClr val="black"/>
                  </a:solidFill>
                  <a:effectLst/>
                  <a:uLnTx/>
                  <a:uFillTx/>
                  <a:latin typeface="Verdana"/>
                  <a:ea typeface="+mn-ea"/>
                  <a:cs typeface="+mn-cs"/>
                </a:rPr>
                <a:t> of extensive efforts of hands-on involvement to develop an end-to-end BCM program. The dedicated team steered the development of the program in its initial stages by assessing and understanding existing resilience capabilities of the organization, only to be followed with a multi-month in-depth BIA of the entire organization (including the Headquarters in Riyadh as well as the authority’s ten branches across the kingdom) to derive the authority’s time-critical processes and identify recovery requirements needed to support the recovery of such processes. </a:t>
              </a:r>
            </a:p>
          </p:txBody>
        </p:sp>
        <p:pic>
          <p:nvPicPr>
            <p:cNvPr id="16" name="Picture 15">
              <a:extLst>
                <a:ext uri="{FF2B5EF4-FFF2-40B4-BE49-F238E27FC236}">
                  <a16:creationId xmlns:a16="http://schemas.microsoft.com/office/drawing/2014/main" id="{F86280AC-DB3C-C780-81C0-967F443B42D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80406" y="1530003"/>
              <a:ext cx="638313" cy="638313"/>
            </a:xfrm>
            <a:prstGeom prst="rect">
              <a:avLst/>
            </a:prstGeom>
          </p:spPr>
        </p:pic>
        <p:sp>
          <p:nvSpPr>
            <p:cNvPr id="17" name="Rectangle 16">
              <a:extLst>
                <a:ext uri="{FF2B5EF4-FFF2-40B4-BE49-F238E27FC236}">
                  <a16:creationId xmlns:a16="http://schemas.microsoft.com/office/drawing/2014/main" id="{18B2E842-36C0-700E-8D9F-F63F52B6119D}"/>
                </a:ext>
              </a:extLst>
            </p:cNvPr>
            <p:cNvSpPr/>
            <p:nvPr/>
          </p:nvSpPr>
          <p:spPr>
            <a:xfrm>
              <a:off x="3906089" y="1237200"/>
              <a:ext cx="2111969" cy="4915492"/>
            </a:xfrm>
            <a:prstGeom prst="rect">
              <a:avLst/>
            </a:prstGeom>
            <a:noFill/>
            <a:ln w="3175" cap="flat" cmpd="sng" algn="ctr">
              <a:solidFill>
                <a:srgbClr val="86BC2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87" b="0"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endParaRPr>
            </a:p>
          </p:txBody>
        </p:sp>
        <p:sp>
          <p:nvSpPr>
            <p:cNvPr id="18" name="Rectangle 17">
              <a:extLst>
                <a:ext uri="{FF2B5EF4-FFF2-40B4-BE49-F238E27FC236}">
                  <a16:creationId xmlns:a16="http://schemas.microsoft.com/office/drawing/2014/main" id="{3F5E07FE-6C83-73A3-DE37-C500CEBB990C}"/>
                </a:ext>
              </a:extLst>
            </p:cNvPr>
            <p:cNvSpPr/>
            <p:nvPr/>
          </p:nvSpPr>
          <p:spPr>
            <a:xfrm>
              <a:off x="3906088" y="1237201"/>
              <a:ext cx="2110465" cy="240569"/>
            </a:xfrm>
            <a:prstGeom prst="rect">
              <a:avLst/>
            </a:prstGeom>
            <a:solidFill>
              <a:srgbClr val="86BC25"/>
            </a:solidFill>
            <a:ln w="3175" cap="flat" cmpd="sng" algn="ctr">
              <a:solidFill>
                <a:srgbClr val="86BC2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717" b="1"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rPr>
                <a:t>Saudi Payments (SADAD)</a:t>
              </a:r>
            </a:p>
          </p:txBody>
        </p:sp>
        <p:sp>
          <p:nvSpPr>
            <p:cNvPr id="19" name="Rectangle 18">
              <a:extLst>
                <a:ext uri="{FF2B5EF4-FFF2-40B4-BE49-F238E27FC236}">
                  <a16:creationId xmlns:a16="http://schemas.microsoft.com/office/drawing/2014/main" id="{6D2BE2BA-D7C5-F319-651A-C619D056F97F}"/>
                </a:ext>
              </a:extLst>
            </p:cNvPr>
            <p:cNvSpPr/>
            <p:nvPr/>
          </p:nvSpPr>
          <p:spPr>
            <a:xfrm>
              <a:off x="3906088" y="2201955"/>
              <a:ext cx="2110465" cy="315073"/>
            </a:xfrm>
            <a:prstGeom prst="rect">
              <a:avLst/>
            </a:prstGeom>
            <a:solidFill>
              <a:srgbClr val="86BC25"/>
            </a:solidFill>
            <a:ln w="3175" cap="flat" cmpd="sng" algn="ctr">
              <a:solidFill>
                <a:srgbClr val="86BC2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17" b="1" i="0" u="none" strike="noStrike" kern="1200" cap="none" spc="0" normalizeH="0" baseline="0" noProof="0" dirty="0">
                  <a:ln>
                    <a:noFill/>
                  </a:ln>
                  <a:solidFill>
                    <a:srgbClr val="FFFFFF"/>
                  </a:solidFill>
                  <a:effectLst/>
                  <a:uLnTx/>
                  <a:uFillTx/>
                  <a:latin typeface="Verdana"/>
                  <a:ea typeface="Open Sans Light" panose="020B0306030504020204" pitchFamily="34" charset="0"/>
                  <a:cs typeface="Open Sans Light" panose="020B0306030504020204" pitchFamily="34" charset="0"/>
                </a:rPr>
                <a:t>Project  Details</a:t>
              </a:r>
            </a:p>
          </p:txBody>
        </p:sp>
        <p:sp>
          <p:nvSpPr>
            <p:cNvPr id="20" name="Rectangle 19">
              <a:extLst>
                <a:ext uri="{FF2B5EF4-FFF2-40B4-BE49-F238E27FC236}">
                  <a16:creationId xmlns:a16="http://schemas.microsoft.com/office/drawing/2014/main" id="{0772BBEB-2311-D2F6-FA8D-2E3795E6205D}"/>
                </a:ext>
              </a:extLst>
            </p:cNvPr>
            <p:cNvSpPr/>
            <p:nvPr/>
          </p:nvSpPr>
          <p:spPr>
            <a:xfrm>
              <a:off x="3912158" y="2517028"/>
              <a:ext cx="2104395" cy="362838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Saudi Payments (ex. SADAD Payment System) was established by the Saudi Arabian Monetary Authority (SAMA) to be the national Electronic Bill Presentment and Payment (EBPP) service provider for the Kingdom of Saudi Arabia (KSA). The core mandate for SADAD is to facilitate and streamline bill payment transactions of end consumers through all channels of the Kingdom’s Banks. SADAD was launched on October 3, 2004. SADAD links the commercial sector and local banks, offering the ability to collect customer payments electronically through all the banking channels in the kingdom 24 hours a day.</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791"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Deloitte has been appointed by SAMA to manage the Governance, Risk and Compliance function of SADAD for </a:t>
              </a:r>
              <a:r>
                <a:rPr kumimoji="0" lang="en-US" sz="791" b="1" i="0" u="none" strike="noStrike" kern="1200" cap="none" spc="0" normalizeH="0" baseline="0" noProof="0" dirty="0">
                  <a:ln>
                    <a:noFill/>
                  </a:ln>
                  <a:solidFill>
                    <a:prstClr val="black"/>
                  </a:solidFill>
                  <a:effectLst/>
                  <a:uLnTx/>
                  <a:uFillTx/>
                  <a:latin typeface="Verdana"/>
                  <a:ea typeface="+mn-ea"/>
                  <a:cs typeface="+mn-cs"/>
                </a:rPr>
                <a:t>2 years</a:t>
              </a:r>
              <a:r>
                <a:rPr kumimoji="0" lang="en-US" sz="791" b="0" i="0" u="none" strike="noStrike" kern="1200" cap="none" spc="0" normalizeH="0" baseline="0" noProof="0" dirty="0">
                  <a:ln>
                    <a:noFill/>
                  </a:ln>
                  <a:solidFill>
                    <a:prstClr val="black"/>
                  </a:solidFill>
                  <a:effectLst/>
                  <a:uLnTx/>
                  <a:uFillTx/>
                  <a:latin typeface="Verdana"/>
                  <a:ea typeface="+mn-ea"/>
                  <a:cs typeface="+mn-cs"/>
                </a:rPr>
                <a:t>. This includes management and maintenance of Business Continuity Management, Enterprise Risk Management, Information Security Governance, Fraud Risk Management and Compliance Management.</a:t>
              </a:r>
            </a:p>
          </p:txBody>
        </p:sp>
        <p:pic>
          <p:nvPicPr>
            <p:cNvPr id="21" name="Picture 6" descr="C:\Users\Khaled\Desktop\Saudi Payments\Stationary\PPT Template\JPG\PPT-09.png">
              <a:extLst>
                <a:ext uri="{FF2B5EF4-FFF2-40B4-BE49-F238E27FC236}">
                  <a16:creationId xmlns:a16="http://schemas.microsoft.com/office/drawing/2014/main" id="{C3B492FA-4BA3-2941-8003-FB85C426364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56902" y="1537793"/>
              <a:ext cx="1030401" cy="60793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descr="p2">
              <a:extLst>
                <a:ext uri="{FF2B5EF4-FFF2-40B4-BE49-F238E27FC236}">
                  <a16:creationId xmlns:a16="http://schemas.microsoft.com/office/drawing/2014/main" id="{EF5D055D-F6BC-DF4E-D603-A53893F99D1C}"/>
                </a:ext>
              </a:extLst>
            </p:cNvPr>
            <p:cNvPicPr/>
            <p:nvPr/>
          </p:nvPicPr>
          <p:blipFill rotWithShape="1">
            <a:blip r:embed="rId5" cstate="print">
              <a:extLst>
                <a:ext uri="{28A0092B-C50C-407E-A947-70E740481C1C}">
                  <a14:useLocalDpi xmlns:a14="http://schemas.microsoft.com/office/drawing/2010/main" val="0"/>
                </a:ext>
              </a:extLst>
            </a:blip>
            <a:srcRect r="59164"/>
            <a:stretch/>
          </p:blipFill>
          <p:spPr bwMode="auto">
            <a:xfrm>
              <a:off x="1760632" y="1571951"/>
              <a:ext cx="1897093" cy="535819"/>
            </a:xfrm>
            <a:prstGeom prst="rect">
              <a:avLst/>
            </a:prstGeom>
            <a:noFill/>
            <a:ln>
              <a:noFill/>
            </a:ln>
          </p:spPr>
        </p:pic>
        <p:sp>
          <p:nvSpPr>
            <p:cNvPr id="23" name="Rectangle 22">
              <a:extLst>
                <a:ext uri="{FF2B5EF4-FFF2-40B4-BE49-F238E27FC236}">
                  <a16:creationId xmlns:a16="http://schemas.microsoft.com/office/drawing/2014/main" id="{471CEC41-2E8D-5D32-A927-864014F0C5C3}"/>
                </a:ext>
              </a:extLst>
            </p:cNvPr>
            <p:cNvSpPr/>
            <p:nvPr/>
          </p:nvSpPr>
          <p:spPr>
            <a:xfrm>
              <a:off x="8415497" y="2530758"/>
              <a:ext cx="2126819" cy="216123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Tadawul has Business Continuity (BC) arrangements in place and was striving to ensure its BC program is enhanced and up to date. </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791"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To achieve this, Tadawul sought the services of Deloitte to provide expert advice and assistance to enable the Risk Management Division (RMD) undertake an update cycle of Tadawul’s BC program with the aim of raising the quality and maturity to the program further (including initiation of expanding the scope of the program to the Subsidiary), and also focusing on building exercising and testing capability.</a:t>
              </a:r>
            </a:p>
          </p:txBody>
        </p:sp>
        <p:pic>
          <p:nvPicPr>
            <p:cNvPr id="24" name="Picture 23">
              <a:extLst>
                <a:ext uri="{FF2B5EF4-FFF2-40B4-BE49-F238E27FC236}">
                  <a16:creationId xmlns:a16="http://schemas.microsoft.com/office/drawing/2014/main" id="{36A5603D-F04E-4E33-7948-C99B121D844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84637" y="1540475"/>
              <a:ext cx="1301855" cy="617846"/>
            </a:xfrm>
            <a:prstGeom prst="rect">
              <a:avLst/>
            </a:prstGeom>
          </p:spPr>
        </p:pic>
      </p:grpSp>
    </p:spTree>
    <p:extLst>
      <p:ext uri="{BB962C8B-B14F-4D97-AF65-F5344CB8AC3E}">
        <p14:creationId xmlns:p14="http://schemas.microsoft.com/office/powerpoint/2010/main" val="2031927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bwMode="gray">
          <a:xfrm>
            <a:off x="501650" y="317501"/>
            <a:ext cx="11188700" cy="334100"/>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j-ea"/>
                <a:cs typeface="Calibri" panose="020F0502020204030204" pitchFamily="34" charset="0"/>
              </a:rPr>
              <a:t>Our Credentials </a:t>
            </a:r>
            <a:endParaRPr kumimoji="0" lang="en-US" sz="2000" b="1" i="0" u="none" strike="noStrike" kern="1200" cap="none" spc="0" normalizeH="0" baseline="0" noProof="0">
              <a:ln>
                <a:noFill/>
              </a:ln>
              <a:solidFill>
                <a:srgbClr val="FF0000"/>
              </a:solidFill>
              <a:effectLst/>
              <a:uLnTx/>
              <a:uFillTx/>
              <a:latin typeface="Calibri" panose="020F0502020204030204" pitchFamily="34" charset="0"/>
              <a:ea typeface="+mj-ea"/>
              <a:cs typeface="Calibri" panose="020F0502020204030204" pitchFamily="34" charset="0"/>
            </a:endParaRPr>
          </a:p>
        </p:txBody>
      </p:sp>
      <p:sp>
        <p:nvSpPr>
          <p:cNvPr id="56" name="Text Placeholder 1">
            <a:extLst>
              <a:ext uri="{FF2B5EF4-FFF2-40B4-BE49-F238E27FC236}">
                <a16:creationId xmlns:a16="http://schemas.microsoft.com/office/drawing/2014/main" id="{1C0BEC98-07DA-4FFE-AE59-935D86457BE0}"/>
              </a:ext>
            </a:extLst>
          </p:cNvPr>
          <p:cNvSpPr>
            <a:spLocks noGrp="1"/>
          </p:cNvSpPr>
          <p:nvPr>
            <p:ph type="body" sz="quarter" idx="13"/>
          </p:nvPr>
        </p:nvSpPr>
        <p:spPr>
          <a:xfrm>
            <a:off x="501650" y="651601"/>
            <a:ext cx="11188700" cy="326300"/>
          </a:xfrm>
        </p:spPr>
        <p:txBody>
          <a:bodyPr/>
          <a:lstStyle/>
          <a:p>
            <a:r>
              <a:rPr lang="en-US" sz="1800"/>
              <a:t>Our BCM and Resilience Experience</a:t>
            </a:r>
          </a:p>
        </p:txBody>
      </p:sp>
      <p:grpSp>
        <p:nvGrpSpPr>
          <p:cNvPr id="2" name="Group 1">
            <a:extLst>
              <a:ext uri="{FF2B5EF4-FFF2-40B4-BE49-F238E27FC236}">
                <a16:creationId xmlns:a16="http://schemas.microsoft.com/office/drawing/2014/main" id="{2287BF8C-1B19-BDC7-632F-666142C56942}"/>
              </a:ext>
            </a:extLst>
          </p:cNvPr>
          <p:cNvGrpSpPr/>
          <p:nvPr/>
        </p:nvGrpSpPr>
        <p:grpSpPr>
          <a:xfrm>
            <a:off x="1655703" y="1288857"/>
            <a:ext cx="8880606" cy="4915492"/>
            <a:chOff x="483742" y="1268704"/>
            <a:chExt cx="8964210" cy="4961767"/>
          </a:xfrm>
        </p:grpSpPr>
        <p:sp>
          <p:nvSpPr>
            <p:cNvPr id="3" name="Rectangle 2">
              <a:extLst>
                <a:ext uri="{FF2B5EF4-FFF2-40B4-BE49-F238E27FC236}">
                  <a16:creationId xmlns:a16="http://schemas.microsoft.com/office/drawing/2014/main" id="{BEBC7596-A396-E151-F021-AD198B08E0F8}"/>
                </a:ext>
              </a:extLst>
            </p:cNvPr>
            <p:cNvSpPr/>
            <p:nvPr/>
          </p:nvSpPr>
          <p:spPr>
            <a:xfrm>
              <a:off x="483742" y="1268704"/>
              <a:ext cx="2131851" cy="4961767"/>
            </a:xfrm>
            <a:prstGeom prst="rect">
              <a:avLst/>
            </a:prstGeom>
            <a:noFill/>
            <a:ln w="3175" cap="flat" cmpd="sng" algn="ctr">
              <a:solidFill>
                <a:srgbClr val="046A38"/>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87" b="0"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endParaRPr>
            </a:p>
          </p:txBody>
        </p:sp>
        <p:sp>
          <p:nvSpPr>
            <p:cNvPr id="5" name="Rectangle 4">
              <a:extLst>
                <a:ext uri="{FF2B5EF4-FFF2-40B4-BE49-F238E27FC236}">
                  <a16:creationId xmlns:a16="http://schemas.microsoft.com/office/drawing/2014/main" id="{6489CE2D-CBEF-69E5-FBD8-094D4C4C40FB}"/>
                </a:ext>
              </a:extLst>
            </p:cNvPr>
            <p:cNvSpPr/>
            <p:nvPr/>
          </p:nvSpPr>
          <p:spPr>
            <a:xfrm>
              <a:off x="483742" y="1268705"/>
              <a:ext cx="2130333" cy="242834"/>
            </a:xfrm>
            <a:prstGeom prst="rect">
              <a:avLst/>
            </a:prstGeom>
            <a:solidFill>
              <a:srgbClr val="046A38"/>
            </a:solidFill>
            <a:ln w="3175" cap="flat" cmpd="sng" algn="ctr">
              <a:solidFill>
                <a:srgbClr val="3C8A2E"/>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707" b="1"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rPr>
                <a:t>Saudi National Bank</a:t>
              </a:r>
            </a:p>
          </p:txBody>
        </p:sp>
        <p:sp>
          <p:nvSpPr>
            <p:cNvPr id="6" name="Rectangle 5">
              <a:extLst>
                <a:ext uri="{FF2B5EF4-FFF2-40B4-BE49-F238E27FC236}">
                  <a16:creationId xmlns:a16="http://schemas.microsoft.com/office/drawing/2014/main" id="{13B9EE71-598A-A9E9-88B3-625858194361}"/>
                </a:ext>
              </a:extLst>
            </p:cNvPr>
            <p:cNvSpPr/>
            <p:nvPr/>
          </p:nvSpPr>
          <p:spPr>
            <a:xfrm>
              <a:off x="483742" y="2242541"/>
              <a:ext cx="2130333" cy="318039"/>
            </a:xfrm>
            <a:prstGeom prst="rect">
              <a:avLst/>
            </a:prstGeom>
            <a:solidFill>
              <a:srgbClr val="046A38"/>
            </a:solidFill>
            <a:ln w="3175" cap="flat" cmpd="sng" algn="ctr">
              <a:solidFill>
                <a:srgbClr val="3C8A2E"/>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21" b="1" i="0" u="none" strike="noStrike" kern="1200" cap="none" spc="0" normalizeH="0" baseline="0" noProof="0" dirty="0">
                  <a:ln>
                    <a:noFill/>
                  </a:ln>
                  <a:solidFill>
                    <a:srgbClr val="FFFFFF"/>
                  </a:solidFill>
                  <a:effectLst/>
                  <a:uLnTx/>
                  <a:uFillTx/>
                  <a:latin typeface="Verdana"/>
                  <a:ea typeface="Open Sans Light" panose="020B0306030504020204" pitchFamily="34" charset="0"/>
                  <a:cs typeface="Open Sans Light" panose="020B0306030504020204" pitchFamily="34" charset="0"/>
                </a:rPr>
                <a:t>Project  Details</a:t>
              </a:r>
            </a:p>
          </p:txBody>
        </p:sp>
        <p:sp>
          <p:nvSpPr>
            <p:cNvPr id="7" name="Rectangle 6">
              <a:extLst>
                <a:ext uri="{FF2B5EF4-FFF2-40B4-BE49-F238E27FC236}">
                  <a16:creationId xmlns:a16="http://schemas.microsoft.com/office/drawing/2014/main" id="{466F3C87-229B-950A-DD65-4562A89E2007}"/>
                </a:ext>
              </a:extLst>
            </p:cNvPr>
            <p:cNvSpPr/>
            <p:nvPr/>
          </p:nvSpPr>
          <p:spPr>
            <a:xfrm>
              <a:off x="5038834" y="1268704"/>
              <a:ext cx="2131851" cy="4961767"/>
            </a:xfrm>
            <a:prstGeom prst="rect">
              <a:avLst/>
            </a:prstGeom>
            <a:noFill/>
            <a:ln w="3175" cap="flat" cmpd="sng" algn="ctr">
              <a:solidFill>
                <a:srgbClr val="62B5E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87" b="0"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endParaRPr>
            </a:p>
          </p:txBody>
        </p:sp>
        <p:sp>
          <p:nvSpPr>
            <p:cNvPr id="8" name="Rectangle 7">
              <a:extLst>
                <a:ext uri="{FF2B5EF4-FFF2-40B4-BE49-F238E27FC236}">
                  <a16:creationId xmlns:a16="http://schemas.microsoft.com/office/drawing/2014/main" id="{4BB5E284-E085-E6A8-41E3-B2392C426776}"/>
                </a:ext>
              </a:extLst>
            </p:cNvPr>
            <p:cNvSpPr/>
            <p:nvPr/>
          </p:nvSpPr>
          <p:spPr>
            <a:xfrm>
              <a:off x="5038833" y="1268705"/>
              <a:ext cx="2130333" cy="242834"/>
            </a:xfrm>
            <a:prstGeom prst="rect">
              <a:avLst/>
            </a:prstGeom>
            <a:solidFill>
              <a:srgbClr val="62B5E5"/>
            </a:solidFill>
            <a:ln w="3175" cap="flat" cmpd="sng" algn="ctr">
              <a:solidFill>
                <a:srgbClr val="62B5E5"/>
              </a:solidFill>
              <a:prstDash val="solid"/>
            </a:ln>
            <a:effectLst/>
          </p:spPr>
          <p:txBody>
            <a:bodyPr lIns="72018" tIns="36010" rIns="72018" bIns="36010" rtlCol="0" anchor="ctr"/>
            <a:lstStyle/>
            <a:p>
              <a:pPr marL="0" marR="0" lvl="0" indent="0" algn="ctr" defTabSz="822107" eaLnBrk="1" fontAlgn="auto" latinLnBrk="0" hangingPunct="1">
                <a:lnSpc>
                  <a:spcPct val="100000"/>
                </a:lnSpc>
                <a:spcBef>
                  <a:spcPts val="0"/>
                </a:spcBef>
                <a:spcAft>
                  <a:spcPts val="0"/>
                </a:spcAft>
                <a:buClrTx/>
                <a:buSzTx/>
                <a:buFontTx/>
                <a:buNone/>
                <a:tabLst/>
                <a:defRPr/>
              </a:pPr>
              <a:r>
                <a:rPr kumimoji="0" lang="en-US" sz="717" b="1" i="0" u="none" strike="noStrike" kern="1200" cap="none" spc="0" normalizeH="0" baseline="0" noProof="0" dirty="0">
                  <a:ln>
                    <a:noFill/>
                  </a:ln>
                  <a:solidFill>
                    <a:prstClr val="white"/>
                  </a:solidFill>
                  <a:effectLst/>
                  <a:uLnTx/>
                  <a:uFillTx/>
                  <a:latin typeface="Verdana"/>
                  <a:ea typeface="Verdana" panose="020B0604030504040204" pitchFamily="34" charset="0"/>
                  <a:cs typeface="Verdana" panose="020B0604030504040204" pitchFamily="34" charset="0"/>
                </a:rPr>
                <a:t>Ma’aden</a:t>
              </a:r>
            </a:p>
          </p:txBody>
        </p:sp>
        <p:sp>
          <p:nvSpPr>
            <p:cNvPr id="9" name="Rectangle 8">
              <a:extLst>
                <a:ext uri="{FF2B5EF4-FFF2-40B4-BE49-F238E27FC236}">
                  <a16:creationId xmlns:a16="http://schemas.microsoft.com/office/drawing/2014/main" id="{3427F095-F38A-7733-D712-80A8082C7947}"/>
                </a:ext>
              </a:extLst>
            </p:cNvPr>
            <p:cNvSpPr/>
            <p:nvPr/>
          </p:nvSpPr>
          <p:spPr>
            <a:xfrm>
              <a:off x="5038833" y="2242541"/>
              <a:ext cx="2130333" cy="318039"/>
            </a:xfrm>
            <a:prstGeom prst="rect">
              <a:avLst/>
            </a:prstGeom>
            <a:solidFill>
              <a:srgbClr val="62B5E5"/>
            </a:solidFill>
            <a:ln w="3175" cap="flat" cmpd="sng" algn="ctr">
              <a:solidFill>
                <a:srgbClr val="62B5E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17" b="1" i="0" u="none" strike="noStrike" kern="1200" cap="none" spc="0" normalizeH="0" baseline="0" noProof="0" dirty="0">
                  <a:ln>
                    <a:noFill/>
                  </a:ln>
                  <a:solidFill>
                    <a:srgbClr val="FFFFFF"/>
                  </a:solidFill>
                  <a:effectLst/>
                  <a:uLnTx/>
                  <a:uFillTx/>
                  <a:latin typeface="Verdana"/>
                  <a:ea typeface="Open Sans Light" panose="020B0306030504020204" pitchFamily="34" charset="0"/>
                  <a:cs typeface="Open Sans Light" panose="020B0306030504020204" pitchFamily="34" charset="0"/>
                </a:rPr>
                <a:t>Project  Details</a:t>
              </a:r>
            </a:p>
          </p:txBody>
        </p:sp>
        <p:sp>
          <p:nvSpPr>
            <p:cNvPr id="10" name="Rectangle 9">
              <a:extLst>
                <a:ext uri="{FF2B5EF4-FFF2-40B4-BE49-F238E27FC236}">
                  <a16:creationId xmlns:a16="http://schemas.microsoft.com/office/drawing/2014/main" id="{A3F7F35E-E077-711F-5D2D-CCFE106A83F0}"/>
                </a:ext>
              </a:extLst>
            </p:cNvPr>
            <p:cNvSpPr/>
            <p:nvPr/>
          </p:nvSpPr>
          <p:spPr>
            <a:xfrm>
              <a:off x="7316101" y="1268704"/>
              <a:ext cx="2131851" cy="4961767"/>
            </a:xfrm>
            <a:prstGeom prst="rect">
              <a:avLst/>
            </a:prstGeom>
            <a:noFill/>
            <a:ln w="3175" cap="flat" cmpd="sng" algn="ctr">
              <a:solidFill>
                <a:srgbClr val="012169"/>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87" b="0"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endParaRPr>
            </a:p>
          </p:txBody>
        </p:sp>
        <p:sp>
          <p:nvSpPr>
            <p:cNvPr id="11" name="Rectangle 10">
              <a:extLst>
                <a:ext uri="{FF2B5EF4-FFF2-40B4-BE49-F238E27FC236}">
                  <a16:creationId xmlns:a16="http://schemas.microsoft.com/office/drawing/2014/main" id="{13024FA0-18E9-BF83-F29B-DA79E5BB7CE9}"/>
                </a:ext>
              </a:extLst>
            </p:cNvPr>
            <p:cNvSpPr/>
            <p:nvPr/>
          </p:nvSpPr>
          <p:spPr>
            <a:xfrm>
              <a:off x="7316101" y="1268705"/>
              <a:ext cx="2130333" cy="242834"/>
            </a:xfrm>
            <a:prstGeom prst="rect">
              <a:avLst/>
            </a:prstGeom>
            <a:solidFill>
              <a:srgbClr val="012169"/>
            </a:solidFill>
            <a:ln w="3175" cap="flat" cmpd="sng" algn="ctr">
              <a:solidFill>
                <a:srgbClr val="012169"/>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7" b="1"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rPr>
                <a:t>OSN</a:t>
              </a:r>
            </a:p>
          </p:txBody>
        </p:sp>
        <p:sp>
          <p:nvSpPr>
            <p:cNvPr id="12" name="Rectangle 11">
              <a:extLst>
                <a:ext uri="{FF2B5EF4-FFF2-40B4-BE49-F238E27FC236}">
                  <a16:creationId xmlns:a16="http://schemas.microsoft.com/office/drawing/2014/main" id="{171D3DE7-BC6B-1EB5-822F-B88B7D08CCE6}"/>
                </a:ext>
              </a:extLst>
            </p:cNvPr>
            <p:cNvSpPr/>
            <p:nvPr/>
          </p:nvSpPr>
          <p:spPr>
            <a:xfrm>
              <a:off x="7316101" y="2242541"/>
              <a:ext cx="2130333" cy="318039"/>
            </a:xfrm>
            <a:prstGeom prst="rect">
              <a:avLst/>
            </a:prstGeom>
            <a:solidFill>
              <a:srgbClr val="012169"/>
            </a:solidFill>
            <a:ln w="3175" cap="flat" cmpd="sng" algn="ctr">
              <a:solidFill>
                <a:srgbClr val="012169"/>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17" b="1" i="0" u="none" strike="noStrike" kern="1200" cap="none" spc="0" normalizeH="0" baseline="0" noProof="0" dirty="0">
                  <a:ln>
                    <a:noFill/>
                  </a:ln>
                  <a:solidFill>
                    <a:srgbClr val="FFFFFF"/>
                  </a:solidFill>
                  <a:effectLst/>
                  <a:uLnTx/>
                  <a:uFillTx/>
                  <a:latin typeface="Verdana"/>
                  <a:ea typeface="Open Sans Light" panose="020B0306030504020204" pitchFamily="34" charset="0"/>
                  <a:cs typeface="Open Sans Light" panose="020B0306030504020204" pitchFamily="34" charset="0"/>
                </a:rPr>
                <a:t>Project  Details</a:t>
              </a:r>
            </a:p>
          </p:txBody>
        </p:sp>
        <p:sp>
          <p:nvSpPr>
            <p:cNvPr id="13" name="Rectangle 12">
              <a:extLst>
                <a:ext uri="{FF2B5EF4-FFF2-40B4-BE49-F238E27FC236}">
                  <a16:creationId xmlns:a16="http://schemas.microsoft.com/office/drawing/2014/main" id="{BDAF9D59-7593-0B89-9F2C-52D1B0FD5791}"/>
                </a:ext>
              </a:extLst>
            </p:cNvPr>
            <p:cNvSpPr/>
            <p:nvPr/>
          </p:nvSpPr>
          <p:spPr>
            <a:xfrm>
              <a:off x="556176" y="2582857"/>
              <a:ext cx="2068107" cy="816566"/>
            </a:xfrm>
            <a:prstGeom prst="rect">
              <a:avLst/>
            </a:prstGeom>
          </p:spPr>
          <p:txBody>
            <a:bodyPr wrap="square" lIns="72018" tIns="36010" rIns="72018" bIns="36010">
              <a:spAutoFit/>
            </a:bodyPr>
            <a:lstStyle/>
            <a:p>
              <a:pPr marL="154145" marR="0" lvl="0" indent="-154145"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7" b="1" i="0" u="none" strike="noStrike" kern="1200" cap="none" spc="0" normalizeH="0" baseline="0" noProof="0" dirty="0">
                <a:ln>
                  <a:noFill/>
                </a:ln>
                <a:solidFill>
                  <a:prstClr val="black"/>
                </a:solidFill>
                <a:effectLst/>
                <a:uLnTx/>
                <a:uFillTx/>
                <a:latin typeface="Verdana"/>
                <a:ea typeface="+mn-ea"/>
                <a:cs typeface="+mn-cs"/>
              </a:endParaRPr>
            </a:p>
            <a:p>
              <a:pPr marL="154145" marR="0" lvl="0" indent="-154145"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7" b="1" i="0" u="none" strike="noStrike" kern="1200" cap="none" spc="0" normalizeH="0" baseline="0" noProof="0" dirty="0">
                <a:ln>
                  <a:noFill/>
                </a:ln>
                <a:solidFill>
                  <a:prstClr val="black"/>
                </a:solidFill>
                <a:effectLst/>
                <a:uLnTx/>
                <a:uFillTx/>
                <a:latin typeface="Verdana"/>
                <a:ea typeface="+mn-ea"/>
                <a:cs typeface="+mn-cs"/>
              </a:endParaRPr>
            </a:p>
            <a:p>
              <a:pPr marL="0" marR="0" lvl="0" indent="0" defTabSz="822107" eaLnBrk="1" fontAlgn="auto" latinLnBrk="0" hangingPunct="1">
                <a:lnSpc>
                  <a:spcPct val="100000"/>
                </a:lnSpc>
                <a:spcBef>
                  <a:spcPts val="272"/>
                </a:spcBef>
                <a:spcAft>
                  <a:spcPts val="0"/>
                </a:spcAft>
                <a:buClrTx/>
                <a:buSzTx/>
                <a:buFontTx/>
                <a:buNone/>
                <a:tabLst/>
                <a:defRPr/>
              </a:pPr>
              <a:endParaRPr kumimoji="0" lang="en-US" sz="807"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54145" marR="0" lvl="0" indent="-154145" defTabSz="822107" eaLnBrk="1" fontAlgn="auto" latinLnBrk="0" hangingPunct="1">
                <a:lnSpc>
                  <a:spcPct val="100000"/>
                </a:lnSpc>
                <a:spcBef>
                  <a:spcPts val="272"/>
                </a:spcBef>
                <a:spcAft>
                  <a:spcPts val="0"/>
                </a:spcAft>
                <a:buClrTx/>
                <a:buSzTx/>
                <a:buFont typeface="Arial" panose="020B0604020202020204" pitchFamily="34" charset="0"/>
                <a:buChar char="•"/>
                <a:tabLst/>
                <a:defRPr/>
              </a:pPr>
              <a:endParaRPr kumimoji="0" lang="en-US" sz="807"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defTabSz="822107" eaLnBrk="1" fontAlgn="auto" latinLnBrk="0" hangingPunct="1">
                <a:lnSpc>
                  <a:spcPct val="100000"/>
                </a:lnSpc>
                <a:spcBef>
                  <a:spcPts val="272"/>
                </a:spcBef>
                <a:spcAft>
                  <a:spcPts val="0"/>
                </a:spcAft>
                <a:buClrTx/>
                <a:buSzTx/>
                <a:buFontTx/>
                <a:buNone/>
                <a:tabLst/>
                <a:defRPr/>
              </a:pPr>
              <a:endParaRPr kumimoji="0" lang="en-US" sz="807"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Rectangle 13">
              <a:extLst>
                <a:ext uri="{FF2B5EF4-FFF2-40B4-BE49-F238E27FC236}">
                  <a16:creationId xmlns:a16="http://schemas.microsoft.com/office/drawing/2014/main" id="{6121B622-FB87-7B9C-6A81-B1646A26A0AD}"/>
                </a:ext>
              </a:extLst>
            </p:cNvPr>
            <p:cNvSpPr/>
            <p:nvPr/>
          </p:nvSpPr>
          <p:spPr>
            <a:xfrm>
              <a:off x="5040568" y="2560580"/>
              <a:ext cx="2179735" cy="206210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Deloitte &amp; Touche M.E. has been awarded the contract to implement end-to-end Business Continuity Management System for Ma’aden Corporate and all of its business units and affiliate companies including a review of its emergency response procedures for its mines and sites. MA’ADEN has engaged Deloitte to assist in the development of the enterprise wide Enterprise Risk Management (ERM) Program and the BCM Program concurrently. The Project is expected to last 2 years at the initial onset and to cover the entire units and sites in scope.</a:t>
              </a:r>
            </a:p>
          </p:txBody>
        </p:sp>
        <p:sp>
          <p:nvSpPr>
            <p:cNvPr id="15" name="Rectangle 14">
              <a:extLst>
                <a:ext uri="{FF2B5EF4-FFF2-40B4-BE49-F238E27FC236}">
                  <a16:creationId xmlns:a16="http://schemas.microsoft.com/office/drawing/2014/main" id="{419500AF-9F20-D092-017C-4A1B0B61966F}"/>
                </a:ext>
              </a:extLst>
            </p:cNvPr>
            <p:cNvSpPr/>
            <p:nvPr/>
          </p:nvSpPr>
          <p:spPr>
            <a:xfrm>
              <a:off x="485260" y="2576384"/>
              <a:ext cx="2138349" cy="95410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Deloitte’s BCM team assisted SNB for a compressive Disaster Recovery (DR) Assessment and helped them to developed an IT Business Continuity Management Program in line with the SAMA BCM Requirements and ISO 22301 Standard requirements. </a:t>
              </a:r>
            </a:p>
          </p:txBody>
        </p:sp>
        <p:sp>
          <p:nvSpPr>
            <p:cNvPr id="16" name="Rectangle 15">
              <a:extLst>
                <a:ext uri="{FF2B5EF4-FFF2-40B4-BE49-F238E27FC236}">
                  <a16:creationId xmlns:a16="http://schemas.microsoft.com/office/drawing/2014/main" id="{51A42482-304C-AE8B-3C9C-00E27E8207C9}"/>
                </a:ext>
              </a:extLst>
            </p:cNvPr>
            <p:cNvSpPr/>
            <p:nvPr/>
          </p:nvSpPr>
          <p:spPr>
            <a:xfrm>
              <a:off x="7316101" y="2560580"/>
              <a:ext cx="2130333" cy="1858970"/>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Deloitte &amp; Touche M.E. led the development and implementation efforts for a comprehensive Business Continuity Management program for OSN’s operations.  We conducted organization-wide business impact analysis outlining the recovery time and recovery point objectives for the organization’s critical business processes.  Each technology application supporting the various processes has been identified, along with its corresponding recovery objectives.</a:t>
              </a:r>
            </a:p>
          </p:txBody>
        </p:sp>
        <p:sp>
          <p:nvSpPr>
            <p:cNvPr id="17" name="Rectangle 16">
              <a:extLst>
                <a:ext uri="{FF2B5EF4-FFF2-40B4-BE49-F238E27FC236}">
                  <a16:creationId xmlns:a16="http://schemas.microsoft.com/office/drawing/2014/main" id="{72CF3D87-177E-1E66-E707-A88A21CA3AE4}"/>
                </a:ext>
              </a:extLst>
            </p:cNvPr>
            <p:cNvSpPr/>
            <p:nvPr/>
          </p:nvSpPr>
          <p:spPr>
            <a:xfrm>
              <a:off x="2765339" y="2560580"/>
              <a:ext cx="2130333" cy="1101840"/>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Deloitte’s BCM team led the development and implementation efforts for a comprehensive business continuity management system for SEDCO Holding.  The project includes the development of main strategies and plans for critical departments within SEDCO Holding.</a:t>
              </a:r>
            </a:p>
          </p:txBody>
        </p:sp>
        <p:sp>
          <p:nvSpPr>
            <p:cNvPr id="18" name="Rectangle 17">
              <a:extLst>
                <a:ext uri="{FF2B5EF4-FFF2-40B4-BE49-F238E27FC236}">
                  <a16:creationId xmlns:a16="http://schemas.microsoft.com/office/drawing/2014/main" id="{5B9E73DD-16D9-FAB1-4571-7E555F7E834C}"/>
                </a:ext>
              </a:extLst>
            </p:cNvPr>
            <p:cNvSpPr/>
            <p:nvPr/>
          </p:nvSpPr>
          <p:spPr>
            <a:xfrm>
              <a:off x="2761381" y="1268704"/>
              <a:ext cx="2131851" cy="4961767"/>
            </a:xfrm>
            <a:prstGeom prst="rect">
              <a:avLst/>
            </a:prstGeom>
            <a:noFill/>
            <a:ln w="3175" cap="flat" cmpd="sng" algn="ctr">
              <a:solidFill>
                <a:srgbClr val="86BC2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87" b="0"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endParaRPr>
            </a:p>
          </p:txBody>
        </p:sp>
        <p:sp>
          <p:nvSpPr>
            <p:cNvPr id="19" name="Rectangle 18">
              <a:extLst>
                <a:ext uri="{FF2B5EF4-FFF2-40B4-BE49-F238E27FC236}">
                  <a16:creationId xmlns:a16="http://schemas.microsoft.com/office/drawing/2014/main" id="{BAB8715A-E763-F3E6-00ED-1DEE98B41C25}"/>
                </a:ext>
              </a:extLst>
            </p:cNvPr>
            <p:cNvSpPr/>
            <p:nvPr/>
          </p:nvSpPr>
          <p:spPr>
            <a:xfrm>
              <a:off x="2761380" y="1268705"/>
              <a:ext cx="2130333" cy="242834"/>
            </a:xfrm>
            <a:prstGeom prst="rect">
              <a:avLst/>
            </a:prstGeom>
            <a:solidFill>
              <a:srgbClr val="86BC25"/>
            </a:solidFill>
            <a:ln w="3175" cap="flat" cmpd="sng" algn="ctr">
              <a:solidFill>
                <a:srgbClr val="86BC2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717" b="1"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rPr>
                <a:t>SEDCO</a:t>
              </a:r>
            </a:p>
          </p:txBody>
        </p:sp>
        <p:sp>
          <p:nvSpPr>
            <p:cNvPr id="20" name="Rectangle 19">
              <a:extLst>
                <a:ext uri="{FF2B5EF4-FFF2-40B4-BE49-F238E27FC236}">
                  <a16:creationId xmlns:a16="http://schemas.microsoft.com/office/drawing/2014/main" id="{C49FABE6-61D5-80FE-81B6-602C21C04E1D}"/>
                </a:ext>
              </a:extLst>
            </p:cNvPr>
            <p:cNvSpPr/>
            <p:nvPr/>
          </p:nvSpPr>
          <p:spPr>
            <a:xfrm>
              <a:off x="2761380" y="2242541"/>
              <a:ext cx="2130333" cy="318039"/>
            </a:xfrm>
            <a:prstGeom prst="rect">
              <a:avLst/>
            </a:prstGeom>
            <a:solidFill>
              <a:srgbClr val="86BC25"/>
            </a:solidFill>
            <a:ln w="3175" cap="flat" cmpd="sng" algn="ctr">
              <a:solidFill>
                <a:srgbClr val="86BC2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17" b="1" i="0" u="none" strike="noStrike" kern="1200" cap="none" spc="0" normalizeH="0" baseline="0" noProof="0" dirty="0">
                  <a:ln>
                    <a:noFill/>
                  </a:ln>
                  <a:solidFill>
                    <a:srgbClr val="FFFFFF"/>
                  </a:solidFill>
                  <a:effectLst/>
                  <a:uLnTx/>
                  <a:uFillTx/>
                  <a:latin typeface="Verdana"/>
                  <a:ea typeface="Open Sans Light" panose="020B0306030504020204" pitchFamily="34" charset="0"/>
                  <a:cs typeface="Open Sans Light" panose="020B0306030504020204" pitchFamily="34" charset="0"/>
                </a:rPr>
                <a:t>Project  Details</a:t>
              </a:r>
            </a:p>
          </p:txBody>
        </p:sp>
        <p:pic>
          <p:nvPicPr>
            <p:cNvPr id="21" name="Picture 20">
              <a:extLst>
                <a:ext uri="{FF2B5EF4-FFF2-40B4-BE49-F238E27FC236}">
                  <a16:creationId xmlns:a16="http://schemas.microsoft.com/office/drawing/2014/main" id="{A16BF58D-D08F-6248-7CE0-6ECD5557606C}"/>
                </a:ext>
              </a:extLst>
            </p:cNvPr>
            <p:cNvPicPr/>
            <p:nvPr/>
          </p:nvPicPr>
          <p:blipFill>
            <a:blip r:embed="rId3" cstate="print"/>
            <a:srcRect/>
            <a:stretch>
              <a:fillRect/>
            </a:stretch>
          </p:blipFill>
          <p:spPr bwMode="auto">
            <a:xfrm>
              <a:off x="2783587" y="1592298"/>
              <a:ext cx="2108126" cy="579401"/>
            </a:xfrm>
            <a:prstGeom prst="rect">
              <a:avLst/>
            </a:prstGeom>
            <a:noFill/>
            <a:ln w="9525">
              <a:noFill/>
              <a:miter lim="800000"/>
              <a:headEnd/>
              <a:tailEnd/>
            </a:ln>
          </p:spPr>
        </p:pic>
        <p:pic>
          <p:nvPicPr>
            <p:cNvPr id="22" name="Picture 13" descr="Image result for OSN">
              <a:extLst>
                <a:ext uri="{FF2B5EF4-FFF2-40B4-BE49-F238E27FC236}">
                  <a16:creationId xmlns:a16="http://schemas.microsoft.com/office/drawing/2014/main" id="{5C03E43D-1B4D-99E0-6985-346F0666A3A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72074" y="1575484"/>
              <a:ext cx="1408132" cy="59621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C:\Users\haammar\Desktop\Maaden Logo - Good.png">
              <a:extLst>
                <a:ext uri="{FF2B5EF4-FFF2-40B4-BE49-F238E27FC236}">
                  <a16:creationId xmlns:a16="http://schemas.microsoft.com/office/drawing/2014/main" id="{73E3A720-241A-B700-E32A-66E38AC09DD9}"/>
                </a:ext>
              </a:extLst>
            </p:cNvPr>
            <p:cNvPicPr/>
            <p:nvPr/>
          </p:nvPicPr>
          <p:blipFill>
            <a:blip r:embed="rId5" cstate="print"/>
            <a:srcRect/>
            <a:stretch>
              <a:fillRect/>
            </a:stretch>
          </p:blipFill>
          <p:spPr bwMode="auto">
            <a:xfrm>
              <a:off x="5387760" y="1537706"/>
              <a:ext cx="1474906" cy="686448"/>
            </a:xfrm>
            <a:prstGeom prst="rect">
              <a:avLst/>
            </a:prstGeom>
            <a:noFill/>
            <a:ln w="9525">
              <a:noFill/>
              <a:miter lim="800000"/>
              <a:headEnd/>
              <a:tailEnd/>
            </a:ln>
          </p:spPr>
        </p:pic>
      </p:grpSp>
      <p:pic>
        <p:nvPicPr>
          <p:cNvPr id="24" name="Picture 23" descr="Saudi National Bank (SNB) Logo PNG Vector (PDF) Free Download">
            <a:extLst>
              <a:ext uri="{FF2B5EF4-FFF2-40B4-BE49-F238E27FC236}">
                <a16:creationId xmlns:a16="http://schemas.microsoft.com/office/drawing/2014/main" id="{A3FBBD69-6B67-30B3-A449-34BCAEE5A76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11919" y="1618344"/>
            <a:ext cx="1015903" cy="4808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3249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ext Placeholder 20">
            <a:extLst>
              <a:ext uri="{FF2B5EF4-FFF2-40B4-BE49-F238E27FC236}">
                <a16:creationId xmlns:a16="http://schemas.microsoft.com/office/drawing/2014/main" id="{0B00487E-9A8E-46E0-B60F-BB884C23310C}"/>
              </a:ext>
            </a:extLst>
          </p:cNvPr>
          <p:cNvSpPr txBox="1">
            <a:spLocks/>
          </p:cNvSpPr>
          <p:nvPr/>
        </p:nvSpPr>
        <p:spPr>
          <a:xfrm>
            <a:off x="412436"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575757"/>
                </a:solidFill>
                <a:effectLst/>
                <a:uLnTx/>
                <a:uFillTx/>
                <a:latin typeface="+mn-lt"/>
                <a:ea typeface="Open Sans Light" panose="020B0306030504020204" pitchFamily="34" charset="0"/>
                <a:cs typeface="Open Sans Light" panose="020B0306030504020204" pitchFamily="34" charset="0"/>
                <a:sym typeface="Open Sans Light"/>
              </a:rPr>
              <a:t>6 Compelling Reasons to Choose Deloitte</a:t>
            </a:r>
          </a:p>
        </p:txBody>
      </p:sp>
      <p:sp>
        <p:nvSpPr>
          <p:cNvPr id="76" name="Title 1">
            <a:extLst>
              <a:ext uri="{FF2B5EF4-FFF2-40B4-BE49-F238E27FC236}">
                <a16:creationId xmlns:a16="http://schemas.microsoft.com/office/drawing/2014/main" id="{11F95CE4-70DC-4FF6-9740-A5C6EC6923E7}"/>
              </a:ext>
            </a:extLst>
          </p:cNvPr>
          <p:cNvSpPr txBox="1">
            <a:spLocks/>
          </p:cNvSpPr>
          <p:nvPr/>
        </p:nvSpPr>
        <p:spPr bwMode="gray">
          <a:xfrm>
            <a:off x="412436"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400" kern="1200">
                <a:solidFill>
                  <a:srgbClr val="86BC25"/>
                </a:solidFill>
                <a:latin typeface="+mj-lt"/>
                <a:ea typeface="Verdana" panose="020B0604030504040204" pitchFamily="34" charset="0"/>
                <a:cs typeface="Calibri" panose="020F0502020204030204" pitchFamily="34"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ysClr val="windowText" lastClr="000000"/>
                </a:solidFill>
                <a:effectLst/>
                <a:uLnTx/>
                <a:uFillTx/>
                <a:latin typeface="+mn-lt"/>
                <a:ea typeface="Open Sans Semibold" panose="020B0706030804020204" pitchFamily="34" charset="0"/>
                <a:cs typeface="Open Sans Semibold" panose="020B0706030804020204" pitchFamily="34" charset="0"/>
                <a:sym typeface="Open Sans Light"/>
              </a:rPr>
              <a:t>Executive Summary</a:t>
            </a:r>
          </a:p>
        </p:txBody>
      </p:sp>
      <p:cxnSp>
        <p:nvCxnSpPr>
          <p:cNvPr id="448" name="Elbow Connector 149">
            <a:extLst>
              <a:ext uri="{FF2B5EF4-FFF2-40B4-BE49-F238E27FC236}">
                <a16:creationId xmlns:a16="http://schemas.microsoft.com/office/drawing/2014/main" id="{8E4229A2-1BDF-583F-2514-601C4632F50C}"/>
              </a:ext>
            </a:extLst>
          </p:cNvPr>
          <p:cNvCxnSpPr>
            <a:cxnSpLocks/>
            <a:stCxn id="487" idx="2"/>
          </p:cNvCxnSpPr>
          <p:nvPr/>
        </p:nvCxnSpPr>
        <p:spPr>
          <a:xfrm rot="10800000">
            <a:off x="6680211" y="3954586"/>
            <a:ext cx="1652506" cy="1547793"/>
          </a:xfrm>
          <a:prstGeom prst="bentConnector3">
            <a:avLst>
              <a:gd name="adj1" fmla="val 54869"/>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49" name="Elbow Connector 147">
            <a:extLst>
              <a:ext uri="{FF2B5EF4-FFF2-40B4-BE49-F238E27FC236}">
                <a16:creationId xmlns:a16="http://schemas.microsoft.com/office/drawing/2014/main" id="{D91AAA29-05BB-8C1C-4DA3-7A0A70C5499B}"/>
              </a:ext>
            </a:extLst>
          </p:cNvPr>
          <p:cNvCxnSpPr>
            <a:cxnSpLocks/>
            <a:stCxn id="474" idx="2"/>
          </p:cNvCxnSpPr>
          <p:nvPr/>
        </p:nvCxnSpPr>
        <p:spPr>
          <a:xfrm rot="10800000" flipV="1">
            <a:off x="6689741" y="2550379"/>
            <a:ext cx="1642977" cy="1399024"/>
          </a:xfrm>
          <a:prstGeom prst="bentConnector3">
            <a:avLst>
              <a:gd name="adj1" fmla="val 54751"/>
            </a:avLst>
          </a:prstGeom>
          <a:ln w="76200">
            <a:solidFill>
              <a:schemeClr val="accent1">
                <a:alpha val="50196"/>
              </a:schemeClr>
            </a:solidFill>
          </a:ln>
        </p:spPr>
        <p:style>
          <a:lnRef idx="1">
            <a:schemeClr val="accent1"/>
          </a:lnRef>
          <a:fillRef idx="0">
            <a:schemeClr val="accent1"/>
          </a:fillRef>
          <a:effectRef idx="0">
            <a:schemeClr val="accent1"/>
          </a:effectRef>
          <a:fontRef idx="minor">
            <a:schemeClr val="tx1"/>
          </a:fontRef>
        </p:style>
      </p:cxnSp>
      <p:cxnSp>
        <p:nvCxnSpPr>
          <p:cNvPr id="450" name="Elbow Connector 127">
            <a:extLst>
              <a:ext uri="{FF2B5EF4-FFF2-40B4-BE49-F238E27FC236}">
                <a16:creationId xmlns:a16="http://schemas.microsoft.com/office/drawing/2014/main" id="{ED96578A-0408-1454-EEFC-4E2C026846FF}"/>
              </a:ext>
            </a:extLst>
          </p:cNvPr>
          <p:cNvCxnSpPr>
            <a:cxnSpLocks/>
            <a:stCxn id="457" idx="6"/>
          </p:cNvCxnSpPr>
          <p:nvPr/>
        </p:nvCxnSpPr>
        <p:spPr>
          <a:xfrm>
            <a:off x="3718660" y="2556419"/>
            <a:ext cx="1560767" cy="1384576"/>
          </a:xfrm>
          <a:prstGeom prst="bentConnector3">
            <a:avLst>
              <a:gd name="adj1" fmla="val 49286"/>
            </a:avLst>
          </a:prstGeom>
          <a:ln w="76200">
            <a:solidFill>
              <a:schemeClr val="accent1">
                <a:alpha val="50196"/>
              </a:schemeClr>
            </a:solidFill>
          </a:ln>
        </p:spPr>
        <p:style>
          <a:lnRef idx="1">
            <a:schemeClr val="accent1"/>
          </a:lnRef>
          <a:fillRef idx="0">
            <a:schemeClr val="accent1"/>
          </a:fillRef>
          <a:effectRef idx="0">
            <a:schemeClr val="accent1"/>
          </a:effectRef>
          <a:fontRef idx="minor">
            <a:schemeClr val="tx1"/>
          </a:fontRef>
        </p:style>
      </p:cxnSp>
      <p:cxnSp>
        <p:nvCxnSpPr>
          <p:cNvPr id="451" name="Elbow Connector 133">
            <a:extLst>
              <a:ext uri="{FF2B5EF4-FFF2-40B4-BE49-F238E27FC236}">
                <a16:creationId xmlns:a16="http://schemas.microsoft.com/office/drawing/2014/main" id="{26786728-39D4-5D6A-9092-B2F236D46E73}"/>
              </a:ext>
            </a:extLst>
          </p:cNvPr>
          <p:cNvCxnSpPr>
            <a:cxnSpLocks/>
          </p:cNvCxnSpPr>
          <p:nvPr/>
        </p:nvCxnSpPr>
        <p:spPr>
          <a:xfrm flipV="1">
            <a:off x="3757566" y="3959269"/>
            <a:ext cx="725408" cy="1522236"/>
          </a:xfrm>
          <a:prstGeom prst="bentConnector2">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452" name="Rounded Rectangle 151">
            <a:extLst>
              <a:ext uri="{FF2B5EF4-FFF2-40B4-BE49-F238E27FC236}">
                <a16:creationId xmlns:a16="http://schemas.microsoft.com/office/drawing/2014/main" id="{36A74CA6-2EEB-B30A-0F3C-C3B4C1ED6C2A}"/>
              </a:ext>
            </a:extLst>
          </p:cNvPr>
          <p:cNvSpPr/>
          <p:nvPr/>
        </p:nvSpPr>
        <p:spPr bwMode="gray">
          <a:xfrm>
            <a:off x="440917" y="2107364"/>
            <a:ext cx="3293243" cy="905901"/>
          </a:xfrm>
          <a:prstGeom prst="roundRect">
            <a:avLst>
              <a:gd name="adj" fmla="val 50000"/>
            </a:avLst>
          </a:prstGeom>
          <a:solidFill>
            <a:schemeClr val="accent1"/>
          </a:solidFill>
          <a:ln w="19050" algn="ctr">
            <a:noFill/>
            <a:miter lim="800000"/>
            <a:headEnd/>
            <a:tailEnd/>
          </a:ln>
        </p:spPr>
        <p:txBody>
          <a:bodyPr wrap="square" lIns="88900" tIns="88900" rIns="1371600" bIns="88900" rtlCol="0" anchor="ctr"/>
          <a:lstStyle/>
          <a:p>
            <a:pPr marL="0" marR="0" lvl="0" indent="0" algn="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GB" sz="1200" b="1" i="0" u="none" strike="noStrike" kern="1200" cap="none" spc="0" normalizeH="0" baseline="0" noProof="0" dirty="0">
                <a:ln>
                  <a:noFill/>
                </a:ln>
                <a:solidFill>
                  <a:prstClr val="white"/>
                </a:solidFill>
                <a:effectLst/>
                <a:uLnTx/>
                <a:uFillTx/>
                <a:latin typeface="+mn-lt"/>
                <a:ea typeface="Open Sans Light" panose="020B0306030504020204" pitchFamily="34" charset="0"/>
                <a:cs typeface="Open Sans Light" panose="020B0306030504020204" pitchFamily="34" charset="0"/>
              </a:rPr>
              <a:t>Our Understanding of Your Needs </a:t>
            </a:r>
          </a:p>
        </p:txBody>
      </p:sp>
      <p:grpSp>
        <p:nvGrpSpPr>
          <p:cNvPr id="453" name="Group 452">
            <a:extLst>
              <a:ext uri="{FF2B5EF4-FFF2-40B4-BE49-F238E27FC236}">
                <a16:creationId xmlns:a16="http://schemas.microsoft.com/office/drawing/2014/main" id="{6B4265F9-8ED3-74E5-9EE3-326EA163C045}"/>
              </a:ext>
            </a:extLst>
          </p:cNvPr>
          <p:cNvGrpSpPr/>
          <p:nvPr/>
        </p:nvGrpSpPr>
        <p:grpSpPr>
          <a:xfrm>
            <a:off x="2902696" y="2086220"/>
            <a:ext cx="911810" cy="940405"/>
            <a:chOff x="2372007" y="2334770"/>
            <a:chExt cx="868680" cy="868680"/>
          </a:xfrm>
        </p:grpSpPr>
        <p:sp>
          <p:nvSpPr>
            <p:cNvPr id="454" name="Oval 453">
              <a:extLst>
                <a:ext uri="{FF2B5EF4-FFF2-40B4-BE49-F238E27FC236}">
                  <a16:creationId xmlns:a16="http://schemas.microsoft.com/office/drawing/2014/main" id="{C5E14F5E-23AC-90FB-551F-1CAA9C7FBF11}"/>
                </a:ext>
              </a:extLst>
            </p:cNvPr>
            <p:cNvSpPr/>
            <p:nvPr/>
          </p:nvSpPr>
          <p:spPr bwMode="gray">
            <a:xfrm>
              <a:off x="2801775" y="2764538"/>
              <a:ext cx="9144" cy="9144"/>
            </a:xfrm>
            <a:prstGeom prst="ellipse">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GB" sz="18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endParaRPr>
            </a:p>
          </p:txBody>
        </p:sp>
        <p:grpSp>
          <p:nvGrpSpPr>
            <p:cNvPr id="455" name="Group 454">
              <a:extLst>
                <a:ext uri="{FF2B5EF4-FFF2-40B4-BE49-F238E27FC236}">
                  <a16:creationId xmlns:a16="http://schemas.microsoft.com/office/drawing/2014/main" id="{F9B4973D-AFD0-669D-BAB4-434D57F0BE4E}"/>
                </a:ext>
              </a:extLst>
            </p:cNvPr>
            <p:cNvGrpSpPr/>
            <p:nvPr/>
          </p:nvGrpSpPr>
          <p:grpSpPr>
            <a:xfrm>
              <a:off x="2372007" y="2334770"/>
              <a:ext cx="868680" cy="868680"/>
              <a:chOff x="3289279" y="2875527"/>
              <a:chExt cx="868680" cy="868680"/>
            </a:xfrm>
          </p:grpSpPr>
          <p:sp>
            <p:nvSpPr>
              <p:cNvPr id="456" name="Oval 455">
                <a:extLst>
                  <a:ext uri="{FF2B5EF4-FFF2-40B4-BE49-F238E27FC236}">
                    <a16:creationId xmlns:a16="http://schemas.microsoft.com/office/drawing/2014/main" id="{C1D4159E-7CAB-0515-B589-627E9AA5BB57}"/>
                  </a:ext>
                </a:extLst>
              </p:cNvPr>
              <p:cNvSpPr/>
              <p:nvPr/>
            </p:nvSpPr>
            <p:spPr bwMode="gray">
              <a:xfrm>
                <a:off x="3289279" y="2875527"/>
                <a:ext cx="868680" cy="868680"/>
              </a:xfrm>
              <a:prstGeom prst="ellipse">
                <a:avLst/>
              </a:prstGeom>
              <a:solidFill>
                <a:schemeClr val="tx1">
                  <a:alpha val="10000"/>
                </a:schemeClr>
              </a:solidFill>
              <a:ln w="254000" cap="sq" cmpd="sng" algn="ctr">
                <a:noFill/>
                <a:round/>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GB" sz="40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endParaRPr>
              </a:p>
            </p:txBody>
          </p:sp>
          <p:sp>
            <p:nvSpPr>
              <p:cNvPr id="457" name="Oval 456">
                <a:extLst>
                  <a:ext uri="{FF2B5EF4-FFF2-40B4-BE49-F238E27FC236}">
                    <a16:creationId xmlns:a16="http://schemas.microsoft.com/office/drawing/2014/main" id="{6A4B58B4-71E6-FDDC-A49E-16626B37174F}"/>
                  </a:ext>
                </a:extLst>
              </p:cNvPr>
              <p:cNvSpPr/>
              <p:nvPr/>
            </p:nvSpPr>
            <p:spPr bwMode="gray">
              <a:xfrm>
                <a:off x="3380719" y="2966967"/>
                <a:ext cx="685800" cy="685800"/>
              </a:xfrm>
              <a:prstGeom prst="ellipse">
                <a:avLst/>
              </a:prstGeom>
              <a:solidFill>
                <a:schemeClr val="accent1"/>
              </a:solidFill>
              <a:ln w="254000" cap="sq" cmpd="sng" algn="ctr">
                <a:noFill/>
                <a:round/>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GB" sz="24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rPr>
                  <a:t>1</a:t>
                </a:r>
              </a:p>
            </p:txBody>
          </p:sp>
        </p:grpSp>
      </p:grpSp>
      <p:sp>
        <p:nvSpPr>
          <p:cNvPr id="458" name="Rounded Rectangle 187">
            <a:extLst>
              <a:ext uri="{FF2B5EF4-FFF2-40B4-BE49-F238E27FC236}">
                <a16:creationId xmlns:a16="http://schemas.microsoft.com/office/drawing/2014/main" id="{88CBE7B4-E535-72F1-8983-D8BBBBA59337}"/>
              </a:ext>
            </a:extLst>
          </p:cNvPr>
          <p:cNvSpPr/>
          <p:nvPr/>
        </p:nvSpPr>
        <p:spPr bwMode="gray">
          <a:xfrm>
            <a:off x="475878" y="3506320"/>
            <a:ext cx="3293243" cy="905900"/>
          </a:xfrm>
          <a:prstGeom prst="roundRect">
            <a:avLst>
              <a:gd name="adj" fmla="val 50000"/>
            </a:avLst>
          </a:prstGeom>
          <a:solidFill>
            <a:schemeClr val="accent2"/>
          </a:solidFill>
          <a:ln w="19050" algn="ctr">
            <a:noFill/>
            <a:miter lim="800000"/>
            <a:headEnd/>
            <a:tailEnd/>
          </a:ln>
        </p:spPr>
        <p:txBody>
          <a:bodyPr wrap="square" lIns="88900" tIns="88900" rIns="1371600" bIns="889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rPr>
              <a:t>Our Expertise</a:t>
            </a:r>
          </a:p>
        </p:txBody>
      </p:sp>
      <p:grpSp>
        <p:nvGrpSpPr>
          <p:cNvPr id="459" name="Group 458">
            <a:extLst>
              <a:ext uri="{FF2B5EF4-FFF2-40B4-BE49-F238E27FC236}">
                <a16:creationId xmlns:a16="http://schemas.microsoft.com/office/drawing/2014/main" id="{F47F7026-ADCC-177F-0A30-0FD7E1FE40B5}"/>
              </a:ext>
            </a:extLst>
          </p:cNvPr>
          <p:cNvGrpSpPr/>
          <p:nvPr/>
        </p:nvGrpSpPr>
        <p:grpSpPr>
          <a:xfrm>
            <a:off x="2937657" y="3485179"/>
            <a:ext cx="911810" cy="940405"/>
            <a:chOff x="2372007" y="2334770"/>
            <a:chExt cx="868680" cy="868680"/>
          </a:xfrm>
        </p:grpSpPr>
        <p:sp>
          <p:nvSpPr>
            <p:cNvPr id="460" name="Oval 459">
              <a:extLst>
                <a:ext uri="{FF2B5EF4-FFF2-40B4-BE49-F238E27FC236}">
                  <a16:creationId xmlns:a16="http://schemas.microsoft.com/office/drawing/2014/main" id="{5EC81108-A120-F3DD-A4A5-85C894AF76C1}"/>
                </a:ext>
              </a:extLst>
            </p:cNvPr>
            <p:cNvSpPr/>
            <p:nvPr/>
          </p:nvSpPr>
          <p:spPr bwMode="gray">
            <a:xfrm>
              <a:off x="2801775" y="2764538"/>
              <a:ext cx="9144" cy="9144"/>
            </a:xfrm>
            <a:prstGeom prst="ellipse">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GB" sz="18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endParaRPr>
            </a:p>
          </p:txBody>
        </p:sp>
        <p:grpSp>
          <p:nvGrpSpPr>
            <p:cNvPr id="461" name="Group 460">
              <a:extLst>
                <a:ext uri="{FF2B5EF4-FFF2-40B4-BE49-F238E27FC236}">
                  <a16:creationId xmlns:a16="http://schemas.microsoft.com/office/drawing/2014/main" id="{C7A6D894-E01D-F970-FDAB-80B8852CEF08}"/>
                </a:ext>
              </a:extLst>
            </p:cNvPr>
            <p:cNvGrpSpPr/>
            <p:nvPr/>
          </p:nvGrpSpPr>
          <p:grpSpPr>
            <a:xfrm>
              <a:off x="2372007" y="2334770"/>
              <a:ext cx="868680" cy="868680"/>
              <a:chOff x="3289279" y="2875527"/>
              <a:chExt cx="868680" cy="868680"/>
            </a:xfrm>
          </p:grpSpPr>
          <p:sp>
            <p:nvSpPr>
              <p:cNvPr id="462" name="Oval 461">
                <a:extLst>
                  <a:ext uri="{FF2B5EF4-FFF2-40B4-BE49-F238E27FC236}">
                    <a16:creationId xmlns:a16="http://schemas.microsoft.com/office/drawing/2014/main" id="{78E99EA6-8161-B9DC-34CC-11AEB9E5D77C}"/>
                  </a:ext>
                </a:extLst>
              </p:cNvPr>
              <p:cNvSpPr/>
              <p:nvPr/>
            </p:nvSpPr>
            <p:spPr bwMode="gray">
              <a:xfrm>
                <a:off x="3289279" y="2875527"/>
                <a:ext cx="868680" cy="868680"/>
              </a:xfrm>
              <a:prstGeom prst="ellipse">
                <a:avLst/>
              </a:prstGeom>
              <a:solidFill>
                <a:schemeClr val="tx1">
                  <a:alpha val="10000"/>
                </a:schemeClr>
              </a:solidFill>
              <a:ln w="254000" cap="sq" cmpd="sng" algn="ctr">
                <a:noFill/>
                <a:round/>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GB" sz="40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endParaRPr>
              </a:p>
            </p:txBody>
          </p:sp>
          <p:sp>
            <p:nvSpPr>
              <p:cNvPr id="463" name="Oval 462">
                <a:extLst>
                  <a:ext uri="{FF2B5EF4-FFF2-40B4-BE49-F238E27FC236}">
                    <a16:creationId xmlns:a16="http://schemas.microsoft.com/office/drawing/2014/main" id="{81A91D4B-0149-BCAC-A926-F591CE6EBDF0}"/>
                  </a:ext>
                </a:extLst>
              </p:cNvPr>
              <p:cNvSpPr/>
              <p:nvPr/>
            </p:nvSpPr>
            <p:spPr bwMode="gray">
              <a:xfrm>
                <a:off x="3380719" y="2966967"/>
                <a:ext cx="685800" cy="685800"/>
              </a:xfrm>
              <a:prstGeom prst="ellipse">
                <a:avLst/>
              </a:prstGeom>
              <a:solidFill>
                <a:schemeClr val="accent2"/>
              </a:solidFill>
              <a:ln w="254000" cap="sq" cmpd="sng" algn="ctr">
                <a:noFill/>
                <a:round/>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GB" sz="24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rPr>
                  <a:t>2</a:t>
                </a:r>
              </a:p>
            </p:txBody>
          </p:sp>
        </p:grpSp>
      </p:grpSp>
      <p:sp>
        <p:nvSpPr>
          <p:cNvPr id="464" name="Rounded Rectangle 194">
            <a:extLst>
              <a:ext uri="{FF2B5EF4-FFF2-40B4-BE49-F238E27FC236}">
                <a16:creationId xmlns:a16="http://schemas.microsoft.com/office/drawing/2014/main" id="{3F3F3791-B5BC-4BF4-94C7-09C8766EB5BA}"/>
              </a:ext>
            </a:extLst>
          </p:cNvPr>
          <p:cNvSpPr/>
          <p:nvPr/>
        </p:nvSpPr>
        <p:spPr bwMode="gray">
          <a:xfrm>
            <a:off x="496646" y="5028555"/>
            <a:ext cx="3293243" cy="905901"/>
          </a:xfrm>
          <a:prstGeom prst="roundRect">
            <a:avLst>
              <a:gd name="adj" fmla="val 50000"/>
            </a:avLst>
          </a:prstGeom>
          <a:solidFill>
            <a:schemeClr val="bg2"/>
          </a:solidFill>
          <a:ln w="19050" algn="ctr">
            <a:noFill/>
            <a:miter lim="800000"/>
            <a:headEnd/>
            <a:tailEnd/>
          </a:ln>
        </p:spPr>
        <p:txBody>
          <a:bodyPr wrap="square" lIns="88900" tIns="88900" rIns="1371600" bIns="88900" rtlCol="0" anchor="ctr"/>
          <a:lstStyle/>
          <a:p>
            <a:pPr marL="0" marR="0" lvl="0" indent="0" algn="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GB" sz="12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rPr>
              <a:t>Our Engagement Approach</a:t>
            </a:r>
          </a:p>
        </p:txBody>
      </p:sp>
      <p:grpSp>
        <p:nvGrpSpPr>
          <p:cNvPr id="465" name="Group 464">
            <a:extLst>
              <a:ext uri="{FF2B5EF4-FFF2-40B4-BE49-F238E27FC236}">
                <a16:creationId xmlns:a16="http://schemas.microsoft.com/office/drawing/2014/main" id="{9E3F6B06-946E-BF57-B6B5-80EF6084AF1B}"/>
              </a:ext>
            </a:extLst>
          </p:cNvPr>
          <p:cNvGrpSpPr/>
          <p:nvPr/>
        </p:nvGrpSpPr>
        <p:grpSpPr>
          <a:xfrm>
            <a:off x="2959500" y="5011305"/>
            <a:ext cx="911810" cy="940405"/>
            <a:chOff x="2372007" y="2334770"/>
            <a:chExt cx="868680" cy="868680"/>
          </a:xfrm>
        </p:grpSpPr>
        <p:sp>
          <p:nvSpPr>
            <p:cNvPr id="466" name="Oval 465">
              <a:extLst>
                <a:ext uri="{FF2B5EF4-FFF2-40B4-BE49-F238E27FC236}">
                  <a16:creationId xmlns:a16="http://schemas.microsoft.com/office/drawing/2014/main" id="{FDAE8B03-29C2-7797-BAD1-08A9A74A9EF9}"/>
                </a:ext>
              </a:extLst>
            </p:cNvPr>
            <p:cNvSpPr/>
            <p:nvPr/>
          </p:nvSpPr>
          <p:spPr bwMode="gray">
            <a:xfrm>
              <a:off x="2801775" y="2764538"/>
              <a:ext cx="9144" cy="9144"/>
            </a:xfrm>
            <a:prstGeom prst="ellipse">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GB" sz="18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endParaRPr>
            </a:p>
          </p:txBody>
        </p:sp>
        <p:grpSp>
          <p:nvGrpSpPr>
            <p:cNvPr id="467" name="Group 466">
              <a:extLst>
                <a:ext uri="{FF2B5EF4-FFF2-40B4-BE49-F238E27FC236}">
                  <a16:creationId xmlns:a16="http://schemas.microsoft.com/office/drawing/2014/main" id="{582992FF-26B9-9DAB-9D6B-BFBC961E446E}"/>
                </a:ext>
              </a:extLst>
            </p:cNvPr>
            <p:cNvGrpSpPr/>
            <p:nvPr/>
          </p:nvGrpSpPr>
          <p:grpSpPr>
            <a:xfrm>
              <a:off x="2372007" y="2334770"/>
              <a:ext cx="868680" cy="868680"/>
              <a:chOff x="3289279" y="2875527"/>
              <a:chExt cx="868680" cy="868680"/>
            </a:xfrm>
          </p:grpSpPr>
          <p:sp>
            <p:nvSpPr>
              <p:cNvPr id="468" name="Oval 467">
                <a:extLst>
                  <a:ext uri="{FF2B5EF4-FFF2-40B4-BE49-F238E27FC236}">
                    <a16:creationId xmlns:a16="http://schemas.microsoft.com/office/drawing/2014/main" id="{1DC93F38-D8E2-2033-E53E-56C32A2920F0}"/>
                  </a:ext>
                </a:extLst>
              </p:cNvPr>
              <p:cNvSpPr/>
              <p:nvPr/>
            </p:nvSpPr>
            <p:spPr bwMode="gray">
              <a:xfrm>
                <a:off x="3289279" y="2875527"/>
                <a:ext cx="868680" cy="868680"/>
              </a:xfrm>
              <a:prstGeom prst="ellipse">
                <a:avLst/>
              </a:prstGeom>
              <a:solidFill>
                <a:schemeClr val="tx1">
                  <a:alpha val="10000"/>
                </a:schemeClr>
              </a:solidFill>
              <a:ln w="254000" cap="sq" cmpd="sng" algn="ctr">
                <a:noFill/>
                <a:round/>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GB" sz="40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endParaRPr>
              </a:p>
            </p:txBody>
          </p:sp>
          <p:sp>
            <p:nvSpPr>
              <p:cNvPr id="469" name="Oval 468">
                <a:extLst>
                  <a:ext uri="{FF2B5EF4-FFF2-40B4-BE49-F238E27FC236}">
                    <a16:creationId xmlns:a16="http://schemas.microsoft.com/office/drawing/2014/main" id="{310A465B-3246-EC58-25F8-858768296236}"/>
                  </a:ext>
                </a:extLst>
              </p:cNvPr>
              <p:cNvSpPr/>
              <p:nvPr/>
            </p:nvSpPr>
            <p:spPr bwMode="gray">
              <a:xfrm>
                <a:off x="3380719" y="2966967"/>
                <a:ext cx="685800" cy="685800"/>
              </a:xfrm>
              <a:prstGeom prst="ellipse">
                <a:avLst/>
              </a:prstGeom>
              <a:solidFill>
                <a:schemeClr val="bg2"/>
              </a:solidFill>
              <a:ln w="254000" cap="sq" cmpd="sng" algn="ctr">
                <a:noFill/>
                <a:round/>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GB" sz="24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rPr>
                  <a:t>3</a:t>
                </a:r>
              </a:p>
            </p:txBody>
          </p:sp>
        </p:grpSp>
      </p:grpSp>
      <p:sp>
        <p:nvSpPr>
          <p:cNvPr id="470" name="Rounded Rectangle 252">
            <a:extLst>
              <a:ext uri="{FF2B5EF4-FFF2-40B4-BE49-F238E27FC236}">
                <a16:creationId xmlns:a16="http://schemas.microsoft.com/office/drawing/2014/main" id="{EF7D1D61-7AC2-DE8E-F889-798865142487}"/>
              </a:ext>
            </a:extLst>
          </p:cNvPr>
          <p:cNvSpPr/>
          <p:nvPr/>
        </p:nvSpPr>
        <p:spPr bwMode="gray">
          <a:xfrm>
            <a:off x="8341454" y="2097432"/>
            <a:ext cx="3293243" cy="905901"/>
          </a:xfrm>
          <a:prstGeom prst="roundRect">
            <a:avLst>
              <a:gd name="adj" fmla="val 50000"/>
            </a:avLst>
          </a:prstGeom>
          <a:solidFill>
            <a:schemeClr val="accent1"/>
          </a:solidFill>
          <a:ln w="19050" algn="ctr">
            <a:noFill/>
            <a:miter lim="800000"/>
            <a:headEnd/>
            <a:tailEnd/>
          </a:ln>
        </p:spPr>
        <p:txBody>
          <a:bodyPr wrap="square" lIns="1371600" tIns="88900" rIns="91440" bIns="88900" rtlCol="0" anchor="ctr"/>
          <a:lstStyle/>
          <a:p>
            <a:pPr marL="0" marR="0" lvl="0" indent="0" algn="l"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GB" sz="12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rPr>
              <a:t>Our Team</a:t>
            </a:r>
          </a:p>
        </p:txBody>
      </p:sp>
      <p:sp>
        <p:nvSpPr>
          <p:cNvPr id="471" name="Oval 470">
            <a:extLst>
              <a:ext uri="{FF2B5EF4-FFF2-40B4-BE49-F238E27FC236}">
                <a16:creationId xmlns:a16="http://schemas.microsoft.com/office/drawing/2014/main" id="{38A6EDD1-DA80-5DC6-85A6-041A3F952DF6}"/>
              </a:ext>
            </a:extLst>
          </p:cNvPr>
          <p:cNvSpPr/>
          <p:nvPr/>
        </p:nvSpPr>
        <p:spPr bwMode="gray">
          <a:xfrm>
            <a:off x="8643349" y="2544340"/>
            <a:ext cx="9409" cy="12079"/>
          </a:xfrm>
          <a:prstGeom prst="ellipse">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GB" sz="18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endParaRPr>
          </a:p>
        </p:txBody>
      </p:sp>
      <p:grpSp>
        <p:nvGrpSpPr>
          <p:cNvPr id="472" name="Group 471">
            <a:extLst>
              <a:ext uri="{FF2B5EF4-FFF2-40B4-BE49-F238E27FC236}">
                <a16:creationId xmlns:a16="http://schemas.microsoft.com/office/drawing/2014/main" id="{0743A6F6-CC71-7FFE-1BB4-45EBE734B15E}"/>
              </a:ext>
            </a:extLst>
          </p:cNvPr>
          <p:cNvGrpSpPr/>
          <p:nvPr/>
        </p:nvGrpSpPr>
        <p:grpSpPr>
          <a:xfrm>
            <a:off x="8236733" y="2080177"/>
            <a:ext cx="911848" cy="940404"/>
            <a:chOff x="3289279" y="2875527"/>
            <a:chExt cx="868680" cy="868680"/>
          </a:xfrm>
        </p:grpSpPr>
        <p:sp>
          <p:nvSpPr>
            <p:cNvPr id="473" name="Oval 472">
              <a:extLst>
                <a:ext uri="{FF2B5EF4-FFF2-40B4-BE49-F238E27FC236}">
                  <a16:creationId xmlns:a16="http://schemas.microsoft.com/office/drawing/2014/main" id="{2C5298D7-91A3-6896-FCC2-C68DD7B44D4D}"/>
                </a:ext>
              </a:extLst>
            </p:cNvPr>
            <p:cNvSpPr/>
            <p:nvPr/>
          </p:nvSpPr>
          <p:spPr bwMode="gray">
            <a:xfrm>
              <a:off x="3289279" y="2875527"/>
              <a:ext cx="868680" cy="868680"/>
            </a:xfrm>
            <a:prstGeom prst="ellipse">
              <a:avLst/>
            </a:prstGeom>
            <a:solidFill>
              <a:schemeClr val="tx1">
                <a:alpha val="10000"/>
              </a:schemeClr>
            </a:solidFill>
            <a:ln w="254000" cap="sq" cmpd="sng" algn="ctr">
              <a:noFill/>
              <a:round/>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GB" sz="40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endParaRPr>
            </a:p>
          </p:txBody>
        </p:sp>
        <p:sp>
          <p:nvSpPr>
            <p:cNvPr id="474" name="Oval 473">
              <a:extLst>
                <a:ext uri="{FF2B5EF4-FFF2-40B4-BE49-F238E27FC236}">
                  <a16:creationId xmlns:a16="http://schemas.microsoft.com/office/drawing/2014/main" id="{8F6207A2-AD10-AF3B-E250-C0104199F6E7}"/>
                </a:ext>
              </a:extLst>
            </p:cNvPr>
            <p:cNvSpPr/>
            <p:nvPr/>
          </p:nvSpPr>
          <p:spPr bwMode="gray">
            <a:xfrm>
              <a:off x="3380719" y="2966967"/>
              <a:ext cx="685800" cy="685800"/>
            </a:xfrm>
            <a:prstGeom prst="ellipse">
              <a:avLst/>
            </a:prstGeom>
            <a:solidFill>
              <a:schemeClr val="accent1"/>
            </a:solidFill>
            <a:ln w="254000" cap="sq" cmpd="sng" algn="ctr">
              <a:noFill/>
              <a:round/>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GB" sz="24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rPr>
                <a:t>4</a:t>
              </a:r>
            </a:p>
          </p:txBody>
        </p:sp>
      </p:grpSp>
      <p:sp>
        <p:nvSpPr>
          <p:cNvPr id="475" name="Rounded Rectangle 259">
            <a:extLst>
              <a:ext uri="{FF2B5EF4-FFF2-40B4-BE49-F238E27FC236}">
                <a16:creationId xmlns:a16="http://schemas.microsoft.com/office/drawing/2014/main" id="{44678160-0C14-A2A0-F238-F841F443DEA5}"/>
              </a:ext>
            </a:extLst>
          </p:cNvPr>
          <p:cNvSpPr/>
          <p:nvPr/>
        </p:nvSpPr>
        <p:spPr bwMode="gray">
          <a:xfrm>
            <a:off x="8341454" y="5049429"/>
            <a:ext cx="3293243" cy="905900"/>
          </a:xfrm>
          <a:prstGeom prst="roundRect">
            <a:avLst>
              <a:gd name="adj" fmla="val 50000"/>
            </a:avLst>
          </a:prstGeom>
          <a:solidFill>
            <a:schemeClr val="bg2"/>
          </a:solidFill>
          <a:ln w="19050" algn="ctr">
            <a:noFill/>
            <a:miter lim="800000"/>
            <a:headEnd/>
            <a:tailEnd/>
          </a:ln>
        </p:spPr>
        <p:txBody>
          <a:bodyPr wrap="square" lIns="1371600" tIns="88900" rIns="91440" bIns="889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rPr>
              <a:t>Our Reputation as Market Leader</a:t>
            </a:r>
          </a:p>
        </p:txBody>
      </p:sp>
      <p:grpSp>
        <p:nvGrpSpPr>
          <p:cNvPr id="476" name="Group 475">
            <a:extLst>
              <a:ext uri="{FF2B5EF4-FFF2-40B4-BE49-F238E27FC236}">
                <a16:creationId xmlns:a16="http://schemas.microsoft.com/office/drawing/2014/main" id="{E3023C42-6BF6-BB52-F642-49B192FDA090}"/>
              </a:ext>
            </a:extLst>
          </p:cNvPr>
          <p:cNvGrpSpPr/>
          <p:nvPr/>
        </p:nvGrpSpPr>
        <p:grpSpPr>
          <a:xfrm>
            <a:off x="8236629" y="5032181"/>
            <a:ext cx="911810" cy="940405"/>
            <a:chOff x="2372007" y="2334770"/>
            <a:chExt cx="868680" cy="868680"/>
          </a:xfrm>
        </p:grpSpPr>
        <p:sp>
          <p:nvSpPr>
            <p:cNvPr id="477" name="Oval 476">
              <a:extLst>
                <a:ext uri="{FF2B5EF4-FFF2-40B4-BE49-F238E27FC236}">
                  <a16:creationId xmlns:a16="http://schemas.microsoft.com/office/drawing/2014/main" id="{D825DFE6-CF25-7B94-810C-D447F994EC81}"/>
                </a:ext>
              </a:extLst>
            </p:cNvPr>
            <p:cNvSpPr/>
            <p:nvPr/>
          </p:nvSpPr>
          <p:spPr bwMode="gray">
            <a:xfrm>
              <a:off x="2801775" y="2764538"/>
              <a:ext cx="9144" cy="9144"/>
            </a:xfrm>
            <a:prstGeom prst="ellipse">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GB" sz="18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endParaRPr>
            </a:p>
          </p:txBody>
        </p:sp>
        <p:grpSp>
          <p:nvGrpSpPr>
            <p:cNvPr id="485" name="Group 484">
              <a:extLst>
                <a:ext uri="{FF2B5EF4-FFF2-40B4-BE49-F238E27FC236}">
                  <a16:creationId xmlns:a16="http://schemas.microsoft.com/office/drawing/2014/main" id="{783517AA-BD91-5B14-99C6-C9B951431811}"/>
                </a:ext>
              </a:extLst>
            </p:cNvPr>
            <p:cNvGrpSpPr/>
            <p:nvPr/>
          </p:nvGrpSpPr>
          <p:grpSpPr>
            <a:xfrm>
              <a:off x="2372007" y="2334770"/>
              <a:ext cx="868680" cy="868680"/>
              <a:chOff x="3289279" y="2875527"/>
              <a:chExt cx="868680" cy="868680"/>
            </a:xfrm>
          </p:grpSpPr>
          <p:sp>
            <p:nvSpPr>
              <p:cNvPr id="486" name="Oval 485">
                <a:extLst>
                  <a:ext uri="{FF2B5EF4-FFF2-40B4-BE49-F238E27FC236}">
                    <a16:creationId xmlns:a16="http://schemas.microsoft.com/office/drawing/2014/main" id="{03FC55CE-5029-78CA-A3DC-60E328D02C5E}"/>
                  </a:ext>
                </a:extLst>
              </p:cNvPr>
              <p:cNvSpPr/>
              <p:nvPr/>
            </p:nvSpPr>
            <p:spPr bwMode="gray">
              <a:xfrm>
                <a:off x="3289279" y="2875527"/>
                <a:ext cx="868680" cy="868680"/>
              </a:xfrm>
              <a:prstGeom prst="ellipse">
                <a:avLst/>
              </a:prstGeom>
              <a:solidFill>
                <a:schemeClr val="tx1">
                  <a:alpha val="10000"/>
                </a:schemeClr>
              </a:solidFill>
              <a:ln w="254000" cap="sq" cmpd="sng" algn="ctr">
                <a:noFill/>
                <a:round/>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GB" sz="40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endParaRPr>
              </a:p>
            </p:txBody>
          </p:sp>
          <p:sp>
            <p:nvSpPr>
              <p:cNvPr id="487" name="Oval 486">
                <a:extLst>
                  <a:ext uri="{FF2B5EF4-FFF2-40B4-BE49-F238E27FC236}">
                    <a16:creationId xmlns:a16="http://schemas.microsoft.com/office/drawing/2014/main" id="{D322FA96-60A1-C6FB-8F36-1E12CAE2D08F}"/>
                  </a:ext>
                </a:extLst>
              </p:cNvPr>
              <p:cNvSpPr/>
              <p:nvPr/>
            </p:nvSpPr>
            <p:spPr bwMode="gray">
              <a:xfrm>
                <a:off x="3380719" y="2966967"/>
                <a:ext cx="685800" cy="685800"/>
              </a:xfrm>
              <a:prstGeom prst="ellipse">
                <a:avLst/>
              </a:prstGeom>
              <a:solidFill>
                <a:schemeClr val="bg2"/>
              </a:solidFill>
              <a:ln w="254000" cap="sq" cmpd="sng" algn="ctr">
                <a:noFill/>
                <a:round/>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GB" sz="24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rPr>
                  <a:t>6</a:t>
                </a:r>
              </a:p>
            </p:txBody>
          </p:sp>
        </p:grpSp>
      </p:grpSp>
      <p:sp>
        <p:nvSpPr>
          <p:cNvPr id="488" name="Rounded Rectangle 271">
            <a:extLst>
              <a:ext uri="{FF2B5EF4-FFF2-40B4-BE49-F238E27FC236}">
                <a16:creationId xmlns:a16="http://schemas.microsoft.com/office/drawing/2014/main" id="{59A09EE9-D4DD-8416-2031-BF86AE30E098}"/>
              </a:ext>
            </a:extLst>
          </p:cNvPr>
          <p:cNvSpPr/>
          <p:nvPr/>
        </p:nvSpPr>
        <p:spPr bwMode="gray">
          <a:xfrm>
            <a:off x="8341454" y="3493334"/>
            <a:ext cx="3293243" cy="905901"/>
          </a:xfrm>
          <a:prstGeom prst="roundRect">
            <a:avLst>
              <a:gd name="adj" fmla="val 50000"/>
            </a:avLst>
          </a:prstGeom>
          <a:solidFill>
            <a:schemeClr val="accent2"/>
          </a:solidFill>
          <a:ln w="19050" algn="ctr">
            <a:noFill/>
            <a:miter lim="800000"/>
            <a:headEnd/>
            <a:tailEnd/>
          </a:ln>
        </p:spPr>
        <p:txBody>
          <a:bodyPr wrap="square" lIns="1371600" tIns="88900" rIns="91440" bIns="88900" rtlCol="0" anchor="ctr"/>
          <a:lstStyle/>
          <a:p>
            <a:pPr hangingPunct="1">
              <a:defRPr/>
            </a:pPr>
            <a:r>
              <a:rPr kumimoji="0" lang="en-GB" sz="12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rPr>
              <a:t>Our Familiarity with Standards</a:t>
            </a:r>
          </a:p>
        </p:txBody>
      </p:sp>
      <p:grpSp>
        <p:nvGrpSpPr>
          <p:cNvPr id="489" name="Group 488">
            <a:extLst>
              <a:ext uri="{FF2B5EF4-FFF2-40B4-BE49-F238E27FC236}">
                <a16:creationId xmlns:a16="http://schemas.microsoft.com/office/drawing/2014/main" id="{38CD3756-76C5-3F06-B82C-A217398E2C11}"/>
              </a:ext>
            </a:extLst>
          </p:cNvPr>
          <p:cNvGrpSpPr/>
          <p:nvPr/>
        </p:nvGrpSpPr>
        <p:grpSpPr>
          <a:xfrm>
            <a:off x="8236629" y="3476083"/>
            <a:ext cx="911810" cy="940405"/>
            <a:chOff x="2372007" y="2334770"/>
            <a:chExt cx="868680" cy="868680"/>
          </a:xfrm>
        </p:grpSpPr>
        <p:sp>
          <p:nvSpPr>
            <p:cNvPr id="490" name="Oval 489">
              <a:extLst>
                <a:ext uri="{FF2B5EF4-FFF2-40B4-BE49-F238E27FC236}">
                  <a16:creationId xmlns:a16="http://schemas.microsoft.com/office/drawing/2014/main" id="{FF2296C8-6C97-3A3B-4014-EC3D1BCBEF38}"/>
                </a:ext>
              </a:extLst>
            </p:cNvPr>
            <p:cNvSpPr/>
            <p:nvPr/>
          </p:nvSpPr>
          <p:spPr bwMode="gray">
            <a:xfrm>
              <a:off x="2801775" y="2764538"/>
              <a:ext cx="9144" cy="9144"/>
            </a:xfrm>
            <a:prstGeom prst="ellipse">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GB" sz="18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endParaRPr>
            </a:p>
          </p:txBody>
        </p:sp>
        <p:grpSp>
          <p:nvGrpSpPr>
            <p:cNvPr id="491" name="Group 490">
              <a:extLst>
                <a:ext uri="{FF2B5EF4-FFF2-40B4-BE49-F238E27FC236}">
                  <a16:creationId xmlns:a16="http://schemas.microsoft.com/office/drawing/2014/main" id="{A7450811-5FE0-2BFE-F9F0-38BA85DDD3C7}"/>
                </a:ext>
              </a:extLst>
            </p:cNvPr>
            <p:cNvGrpSpPr/>
            <p:nvPr/>
          </p:nvGrpSpPr>
          <p:grpSpPr>
            <a:xfrm>
              <a:off x="2372007" y="2334770"/>
              <a:ext cx="868680" cy="868680"/>
              <a:chOff x="3289279" y="2875527"/>
              <a:chExt cx="868680" cy="868680"/>
            </a:xfrm>
          </p:grpSpPr>
          <p:sp>
            <p:nvSpPr>
              <p:cNvPr id="492" name="Oval 491">
                <a:extLst>
                  <a:ext uri="{FF2B5EF4-FFF2-40B4-BE49-F238E27FC236}">
                    <a16:creationId xmlns:a16="http://schemas.microsoft.com/office/drawing/2014/main" id="{C7C6ADA7-D272-1D69-91F1-B195C2BFAAE8}"/>
                  </a:ext>
                </a:extLst>
              </p:cNvPr>
              <p:cNvSpPr/>
              <p:nvPr/>
            </p:nvSpPr>
            <p:spPr bwMode="gray">
              <a:xfrm>
                <a:off x="3289279" y="2875527"/>
                <a:ext cx="868680" cy="868680"/>
              </a:xfrm>
              <a:prstGeom prst="ellipse">
                <a:avLst/>
              </a:prstGeom>
              <a:solidFill>
                <a:schemeClr val="tx1">
                  <a:alpha val="10000"/>
                </a:schemeClr>
              </a:solidFill>
              <a:ln w="254000" cap="sq" cmpd="sng" algn="ctr">
                <a:noFill/>
                <a:round/>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GB" sz="40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endParaRPr>
              </a:p>
            </p:txBody>
          </p:sp>
          <p:sp>
            <p:nvSpPr>
              <p:cNvPr id="493" name="Oval 492">
                <a:extLst>
                  <a:ext uri="{FF2B5EF4-FFF2-40B4-BE49-F238E27FC236}">
                    <a16:creationId xmlns:a16="http://schemas.microsoft.com/office/drawing/2014/main" id="{DB93F03C-F90C-218E-9B38-84226E394752}"/>
                  </a:ext>
                </a:extLst>
              </p:cNvPr>
              <p:cNvSpPr/>
              <p:nvPr/>
            </p:nvSpPr>
            <p:spPr bwMode="gray">
              <a:xfrm>
                <a:off x="3380719" y="2966967"/>
                <a:ext cx="685800" cy="685800"/>
              </a:xfrm>
              <a:prstGeom prst="ellipse">
                <a:avLst/>
              </a:prstGeom>
              <a:solidFill>
                <a:schemeClr val="accent2"/>
              </a:solidFill>
              <a:ln w="254000" cap="sq" cmpd="sng" algn="ctr">
                <a:noFill/>
                <a:round/>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GB" sz="24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rPr>
                  <a:t>5</a:t>
                </a:r>
              </a:p>
            </p:txBody>
          </p:sp>
        </p:grpSp>
      </p:grpSp>
      <p:sp>
        <p:nvSpPr>
          <p:cNvPr id="494" name="Oval 493">
            <a:extLst>
              <a:ext uri="{FF2B5EF4-FFF2-40B4-BE49-F238E27FC236}">
                <a16:creationId xmlns:a16="http://schemas.microsoft.com/office/drawing/2014/main" id="{4959E140-D084-D43E-E2B1-902D1C8F17EE}"/>
              </a:ext>
            </a:extLst>
          </p:cNvPr>
          <p:cNvSpPr/>
          <p:nvPr/>
        </p:nvSpPr>
        <p:spPr bwMode="gray">
          <a:xfrm>
            <a:off x="5185331" y="2924023"/>
            <a:ext cx="1599575" cy="2053373"/>
          </a:xfrm>
          <a:prstGeom prst="ellipse">
            <a:avLst/>
          </a:prstGeom>
          <a:solidFill>
            <a:schemeClr val="bg1">
              <a:alpha val="10000"/>
            </a:schemeClr>
          </a:solidFill>
          <a:ln w="254000" cap="sq" cmpd="sng" algn="ctr">
            <a:noFill/>
            <a:round/>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GB" sz="4000" b="1" i="0" u="none" strike="noStrike" kern="1200" cap="none" spc="0" normalizeH="0" baseline="0" noProof="0">
              <a:ln>
                <a:noFill/>
              </a:ln>
              <a:solidFill>
                <a:prstClr val="white"/>
              </a:solidFill>
              <a:effectLst/>
              <a:uLnTx/>
              <a:uFillTx/>
              <a:latin typeface="+mn-lt"/>
              <a:ea typeface="Open Sans Light" panose="020B0306030504020204" pitchFamily="34" charset="0"/>
              <a:cs typeface="Open Sans Light" panose="020B0306030504020204" pitchFamily="34" charset="0"/>
            </a:endParaRPr>
          </a:p>
        </p:txBody>
      </p:sp>
      <p:pic>
        <p:nvPicPr>
          <p:cNvPr id="495" name="Graphic 494" descr="Head with gears with solid fill">
            <a:extLst>
              <a:ext uri="{FF2B5EF4-FFF2-40B4-BE49-F238E27FC236}">
                <a16:creationId xmlns:a16="http://schemas.microsoft.com/office/drawing/2014/main" id="{5B74E937-F3E0-9C9E-D705-54D25A1F6A6E}"/>
              </a:ext>
            </a:extLst>
          </p:cNvPr>
          <p:cNvPicPr>
            <a:picLocks noChangeAspect="1"/>
          </p:cNvPicPr>
          <p:nvPr/>
        </p:nvPicPr>
        <p:blipFill>
          <a:blip r:embed="rId2" cstate="email">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08659" y="3707698"/>
            <a:ext cx="493776" cy="493776"/>
          </a:xfrm>
          <a:prstGeom prst="rect">
            <a:avLst/>
          </a:prstGeom>
        </p:spPr>
      </p:pic>
      <p:pic>
        <p:nvPicPr>
          <p:cNvPr id="496" name="Graphic 495" descr="Blockchain outline">
            <a:extLst>
              <a:ext uri="{FF2B5EF4-FFF2-40B4-BE49-F238E27FC236}">
                <a16:creationId xmlns:a16="http://schemas.microsoft.com/office/drawing/2014/main" id="{FF0CCFD1-224B-825D-9893-54C4ADABA5E5}"/>
              </a:ext>
            </a:extLst>
          </p:cNvPr>
          <p:cNvPicPr>
            <a:picLocks noChangeAspect="1"/>
          </p:cNvPicPr>
          <p:nvPr/>
        </p:nvPicPr>
        <p:blipFill>
          <a:blip r:embed="rId4" cstate="email">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485692" y="5202744"/>
            <a:ext cx="391863" cy="487480"/>
          </a:xfrm>
          <a:prstGeom prst="rect">
            <a:avLst/>
          </a:prstGeom>
        </p:spPr>
      </p:pic>
      <p:pic>
        <p:nvPicPr>
          <p:cNvPr id="497" name="Graphic 496" descr="Handshake outline">
            <a:extLst>
              <a:ext uri="{FF2B5EF4-FFF2-40B4-BE49-F238E27FC236}">
                <a16:creationId xmlns:a16="http://schemas.microsoft.com/office/drawing/2014/main" id="{4EBD482B-9BCE-1EFE-7E7A-BAC5FEC1D696}"/>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478956" y="2366741"/>
            <a:ext cx="405335" cy="514849"/>
          </a:xfrm>
          <a:prstGeom prst="rect">
            <a:avLst/>
          </a:prstGeom>
        </p:spPr>
      </p:pic>
      <p:pic>
        <p:nvPicPr>
          <p:cNvPr id="498" name="Graphic 497" descr="Trophy outline">
            <a:extLst>
              <a:ext uri="{FF2B5EF4-FFF2-40B4-BE49-F238E27FC236}">
                <a16:creationId xmlns:a16="http://schemas.microsoft.com/office/drawing/2014/main" id="{FD78A82F-B722-29E5-AF54-5D3324986147}"/>
              </a:ext>
            </a:extLst>
          </p:cNvPr>
          <p:cNvPicPr>
            <a:picLocks noChangeAspect="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269085" y="2384417"/>
            <a:ext cx="325604" cy="413576"/>
          </a:xfrm>
          <a:prstGeom prst="rect">
            <a:avLst/>
          </a:prstGeom>
        </p:spPr>
      </p:pic>
      <p:grpSp>
        <p:nvGrpSpPr>
          <p:cNvPr id="499" name="Group 844">
            <a:extLst>
              <a:ext uri="{FF2B5EF4-FFF2-40B4-BE49-F238E27FC236}">
                <a16:creationId xmlns:a16="http://schemas.microsoft.com/office/drawing/2014/main" id="{8D96A0A3-1595-D494-5AF4-720B454F1C31}"/>
              </a:ext>
            </a:extLst>
          </p:cNvPr>
          <p:cNvGrpSpPr>
            <a:grpSpLocks noChangeAspect="1"/>
          </p:cNvGrpSpPr>
          <p:nvPr/>
        </p:nvGrpSpPr>
        <p:grpSpPr bwMode="auto">
          <a:xfrm>
            <a:off x="9267984" y="5397565"/>
            <a:ext cx="227024" cy="281001"/>
            <a:chOff x="4371" y="3110"/>
            <a:chExt cx="199" cy="198"/>
          </a:xfrm>
          <a:solidFill>
            <a:schemeClr val="bg1"/>
          </a:solidFill>
        </p:grpSpPr>
        <p:sp>
          <p:nvSpPr>
            <p:cNvPr id="500" name="Freeform 845">
              <a:extLst>
                <a:ext uri="{FF2B5EF4-FFF2-40B4-BE49-F238E27FC236}">
                  <a16:creationId xmlns:a16="http://schemas.microsoft.com/office/drawing/2014/main" id="{24DFB175-5D29-16FE-27E3-E4408F65241E}"/>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endParaRPr>
            </a:p>
          </p:txBody>
        </p:sp>
        <p:sp>
          <p:nvSpPr>
            <p:cNvPr id="501" name="Freeform 846">
              <a:extLst>
                <a:ext uri="{FF2B5EF4-FFF2-40B4-BE49-F238E27FC236}">
                  <a16:creationId xmlns:a16="http://schemas.microsoft.com/office/drawing/2014/main" id="{FD673E84-8D0B-9858-E343-30A7F5C83A91}"/>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endParaRPr>
            </a:p>
          </p:txBody>
        </p:sp>
        <p:sp>
          <p:nvSpPr>
            <p:cNvPr id="502" name="Freeform 847">
              <a:extLst>
                <a:ext uri="{FF2B5EF4-FFF2-40B4-BE49-F238E27FC236}">
                  <a16:creationId xmlns:a16="http://schemas.microsoft.com/office/drawing/2014/main" id="{1F963A1F-702C-CD8D-2B92-E977C58042CE}"/>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endParaRPr>
            </a:p>
          </p:txBody>
        </p:sp>
        <p:sp>
          <p:nvSpPr>
            <p:cNvPr id="503" name="Freeform 848">
              <a:extLst>
                <a:ext uri="{FF2B5EF4-FFF2-40B4-BE49-F238E27FC236}">
                  <a16:creationId xmlns:a16="http://schemas.microsoft.com/office/drawing/2014/main" id="{84DC3CCF-1050-3B9D-1D12-9A8B889CE405}"/>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endParaRPr>
            </a:p>
          </p:txBody>
        </p:sp>
        <p:sp>
          <p:nvSpPr>
            <p:cNvPr id="504" name="Freeform 849">
              <a:extLst>
                <a:ext uri="{FF2B5EF4-FFF2-40B4-BE49-F238E27FC236}">
                  <a16:creationId xmlns:a16="http://schemas.microsoft.com/office/drawing/2014/main" id="{5F70D689-AF9A-625D-3C30-AD8B20EDF24F}"/>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endParaRPr>
            </a:p>
          </p:txBody>
        </p:sp>
        <p:sp>
          <p:nvSpPr>
            <p:cNvPr id="505" name="Freeform 850">
              <a:extLst>
                <a:ext uri="{FF2B5EF4-FFF2-40B4-BE49-F238E27FC236}">
                  <a16:creationId xmlns:a16="http://schemas.microsoft.com/office/drawing/2014/main" id="{7CF73FA9-BFDF-3839-65DA-C0FD61897736}"/>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endParaRPr>
            </a:p>
          </p:txBody>
        </p:sp>
      </p:grpSp>
      <p:sp>
        <p:nvSpPr>
          <p:cNvPr id="506" name="Freeform 464">
            <a:extLst>
              <a:ext uri="{FF2B5EF4-FFF2-40B4-BE49-F238E27FC236}">
                <a16:creationId xmlns:a16="http://schemas.microsoft.com/office/drawing/2014/main" id="{B1787FBA-DF5D-4A58-70EB-8EA0BEE42838}"/>
              </a:ext>
            </a:extLst>
          </p:cNvPr>
          <p:cNvSpPr>
            <a:spLocks noEditPoints="1"/>
          </p:cNvSpPr>
          <p:nvPr/>
        </p:nvSpPr>
        <p:spPr bwMode="auto">
          <a:xfrm>
            <a:off x="9394261" y="5260480"/>
            <a:ext cx="286355" cy="203740"/>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mn-lt"/>
              <a:ea typeface="Open Sans Light" panose="020B0306030504020204" pitchFamily="34" charset="0"/>
              <a:cs typeface="Open Sans Light" panose="020B0306030504020204" pitchFamily="34" charset="0"/>
            </a:endParaRPr>
          </a:p>
        </p:txBody>
      </p:sp>
      <p:sp>
        <p:nvSpPr>
          <p:cNvPr id="507" name="Content Placeholder 3">
            <a:extLst>
              <a:ext uri="{FF2B5EF4-FFF2-40B4-BE49-F238E27FC236}">
                <a16:creationId xmlns:a16="http://schemas.microsoft.com/office/drawing/2014/main" id="{42A25287-6DDF-D975-7AAE-33B629EF2BC8}"/>
              </a:ext>
            </a:extLst>
          </p:cNvPr>
          <p:cNvSpPr txBox="1">
            <a:spLocks/>
          </p:cNvSpPr>
          <p:nvPr/>
        </p:nvSpPr>
        <p:spPr>
          <a:xfrm>
            <a:off x="469900" y="1058174"/>
            <a:ext cx="11193780" cy="600477"/>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just">
              <a:defRPr/>
            </a:pPr>
            <a:r>
              <a:rPr lang="en-US" kern="0" dirty="0">
                <a:solidFill>
                  <a:srgbClr val="575757"/>
                </a:solidFill>
                <a:ea typeface="Open Sans Light" panose="020B0306030504020204" pitchFamily="34" charset="0"/>
                <a:cs typeface="Open Sans Light" panose="020B0306030504020204" pitchFamily="34" charset="0"/>
              </a:rPr>
              <a:t>We believe that an effective BCM program requires a broad</a:t>
            </a:r>
            <a:r>
              <a:rPr lang="en-GB" kern="0" dirty="0">
                <a:solidFill>
                  <a:srgbClr val="575757"/>
                </a:solidFill>
                <a:ea typeface="Open Sans Light" panose="020B0306030504020204" pitchFamily="34" charset="0"/>
                <a:cs typeface="Open Sans Light" panose="020B0306030504020204" pitchFamily="34" charset="0"/>
              </a:rPr>
              <a:t> experience, knowledge and skills. Deloitte proposes their full range of capabilities and expertise in the BCM space and in the industry, allowing us to assist and guide </a:t>
            </a:r>
            <a:r>
              <a:rPr lang="en-GB" kern="0" dirty="0">
                <a:solidFill>
                  <a:schemeClr val="accent1"/>
                </a:solidFill>
                <a:ea typeface="Open Sans Light" panose="020B0306030504020204" pitchFamily="34" charset="0"/>
                <a:cs typeface="Open Sans Light" panose="020B0306030504020204" pitchFamily="34" charset="0"/>
              </a:rPr>
              <a:t>Salam </a:t>
            </a:r>
            <a:r>
              <a:rPr lang="en-GB" kern="0" dirty="0">
                <a:solidFill>
                  <a:srgbClr val="575757"/>
                </a:solidFill>
                <a:ea typeface="Open Sans Light" panose="020B0306030504020204" pitchFamily="34" charset="0"/>
                <a:cs typeface="Open Sans Light" panose="020B0306030504020204" pitchFamily="34" charset="0"/>
              </a:rPr>
              <a:t>in the best possible way.</a:t>
            </a:r>
            <a:endParaRPr lang="en-US" kern="0" dirty="0">
              <a:solidFill>
                <a:srgbClr val="575757"/>
              </a:solidFill>
              <a:ea typeface="Open Sans Light" panose="020B0306030504020204" pitchFamily="34" charset="0"/>
              <a:cs typeface="Open Sans Light" panose="020B0306030504020204" pitchFamily="34" charset="0"/>
            </a:endParaRPr>
          </a:p>
        </p:txBody>
      </p:sp>
      <p:cxnSp>
        <p:nvCxnSpPr>
          <p:cNvPr id="508" name="Elbow Connector 148">
            <a:extLst>
              <a:ext uri="{FF2B5EF4-FFF2-40B4-BE49-F238E27FC236}">
                <a16:creationId xmlns:a16="http://schemas.microsoft.com/office/drawing/2014/main" id="{73C47CBE-17F7-667B-9D6E-694A870B56CA}"/>
              </a:ext>
            </a:extLst>
          </p:cNvPr>
          <p:cNvCxnSpPr>
            <a:cxnSpLocks/>
            <a:endCxn id="65" idx="3"/>
          </p:cNvCxnSpPr>
          <p:nvPr/>
        </p:nvCxnSpPr>
        <p:spPr>
          <a:xfrm rot="10800000">
            <a:off x="6311494" y="3954588"/>
            <a:ext cx="1983715" cy="3483"/>
          </a:xfrm>
          <a:prstGeom prst="bentConnector3">
            <a:avLst>
              <a:gd name="adj1" fmla="val 108475"/>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9" name="Elbow Connector 131">
            <a:extLst>
              <a:ext uri="{FF2B5EF4-FFF2-40B4-BE49-F238E27FC236}">
                <a16:creationId xmlns:a16="http://schemas.microsoft.com/office/drawing/2014/main" id="{4F84B23C-9EE7-F629-8CDC-12EA76AC9D18}"/>
              </a:ext>
            </a:extLst>
          </p:cNvPr>
          <p:cNvCxnSpPr>
            <a:cxnSpLocks/>
          </p:cNvCxnSpPr>
          <p:nvPr/>
        </p:nvCxnSpPr>
        <p:spPr>
          <a:xfrm flipV="1">
            <a:off x="3781057" y="3934052"/>
            <a:ext cx="2314233" cy="5744"/>
          </a:xfrm>
          <a:prstGeom prst="bentConnector3">
            <a:avLst>
              <a:gd name="adj1" fmla="val 83642"/>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10" name="Group 509">
            <a:extLst>
              <a:ext uri="{FF2B5EF4-FFF2-40B4-BE49-F238E27FC236}">
                <a16:creationId xmlns:a16="http://schemas.microsoft.com/office/drawing/2014/main" id="{3BFDE8A1-AB09-2C01-40B3-3DC12815F57C}"/>
              </a:ext>
            </a:extLst>
          </p:cNvPr>
          <p:cNvGrpSpPr/>
          <p:nvPr/>
        </p:nvGrpSpPr>
        <p:grpSpPr>
          <a:xfrm>
            <a:off x="5253635" y="3261286"/>
            <a:ext cx="1371998" cy="1386600"/>
            <a:chOff x="4510326" y="3274521"/>
            <a:chExt cx="1371998" cy="1386600"/>
          </a:xfrm>
        </p:grpSpPr>
        <p:sp>
          <p:nvSpPr>
            <p:cNvPr id="511" name="Oval 510">
              <a:extLst>
                <a:ext uri="{FF2B5EF4-FFF2-40B4-BE49-F238E27FC236}">
                  <a16:creationId xmlns:a16="http://schemas.microsoft.com/office/drawing/2014/main" id="{14DE8F98-83F9-08CF-8BCD-F3E15596EE93}"/>
                </a:ext>
              </a:extLst>
            </p:cNvPr>
            <p:cNvSpPr/>
            <p:nvPr/>
          </p:nvSpPr>
          <p:spPr bwMode="gray">
            <a:xfrm>
              <a:off x="4510326" y="3274521"/>
              <a:ext cx="1371998" cy="1386600"/>
            </a:xfrm>
            <a:prstGeom prst="ellipse">
              <a:avLst/>
            </a:prstGeom>
            <a:solidFill>
              <a:sysClr val="window" lastClr="FFFFFF">
                <a:alpha val="10000"/>
              </a:sysClr>
            </a:solidFill>
            <a:ln w="254000" cap="sq" cmpd="sng" algn="ctr">
              <a:noFill/>
              <a:round/>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4000" b="1" i="0" u="none" strike="noStrike" kern="1200" cap="none" spc="0" normalizeH="0" baseline="0" noProof="0">
                <a:ln>
                  <a:noFill/>
                </a:ln>
                <a:solidFill>
                  <a:prstClr val="white"/>
                </a:solidFill>
                <a:effectLst/>
                <a:uLnTx/>
                <a:uFillTx/>
                <a:latin typeface="+mn-lt"/>
                <a:ea typeface="+mn-ea"/>
                <a:cs typeface="Calibri" panose="020F0502020204030204" pitchFamily="34" charset="0"/>
              </a:endParaRPr>
            </a:p>
          </p:txBody>
        </p:sp>
        <p:sp>
          <p:nvSpPr>
            <p:cNvPr id="64" name="Oval 63">
              <a:extLst>
                <a:ext uri="{FF2B5EF4-FFF2-40B4-BE49-F238E27FC236}">
                  <a16:creationId xmlns:a16="http://schemas.microsoft.com/office/drawing/2014/main" id="{63564B59-D43F-70E3-47C4-ADB3B5CCAF6E}"/>
                </a:ext>
              </a:extLst>
            </p:cNvPr>
            <p:cNvSpPr/>
            <p:nvPr/>
          </p:nvSpPr>
          <p:spPr bwMode="gray">
            <a:xfrm>
              <a:off x="4591034" y="3356086"/>
              <a:ext cx="1210586" cy="1208353"/>
            </a:xfrm>
            <a:prstGeom prst="ellipse">
              <a:avLst/>
            </a:prstGeom>
            <a:solidFill>
              <a:sysClr val="windowText" lastClr="000000"/>
            </a:solidFill>
            <a:ln w="254000" cap="sq" cmpd="sng" algn="ctr">
              <a:noFill/>
              <a:round/>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2400" b="1" i="0" u="none" strike="noStrike" kern="1200" cap="none" spc="0" normalizeH="0" baseline="0" noProof="0">
                <a:ln>
                  <a:noFill/>
                </a:ln>
                <a:solidFill>
                  <a:prstClr val="white"/>
                </a:solidFill>
                <a:effectLst/>
                <a:uLnTx/>
                <a:uFillTx/>
                <a:latin typeface="+mn-lt"/>
                <a:ea typeface="+mn-ea"/>
                <a:cs typeface="Calibri" panose="020F0502020204030204" pitchFamily="34" charset="0"/>
              </a:endParaRPr>
            </a:p>
          </p:txBody>
        </p:sp>
        <p:pic>
          <p:nvPicPr>
            <p:cNvPr id="65" name="Picture 64">
              <a:extLst>
                <a:ext uri="{FF2B5EF4-FFF2-40B4-BE49-F238E27FC236}">
                  <a16:creationId xmlns:a16="http://schemas.microsoft.com/office/drawing/2014/main" id="{3FA95568-5384-6FA0-A672-CE33903495E1}"/>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l="19067" t="21169" r="13468" b="20263"/>
            <a:stretch/>
          </p:blipFill>
          <p:spPr>
            <a:xfrm>
              <a:off x="4824464" y="3641563"/>
              <a:ext cx="743720" cy="652517"/>
            </a:xfrm>
            <a:prstGeom prst="rect">
              <a:avLst/>
            </a:prstGeom>
          </p:spPr>
        </p:pic>
      </p:grpSp>
      <p:sp>
        <p:nvSpPr>
          <p:cNvPr id="66" name="Freeform 338">
            <a:extLst>
              <a:ext uri="{FF2B5EF4-FFF2-40B4-BE49-F238E27FC236}">
                <a16:creationId xmlns:a16="http://schemas.microsoft.com/office/drawing/2014/main" id="{B2A34F81-550C-7FC1-B9A7-DDAC4F8DF9F6}"/>
              </a:ext>
            </a:extLst>
          </p:cNvPr>
          <p:cNvSpPr>
            <a:spLocks noEditPoints="1"/>
          </p:cNvSpPr>
          <p:nvPr/>
        </p:nvSpPr>
        <p:spPr bwMode="auto">
          <a:xfrm>
            <a:off x="9365584" y="3821118"/>
            <a:ext cx="188797" cy="256570"/>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solidFill>
            <a:schemeClr val="accent4"/>
          </a:solid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67" name="Freeform 339">
            <a:extLst>
              <a:ext uri="{FF2B5EF4-FFF2-40B4-BE49-F238E27FC236}">
                <a16:creationId xmlns:a16="http://schemas.microsoft.com/office/drawing/2014/main" id="{9CF07AA1-0ED0-8225-8AA8-7CBB8ACB55A8}"/>
              </a:ext>
            </a:extLst>
          </p:cNvPr>
          <p:cNvSpPr>
            <a:spLocks/>
          </p:cNvSpPr>
          <p:nvPr/>
        </p:nvSpPr>
        <p:spPr bwMode="auto">
          <a:xfrm>
            <a:off x="9399470" y="4026858"/>
            <a:ext cx="119813" cy="16943"/>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solidFill>
            <a:schemeClr val="accent4"/>
          </a:solid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68" name="Freeform 340">
            <a:extLst>
              <a:ext uri="{FF2B5EF4-FFF2-40B4-BE49-F238E27FC236}">
                <a16:creationId xmlns:a16="http://schemas.microsoft.com/office/drawing/2014/main" id="{4155CB17-158A-4771-BDAB-ABC0E43E0EBD}"/>
              </a:ext>
            </a:extLst>
          </p:cNvPr>
          <p:cNvSpPr>
            <a:spLocks/>
          </p:cNvSpPr>
          <p:nvPr/>
        </p:nvSpPr>
        <p:spPr bwMode="auto">
          <a:xfrm>
            <a:off x="9399470" y="3991761"/>
            <a:ext cx="119813" cy="16943"/>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solidFill>
            <a:schemeClr val="accent4"/>
          </a:solid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69" name="Freeform 341">
            <a:extLst>
              <a:ext uri="{FF2B5EF4-FFF2-40B4-BE49-F238E27FC236}">
                <a16:creationId xmlns:a16="http://schemas.microsoft.com/office/drawing/2014/main" id="{DBD3B282-D8B4-25BB-B67E-897AF4A92BC7}"/>
              </a:ext>
            </a:extLst>
          </p:cNvPr>
          <p:cNvSpPr>
            <a:spLocks/>
          </p:cNvSpPr>
          <p:nvPr/>
        </p:nvSpPr>
        <p:spPr bwMode="auto">
          <a:xfrm>
            <a:off x="9399470" y="3957875"/>
            <a:ext cx="119813" cy="16943"/>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solidFill>
            <a:schemeClr val="accent4"/>
          </a:solid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70" name="Freeform 342">
            <a:extLst>
              <a:ext uri="{FF2B5EF4-FFF2-40B4-BE49-F238E27FC236}">
                <a16:creationId xmlns:a16="http://schemas.microsoft.com/office/drawing/2014/main" id="{E5A4B0AF-B497-AEAF-9038-3F606ADEE7ED}"/>
              </a:ext>
            </a:extLst>
          </p:cNvPr>
          <p:cNvSpPr>
            <a:spLocks/>
          </p:cNvSpPr>
          <p:nvPr/>
        </p:nvSpPr>
        <p:spPr bwMode="auto">
          <a:xfrm>
            <a:off x="9399470" y="3923988"/>
            <a:ext cx="119813" cy="16943"/>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solidFill>
            <a:schemeClr val="accent4"/>
          </a:solid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n-lt"/>
            </a:endParaRPr>
          </a:p>
        </p:txBody>
      </p:sp>
    </p:spTree>
    <p:extLst>
      <p:ext uri="{BB962C8B-B14F-4D97-AF65-F5344CB8AC3E}">
        <p14:creationId xmlns:p14="http://schemas.microsoft.com/office/powerpoint/2010/main" val="1060625888"/>
      </p:ext>
    </p:extLst>
  </p:cSld>
  <p:clrMapOvr>
    <a:masterClrMapping/>
  </p:clrMapOvr>
  <p:transition spd="med"/>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bwMode="gray">
          <a:xfrm>
            <a:off x="501650" y="317501"/>
            <a:ext cx="11188700" cy="334100"/>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Our Credentials </a:t>
            </a:r>
            <a:endParaRPr kumimoji="0" lang="en-US" sz="2000" b="1" i="0" u="none" strike="noStrike" kern="1200" cap="none" spc="0" normalizeH="0" baseline="0" noProof="0" dirty="0">
              <a:ln>
                <a:noFill/>
              </a:ln>
              <a:solidFill>
                <a:srgbClr val="FF0000"/>
              </a:solidFill>
              <a:effectLst/>
              <a:uLnTx/>
              <a:uFillTx/>
              <a:latin typeface="Calibri" panose="020F0502020204030204" pitchFamily="34" charset="0"/>
              <a:ea typeface="+mj-ea"/>
              <a:cs typeface="Calibri" panose="020F0502020204030204" pitchFamily="34" charset="0"/>
            </a:endParaRPr>
          </a:p>
        </p:txBody>
      </p:sp>
      <p:sp>
        <p:nvSpPr>
          <p:cNvPr id="56" name="Text Placeholder 1">
            <a:extLst>
              <a:ext uri="{FF2B5EF4-FFF2-40B4-BE49-F238E27FC236}">
                <a16:creationId xmlns:a16="http://schemas.microsoft.com/office/drawing/2014/main" id="{1C0BEC98-07DA-4FFE-AE59-935D86457BE0}"/>
              </a:ext>
            </a:extLst>
          </p:cNvPr>
          <p:cNvSpPr>
            <a:spLocks noGrp="1"/>
          </p:cNvSpPr>
          <p:nvPr>
            <p:ph type="body" sz="quarter" idx="13"/>
          </p:nvPr>
        </p:nvSpPr>
        <p:spPr>
          <a:xfrm>
            <a:off x="501650" y="651601"/>
            <a:ext cx="11188700" cy="326300"/>
          </a:xfrm>
        </p:spPr>
        <p:txBody>
          <a:bodyPr/>
          <a:lstStyle/>
          <a:p>
            <a:r>
              <a:rPr lang="en-US" sz="1800"/>
              <a:t>Our BCM and Resilience Experience</a:t>
            </a:r>
          </a:p>
        </p:txBody>
      </p:sp>
      <p:grpSp>
        <p:nvGrpSpPr>
          <p:cNvPr id="2" name="Group 1">
            <a:extLst>
              <a:ext uri="{FF2B5EF4-FFF2-40B4-BE49-F238E27FC236}">
                <a16:creationId xmlns:a16="http://schemas.microsoft.com/office/drawing/2014/main" id="{363E3C23-C6AD-AEE5-19EE-B956CC4E95CE}"/>
              </a:ext>
            </a:extLst>
          </p:cNvPr>
          <p:cNvGrpSpPr/>
          <p:nvPr/>
        </p:nvGrpSpPr>
        <p:grpSpPr>
          <a:xfrm>
            <a:off x="1656637" y="1288857"/>
            <a:ext cx="8878735" cy="4915492"/>
            <a:chOff x="2761380" y="1268704"/>
            <a:chExt cx="8962321" cy="4961767"/>
          </a:xfrm>
        </p:grpSpPr>
        <p:sp>
          <p:nvSpPr>
            <p:cNvPr id="3" name="Rectangle 2">
              <a:extLst>
                <a:ext uri="{FF2B5EF4-FFF2-40B4-BE49-F238E27FC236}">
                  <a16:creationId xmlns:a16="http://schemas.microsoft.com/office/drawing/2014/main" id="{69A766E1-BC72-9FC9-7CD1-43EB1B87342D}"/>
                </a:ext>
              </a:extLst>
            </p:cNvPr>
            <p:cNvSpPr/>
            <p:nvPr/>
          </p:nvSpPr>
          <p:spPr>
            <a:xfrm>
              <a:off x="5038834" y="1268704"/>
              <a:ext cx="2131851" cy="4961767"/>
            </a:xfrm>
            <a:prstGeom prst="rect">
              <a:avLst/>
            </a:prstGeom>
            <a:noFill/>
            <a:ln w="3175" cap="flat" cmpd="sng" algn="ctr">
              <a:solidFill>
                <a:srgbClr val="62B5E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87" b="0"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endParaRPr>
            </a:p>
          </p:txBody>
        </p:sp>
        <p:sp>
          <p:nvSpPr>
            <p:cNvPr id="5" name="Rectangle 4">
              <a:extLst>
                <a:ext uri="{FF2B5EF4-FFF2-40B4-BE49-F238E27FC236}">
                  <a16:creationId xmlns:a16="http://schemas.microsoft.com/office/drawing/2014/main" id="{7F0175FA-CF18-DCB6-7D4D-F2586F2141FB}"/>
                </a:ext>
              </a:extLst>
            </p:cNvPr>
            <p:cNvSpPr/>
            <p:nvPr/>
          </p:nvSpPr>
          <p:spPr>
            <a:xfrm>
              <a:off x="5038833" y="1268705"/>
              <a:ext cx="2130333" cy="242834"/>
            </a:xfrm>
            <a:prstGeom prst="rect">
              <a:avLst/>
            </a:prstGeom>
            <a:solidFill>
              <a:srgbClr val="62B5E5"/>
            </a:solidFill>
            <a:ln w="3175" cap="flat" cmpd="sng" algn="ctr">
              <a:solidFill>
                <a:srgbClr val="62B5E5"/>
              </a:solidFill>
              <a:prstDash val="solid"/>
            </a:ln>
            <a:effectLst/>
          </p:spPr>
          <p:txBody>
            <a:bodyPr lIns="72018" tIns="36010" rIns="72018" bIns="36010" rtlCol="0" anchor="ctr"/>
            <a:lstStyle/>
            <a:p>
              <a:pPr marL="0" marR="0" lvl="0" indent="0" algn="ctr" defTabSz="822107" eaLnBrk="1" fontAlgn="auto" latinLnBrk="0" hangingPunct="1">
                <a:lnSpc>
                  <a:spcPct val="100000"/>
                </a:lnSpc>
                <a:spcBef>
                  <a:spcPts val="0"/>
                </a:spcBef>
                <a:spcAft>
                  <a:spcPts val="0"/>
                </a:spcAft>
                <a:buClrTx/>
                <a:buSzTx/>
                <a:buFontTx/>
                <a:buNone/>
                <a:tabLst/>
                <a:defRPr/>
              </a:pPr>
              <a:r>
                <a:rPr kumimoji="0" lang="en-US" sz="717" b="1" i="0" u="none" strike="noStrike" kern="1200" cap="none" spc="0" normalizeH="0" baseline="0" noProof="0" dirty="0">
                  <a:ln>
                    <a:noFill/>
                  </a:ln>
                  <a:solidFill>
                    <a:prstClr val="white"/>
                  </a:solidFill>
                  <a:effectLst/>
                  <a:uLnTx/>
                  <a:uFillTx/>
                  <a:latin typeface="Verdana"/>
                  <a:ea typeface="Verdana" panose="020B0604030504040204" pitchFamily="34" charset="0"/>
                  <a:cs typeface="Verdana" panose="020B0604030504040204" pitchFamily="34" charset="0"/>
                </a:rPr>
                <a:t>TECOM Group</a:t>
              </a:r>
            </a:p>
          </p:txBody>
        </p:sp>
        <p:sp>
          <p:nvSpPr>
            <p:cNvPr id="6" name="Rectangle 5">
              <a:extLst>
                <a:ext uri="{FF2B5EF4-FFF2-40B4-BE49-F238E27FC236}">
                  <a16:creationId xmlns:a16="http://schemas.microsoft.com/office/drawing/2014/main" id="{062C3EC7-9323-884A-B881-07469DD6DFBF}"/>
                </a:ext>
              </a:extLst>
            </p:cNvPr>
            <p:cNvSpPr/>
            <p:nvPr/>
          </p:nvSpPr>
          <p:spPr>
            <a:xfrm>
              <a:off x="5038833" y="2242541"/>
              <a:ext cx="2130333" cy="318039"/>
            </a:xfrm>
            <a:prstGeom prst="rect">
              <a:avLst/>
            </a:prstGeom>
            <a:solidFill>
              <a:srgbClr val="62B5E5"/>
            </a:solidFill>
            <a:ln w="3175" cap="flat" cmpd="sng" algn="ctr">
              <a:solidFill>
                <a:srgbClr val="62B5E5"/>
              </a:solidFill>
              <a:prstDash val="solid"/>
            </a:ln>
            <a:effectLst/>
          </p:spPr>
          <p:txBody>
            <a:bodyPr lIns="72018" tIns="36010" rIns="72018" bIns="36010" rtlCol="0" anchor="ctr"/>
            <a:lstStyle/>
            <a:p>
              <a:pPr marL="0" marR="0" lvl="0" indent="0" algn="ctr" defTabSz="822107" eaLnBrk="1" fontAlgn="auto" latinLnBrk="0" hangingPunct="1">
                <a:lnSpc>
                  <a:spcPct val="100000"/>
                </a:lnSpc>
                <a:spcBef>
                  <a:spcPts val="272"/>
                </a:spcBef>
                <a:spcAft>
                  <a:spcPts val="0"/>
                </a:spcAft>
                <a:buClrTx/>
                <a:buSzTx/>
                <a:buFontTx/>
                <a:buNone/>
                <a:tabLst/>
                <a:defRPr/>
              </a:pPr>
              <a:r>
                <a:rPr kumimoji="0" lang="en-US" sz="717"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Project  Details</a:t>
              </a:r>
            </a:p>
          </p:txBody>
        </p:sp>
        <p:sp>
          <p:nvSpPr>
            <p:cNvPr id="7" name="Rectangle 6">
              <a:extLst>
                <a:ext uri="{FF2B5EF4-FFF2-40B4-BE49-F238E27FC236}">
                  <a16:creationId xmlns:a16="http://schemas.microsoft.com/office/drawing/2014/main" id="{433BBCC0-BB8E-ED9D-B8AE-9915F514248A}"/>
                </a:ext>
              </a:extLst>
            </p:cNvPr>
            <p:cNvSpPr/>
            <p:nvPr/>
          </p:nvSpPr>
          <p:spPr>
            <a:xfrm>
              <a:off x="5040568" y="2560580"/>
              <a:ext cx="2179735" cy="292387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Deloitte was engaged to assist in the enhancement of TECOM’s pre-existing Business Continuity Management (BCM) framework. The overall objectives of this engagement aim to focus on the below items:</a:t>
              </a:r>
            </a:p>
            <a:p>
              <a:pPr marL="169914" marR="0" lvl="0" indent="-169914"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Review of existing BCM framework documentation and propose enhancements (if required) to existing framework</a:t>
              </a:r>
            </a:p>
            <a:p>
              <a:pPr marL="169914" marR="0" lvl="0" indent="-169914"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Review and update existing Business Impact Analysis, associated Business Continuity strategies and plans for significant functions and business processes</a:t>
              </a:r>
            </a:p>
            <a:p>
              <a:pPr marL="169914" marR="0" lvl="0" indent="-169914"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Proposal for and execution of appropriately sized BCM tests and future testing schedule</a:t>
              </a:r>
            </a:p>
            <a:p>
              <a:pPr marL="169914" marR="0" lvl="0" indent="-169914"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Provide guidance for assisting TECOM with certificatio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791" b="0" i="0" u="none" strike="noStrike" kern="1200" cap="none" spc="0" normalizeH="0" baseline="0" noProof="0" dirty="0">
                <a:ln>
                  <a:noFill/>
                </a:ln>
                <a:solidFill>
                  <a:prstClr val="black"/>
                </a:solidFill>
                <a:effectLst/>
                <a:uLnTx/>
                <a:uFillTx/>
                <a:latin typeface="Verdana"/>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The project was executed over a period of 6 months.</a:t>
              </a:r>
            </a:p>
          </p:txBody>
        </p:sp>
        <p:sp>
          <p:nvSpPr>
            <p:cNvPr id="8" name="Rectangle 7">
              <a:extLst>
                <a:ext uri="{FF2B5EF4-FFF2-40B4-BE49-F238E27FC236}">
                  <a16:creationId xmlns:a16="http://schemas.microsoft.com/office/drawing/2014/main" id="{3BF3D765-6C3E-AC56-C05C-6EBD06B5B0C5}"/>
                </a:ext>
              </a:extLst>
            </p:cNvPr>
            <p:cNvSpPr/>
            <p:nvPr/>
          </p:nvSpPr>
          <p:spPr>
            <a:xfrm>
              <a:off x="2765339" y="2560580"/>
              <a:ext cx="2130333" cy="3539430"/>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Deloitte was engaged to conduct a Technology Resilience Assessment at Dubai Airports, where key activities included:</a:t>
              </a:r>
            </a:p>
            <a:p>
              <a:pPr marL="169914" marR="0" lvl="0" indent="-169914"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Performing a complete end-to-end Business Impact Analysis (BIA) for the Business Technology department for the following areas:</a:t>
              </a:r>
            </a:p>
            <a:p>
              <a:pPr marL="271862" marR="0" lvl="0" indent="-169914" defTabSz="914400" eaLnBrk="1" fontAlgn="auto" latinLnBrk="0" hangingPunct="1">
                <a:lnSpc>
                  <a:spcPct val="100000"/>
                </a:lnSpc>
                <a:spcBef>
                  <a:spcPts val="0"/>
                </a:spcBef>
                <a:spcAft>
                  <a:spcPts val="0"/>
                </a:spcAft>
                <a:buClrTx/>
                <a:buSzTx/>
                <a:buFontTx/>
                <a:buChar char="-"/>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Data Centers which are on premise at Dubai Airports (DA) and Dubai World Central (DWC)</a:t>
              </a:r>
            </a:p>
            <a:p>
              <a:pPr marL="271862" marR="0" lvl="0" indent="-169914" defTabSz="914400" eaLnBrk="1" fontAlgn="auto" latinLnBrk="0" hangingPunct="1">
                <a:lnSpc>
                  <a:spcPct val="100000"/>
                </a:lnSpc>
                <a:spcBef>
                  <a:spcPts val="0"/>
                </a:spcBef>
                <a:spcAft>
                  <a:spcPts val="0"/>
                </a:spcAft>
                <a:buClrTx/>
                <a:buSzTx/>
                <a:buFontTx/>
                <a:buChar char="-"/>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IT infrastructure which is on premise at DA and DWC</a:t>
              </a:r>
            </a:p>
            <a:p>
              <a:pPr marL="271862" marR="0" lvl="0" indent="-169914" defTabSz="914400" eaLnBrk="1" fontAlgn="auto" latinLnBrk="0" hangingPunct="1">
                <a:lnSpc>
                  <a:spcPct val="100000"/>
                </a:lnSpc>
                <a:spcBef>
                  <a:spcPts val="0"/>
                </a:spcBef>
                <a:spcAft>
                  <a:spcPts val="0"/>
                </a:spcAft>
                <a:buClrTx/>
                <a:buSzTx/>
                <a:buFontTx/>
                <a:buChar char="-"/>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Network infrastructure</a:t>
              </a:r>
            </a:p>
            <a:p>
              <a:pPr marL="271862" marR="0" lvl="0" indent="-169914" defTabSz="914400" eaLnBrk="1" fontAlgn="auto" latinLnBrk="0" hangingPunct="1">
                <a:lnSpc>
                  <a:spcPct val="100000"/>
                </a:lnSpc>
                <a:spcBef>
                  <a:spcPts val="0"/>
                </a:spcBef>
                <a:spcAft>
                  <a:spcPts val="0"/>
                </a:spcAft>
                <a:buClrTx/>
                <a:buSzTx/>
                <a:buFontTx/>
                <a:buChar char="-"/>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All IT services</a:t>
              </a:r>
            </a:p>
            <a:p>
              <a:pPr marL="271862" marR="0" lvl="0" indent="-169914" defTabSz="914400" eaLnBrk="1" fontAlgn="auto" latinLnBrk="0" hangingPunct="1">
                <a:lnSpc>
                  <a:spcPct val="100000"/>
                </a:lnSpc>
                <a:spcBef>
                  <a:spcPts val="0"/>
                </a:spcBef>
                <a:spcAft>
                  <a:spcPts val="0"/>
                </a:spcAft>
                <a:buClrTx/>
                <a:buSzTx/>
                <a:buFontTx/>
                <a:buChar char="-"/>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Technology touch points within Dubai Airports Operations</a:t>
              </a:r>
            </a:p>
            <a:p>
              <a:pPr marL="169914" marR="0" lvl="0" indent="-169914"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Identifying the gaps between the recovery requirements outlined in the BIA against DA’s existing recovery capabilities in order to identify a comprehensive set of additional recovery requirements. </a:t>
              </a:r>
            </a:p>
            <a:p>
              <a:pPr marL="169914" marR="0" lvl="0" indent="-169914"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Developing a recommendation report and roadmap to achieve the recovery objectives identified during the BIA report. </a:t>
              </a:r>
            </a:p>
          </p:txBody>
        </p:sp>
        <p:sp>
          <p:nvSpPr>
            <p:cNvPr id="9" name="Rectangle 8">
              <a:extLst>
                <a:ext uri="{FF2B5EF4-FFF2-40B4-BE49-F238E27FC236}">
                  <a16:creationId xmlns:a16="http://schemas.microsoft.com/office/drawing/2014/main" id="{9E3A72A4-B5E0-09A3-96CF-13FBD1F83B76}"/>
                </a:ext>
              </a:extLst>
            </p:cNvPr>
            <p:cNvSpPr/>
            <p:nvPr/>
          </p:nvSpPr>
          <p:spPr>
            <a:xfrm>
              <a:off x="2761381" y="1268704"/>
              <a:ext cx="2131851" cy="4961767"/>
            </a:xfrm>
            <a:prstGeom prst="rect">
              <a:avLst/>
            </a:prstGeom>
            <a:noFill/>
            <a:ln w="3175" cap="flat" cmpd="sng" algn="ctr">
              <a:solidFill>
                <a:srgbClr val="86BC2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87" b="0"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endParaRPr>
            </a:p>
          </p:txBody>
        </p:sp>
        <p:sp>
          <p:nvSpPr>
            <p:cNvPr id="10" name="Rectangle 9">
              <a:extLst>
                <a:ext uri="{FF2B5EF4-FFF2-40B4-BE49-F238E27FC236}">
                  <a16:creationId xmlns:a16="http://schemas.microsoft.com/office/drawing/2014/main" id="{68647517-82A0-08A8-6A25-06ABE4B444F5}"/>
                </a:ext>
              </a:extLst>
            </p:cNvPr>
            <p:cNvSpPr/>
            <p:nvPr/>
          </p:nvSpPr>
          <p:spPr>
            <a:xfrm>
              <a:off x="2761380" y="1268705"/>
              <a:ext cx="2130333" cy="242834"/>
            </a:xfrm>
            <a:prstGeom prst="rect">
              <a:avLst/>
            </a:prstGeom>
            <a:solidFill>
              <a:srgbClr val="86BC25"/>
            </a:solidFill>
            <a:ln w="3175" cap="flat" cmpd="sng" algn="ctr">
              <a:solidFill>
                <a:srgbClr val="86BC2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17" b="1"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rPr>
                <a:t>Dubai Airports</a:t>
              </a:r>
              <a:endParaRPr kumimoji="0" lang="en-GB" sz="717" b="1"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endParaRPr>
            </a:p>
          </p:txBody>
        </p:sp>
        <p:sp>
          <p:nvSpPr>
            <p:cNvPr id="11" name="Rectangle 10">
              <a:extLst>
                <a:ext uri="{FF2B5EF4-FFF2-40B4-BE49-F238E27FC236}">
                  <a16:creationId xmlns:a16="http://schemas.microsoft.com/office/drawing/2014/main" id="{732507CF-1493-A5A2-2FF9-DD8DED6C898F}"/>
                </a:ext>
              </a:extLst>
            </p:cNvPr>
            <p:cNvSpPr/>
            <p:nvPr/>
          </p:nvSpPr>
          <p:spPr>
            <a:xfrm>
              <a:off x="2761380" y="2242541"/>
              <a:ext cx="2130333" cy="318039"/>
            </a:xfrm>
            <a:prstGeom prst="rect">
              <a:avLst/>
            </a:prstGeom>
            <a:solidFill>
              <a:srgbClr val="86BC25"/>
            </a:solidFill>
            <a:ln w="3175" cap="flat" cmpd="sng" algn="ctr">
              <a:solidFill>
                <a:srgbClr val="86BC2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17" b="1" i="0" u="none" strike="noStrike" kern="1200" cap="none" spc="0" normalizeH="0" baseline="0" noProof="0" dirty="0">
                  <a:ln>
                    <a:noFill/>
                  </a:ln>
                  <a:solidFill>
                    <a:srgbClr val="FFFFFF"/>
                  </a:solidFill>
                  <a:effectLst/>
                  <a:uLnTx/>
                  <a:uFillTx/>
                  <a:latin typeface="Verdana"/>
                  <a:ea typeface="Open Sans Light" panose="020B0306030504020204" pitchFamily="34" charset="0"/>
                  <a:cs typeface="Open Sans Light" panose="020B0306030504020204" pitchFamily="34" charset="0"/>
                </a:rPr>
                <a:t>Project  Details</a:t>
              </a:r>
            </a:p>
          </p:txBody>
        </p:sp>
        <p:sp>
          <p:nvSpPr>
            <p:cNvPr id="12" name="Rectangle 11">
              <a:extLst>
                <a:ext uri="{FF2B5EF4-FFF2-40B4-BE49-F238E27FC236}">
                  <a16:creationId xmlns:a16="http://schemas.microsoft.com/office/drawing/2014/main" id="{5BEFA8CF-26ED-FCB9-67F9-476A874862EC}"/>
                </a:ext>
              </a:extLst>
            </p:cNvPr>
            <p:cNvSpPr/>
            <p:nvPr/>
          </p:nvSpPr>
          <p:spPr>
            <a:xfrm>
              <a:off x="7316101" y="1268704"/>
              <a:ext cx="2131851" cy="4961767"/>
            </a:xfrm>
            <a:prstGeom prst="rect">
              <a:avLst/>
            </a:prstGeom>
            <a:noFill/>
            <a:ln w="3175" cap="flat" cmpd="sng" algn="ctr">
              <a:solidFill>
                <a:srgbClr val="012169"/>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87" b="0"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endParaRPr>
            </a:p>
          </p:txBody>
        </p:sp>
        <p:sp>
          <p:nvSpPr>
            <p:cNvPr id="13" name="Rectangle 12">
              <a:extLst>
                <a:ext uri="{FF2B5EF4-FFF2-40B4-BE49-F238E27FC236}">
                  <a16:creationId xmlns:a16="http://schemas.microsoft.com/office/drawing/2014/main" id="{0BC2AB67-7564-8FD0-B95E-9BAAB4C1166C}"/>
                </a:ext>
              </a:extLst>
            </p:cNvPr>
            <p:cNvSpPr/>
            <p:nvPr/>
          </p:nvSpPr>
          <p:spPr>
            <a:xfrm>
              <a:off x="7316101" y="1268705"/>
              <a:ext cx="2130333" cy="242834"/>
            </a:xfrm>
            <a:prstGeom prst="rect">
              <a:avLst/>
            </a:prstGeom>
            <a:solidFill>
              <a:srgbClr val="012169"/>
            </a:solidFill>
            <a:ln w="3175" cap="flat" cmpd="sng" algn="ctr">
              <a:solidFill>
                <a:srgbClr val="012169"/>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7" b="1"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rPr>
                <a:t>Dubai International Financial Center</a:t>
              </a:r>
            </a:p>
          </p:txBody>
        </p:sp>
        <p:sp>
          <p:nvSpPr>
            <p:cNvPr id="14" name="Rectangle 13">
              <a:extLst>
                <a:ext uri="{FF2B5EF4-FFF2-40B4-BE49-F238E27FC236}">
                  <a16:creationId xmlns:a16="http://schemas.microsoft.com/office/drawing/2014/main" id="{10F0383F-249E-BC3A-2165-E2F0A4D63A69}"/>
                </a:ext>
              </a:extLst>
            </p:cNvPr>
            <p:cNvSpPr/>
            <p:nvPr/>
          </p:nvSpPr>
          <p:spPr>
            <a:xfrm>
              <a:off x="7316101" y="2242541"/>
              <a:ext cx="2130333" cy="318039"/>
            </a:xfrm>
            <a:prstGeom prst="rect">
              <a:avLst/>
            </a:prstGeom>
            <a:solidFill>
              <a:srgbClr val="012169"/>
            </a:solidFill>
            <a:ln w="3175" cap="flat" cmpd="sng" algn="ctr">
              <a:solidFill>
                <a:srgbClr val="012169"/>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17" b="1" i="0" u="none" strike="noStrike" kern="1200" cap="none" spc="0" normalizeH="0" baseline="0" noProof="0" dirty="0">
                  <a:ln>
                    <a:noFill/>
                  </a:ln>
                  <a:solidFill>
                    <a:srgbClr val="FFFFFF"/>
                  </a:solidFill>
                  <a:effectLst/>
                  <a:uLnTx/>
                  <a:uFillTx/>
                  <a:latin typeface="Verdana"/>
                  <a:ea typeface="Open Sans Light" panose="020B0306030504020204" pitchFamily="34" charset="0"/>
                  <a:cs typeface="Open Sans Light" panose="020B0306030504020204" pitchFamily="34" charset="0"/>
                </a:rPr>
                <a:t>Project  Details</a:t>
              </a:r>
            </a:p>
          </p:txBody>
        </p:sp>
        <p:sp>
          <p:nvSpPr>
            <p:cNvPr id="15" name="Rectangle 14">
              <a:extLst>
                <a:ext uri="{FF2B5EF4-FFF2-40B4-BE49-F238E27FC236}">
                  <a16:creationId xmlns:a16="http://schemas.microsoft.com/office/drawing/2014/main" id="{68A55F48-7C48-1E5C-8CB9-4F689EB2373B}"/>
                </a:ext>
              </a:extLst>
            </p:cNvPr>
            <p:cNvSpPr/>
            <p:nvPr/>
          </p:nvSpPr>
          <p:spPr>
            <a:xfrm>
              <a:off x="7316101" y="2560580"/>
              <a:ext cx="2130333" cy="2431435"/>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Deloitte was engaged to conduct a refresh of the existing Business Continuity Management (BCM) frameworks within DIFC. The project duration was </a:t>
              </a:r>
              <a:r>
                <a:rPr kumimoji="0" lang="en-US" sz="791" b="1" i="0" u="none" strike="noStrike" kern="1200" cap="none" spc="0" normalizeH="0" baseline="0" noProof="0" dirty="0">
                  <a:ln>
                    <a:noFill/>
                  </a:ln>
                  <a:solidFill>
                    <a:prstClr val="black"/>
                  </a:solidFill>
                  <a:effectLst/>
                  <a:uLnTx/>
                  <a:uFillTx/>
                  <a:latin typeface="Verdana"/>
                  <a:ea typeface="+mn-ea"/>
                  <a:cs typeface="+mn-cs"/>
                </a:rPr>
                <a:t>6 months</a:t>
              </a:r>
              <a:r>
                <a:rPr kumimoji="0" lang="en-US" sz="791" b="0" i="0" u="none" strike="noStrike" kern="1200" cap="none" spc="0" normalizeH="0" baseline="0" noProof="0" dirty="0">
                  <a:ln>
                    <a:noFill/>
                  </a:ln>
                  <a:solidFill>
                    <a:prstClr val="black"/>
                  </a:solidFill>
                  <a:effectLst/>
                  <a:uLnTx/>
                  <a:uFillTx/>
                  <a:latin typeface="Verdana"/>
                  <a:ea typeface="+mn-ea"/>
                  <a:cs typeface="+mn-cs"/>
                </a:rPr>
                <a:t>, and the scope of work included:</a:t>
              </a:r>
            </a:p>
            <a:p>
              <a:pPr marL="169914" marR="0" lvl="0" indent="-169914"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Establishing a revamped BCMS Governance Framework</a:t>
              </a:r>
            </a:p>
            <a:p>
              <a:pPr marL="169914" marR="0" lvl="0" indent="-169914"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Conducting BIA and TRA workshops</a:t>
              </a:r>
            </a:p>
            <a:p>
              <a:pPr marL="169914" marR="0" lvl="0" indent="-169914"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Identifying recovery strategies and accordingly establishing Business Continuity Plans</a:t>
              </a:r>
            </a:p>
            <a:p>
              <a:pPr marL="169914" marR="0" lvl="0" indent="-169914"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Developing a Crisis Management Framework and plan for DIFC management</a:t>
              </a:r>
            </a:p>
            <a:p>
              <a:pPr marL="169914" marR="0" lvl="0" indent="-169914"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Conducting BCM training and exercising sessions for selected stakeholders</a:t>
              </a:r>
            </a:p>
          </p:txBody>
        </p:sp>
        <p:pic>
          <p:nvPicPr>
            <p:cNvPr id="16" name="Picture 15">
              <a:extLst>
                <a:ext uri="{FF2B5EF4-FFF2-40B4-BE49-F238E27FC236}">
                  <a16:creationId xmlns:a16="http://schemas.microsoft.com/office/drawing/2014/main" id="{0382CD44-08C0-2953-AA13-35CAC0F7509F}"/>
                </a:ext>
              </a:extLst>
            </p:cNvPr>
            <p:cNvPicPr>
              <a:picLocks noChangeAspect="1"/>
            </p:cNvPicPr>
            <p:nvPr/>
          </p:nvPicPr>
          <p:blipFill>
            <a:blip r:embed="rId3"/>
            <a:stretch>
              <a:fillRect/>
            </a:stretch>
          </p:blipFill>
          <p:spPr>
            <a:xfrm>
              <a:off x="5342445" y="1548067"/>
              <a:ext cx="1524443" cy="641871"/>
            </a:xfrm>
            <a:prstGeom prst="rect">
              <a:avLst/>
            </a:prstGeom>
          </p:spPr>
        </p:pic>
        <p:pic>
          <p:nvPicPr>
            <p:cNvPr id="17" name="Picture 16">
              <a:extLst>
                <a:ext uri="{FF2B5EF4-FFF2-40B4-BE49-F238E27FC236}">
                  <a16:creationId xmlns:a16="http://schemas.microsoft.com/office/drawing/2014/main" id="{6E1DDFCA-4046-FEA7-E661-0C7E51EE2511}"/>
                </a:ext>
              </a:extLst>
            </p:cNvPr>
            <p:cNvPicPr>
              <a:picLocks noChangeAspect="1"/>
            </p:cNvPicPr>
            <p:nvPr/>
          </p:nvPicPr>
          <p:blipFill rotWithShape="1">
            <a:blip r:embed="rId4">
              <a:extLst>
                <a:ext uri="{28A0092B-C50C-407E-A947-70E740481C1C}">
                  <a14:useLocalDpi xmlns:a14="http://schemas.microsoft.com/office/drawing/2010/main" val="0"/>
                </a:ext>
              </a:extLst>
            </a:blip>
            <a:srcRect l="7980" t="13085" r="7009" b="17861"/>
            <a:stretch/>
          </p:blipFill>
          <p:spPr>
            <a:xfrm>
              <a:off x="7493250" y="1548285"/>
              <a:ext cx="1873993" cy="669793"/>
            </a:xfrm>
            <a:prstGeom prst="rect">
              <a:avLst/>
            </a:prstGeom>
          </p:spPr>
        </p:pic>
        <p:pic>
          <p:nvPicPr>
            <p:cNvPr id="18" name="Picture 17">
              <a:extLst>
                <a:ext uri="{FF2B5EF4-FFF2-40B4-BE49-F238E27FC236}">
                  <a16:creationId xmlns:a16="http://schemas.microsoft.com/office/drawing/2014/main" id="{E5988F22-C92E-87B4-049E-57221242993F}"/>
                </a:ext>
              </a:extLst>
            </p:cNvPr>
            <p:cNvPicPr>
              <a:picLocks noChangeAspect="1"/>
            </p:cNvPicPr>
            <p:nvPr/>
          </p:nvPicPr>
          <p:blipFill>
            <a:blip r:embed="rId5"/>
            <a:stretch>
              <a:fillRect/>
            </a:stretch>
          </p:blipFill>
          <p:spPr>
            <a:xfrm>
              <a:off x="2899696" y="1637975"/>
              <a:ext cx="1853700" cy="422774"/>
            </a:xfrm>
            <a:prstGeom prst="rect">
              <a:avLst/>
            </a:prstGeom>
          </p:spPr>
        </p:pic>
        <p:sp>
          <p:nvSpPr>
            <p:cNvPr id="19" name="Rectangle 18">
              <a:extLst>
                <a:ext uri="{FF2B5EF4-FFF2-40B4-BE49-F238E27FC236}">
                  <a16:creationId xmlns:a16="http://schemas.microsoft.com/office/drawing/2014/main" id="{2C9E092A-BD23-4935-0F9C-DC1595E08AC6}"/>
                </a:ext>
              </a:extLst>
            </p:cNvPr>
            <p:cNvSpPr/>
            <p:nvPr/>
          </p:nvSpPr>
          <p:spPr>
            <a:xfrm>
              <a:off x="9591850" y="1268704"/>
              <a:ext cx="2131851" cy="4961767"/>
            </a:xfrm>
            <a:prstGeom prst="rect">
              <a:avLst/>
            </a:prstGeom>
            <a:noFill/>
            <a:ln w="3175" cap="flat" cmpd="sng" algn="ctr">
              <a:solidFill>
                <a:srgbClr val="0097A9"/>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87" b="0"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endParaRPr>
            </a:p>
          </p:txBody>
        </p:sp>
        <p:sp>
          <p:nvSpPr>
            <p:cNvPr id="20" name="Rectangle 19">
              <a:extLst>
                <a:ext uri="{FF2B5EF4-FFF2-40B4-BE49-F238E27FC236}">
                  <a16:creationId xmlns:a16="http://schemas.microsoft.com/office/drawing/2014/main" id="{82AD4C81-BAD0-CFDD-DF6C-3A4E23DCBBED}"/>
                </a:ext>
              </a:extLst>
            </p:cNvPr>
            <p:cNvSpPr/>
            <p:nvPr/>
          </p:nvSpPr>
          <p:spPr>
            <a:xfrm>
              <a:off x="9591850" y="1268705"/>
              <a:ext cx="2130333" cy="242834"/>
            </a:xfrm>
            <a:prstGeom prst="rect">
              <a:avLst/>
            </a:prstGeom>
            <a:solidFill>
              <a:srgbClr val="0097A9"/>
            </a:solidFill>
            <a:ln w="3175" cap="flat" cmpd="sng" algn="ctr">
              <a:solidFill>
                <a:srgbClr val="0097A9"/>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7" b="1"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rPr>
                <a:t>Aramex</a:t>
              </a:r>
            </a:p>
          </p:txBody>
        </p:sp>
        <p:sp>
          <p:nvSpPr>
            <p:cNvPr id="21" name="Rectangle 20">
              <a:extLst>
                <a:ext uri="{FF2B5EF4-FFF2-40B4-BE49-F238E27FC236}">
                  <a16:creationId xmlns:a16="http://schemas.microsoft.com/office/drawing/2014/main" id="{4746A907-C0E4-3975-F1AF-2D715F910A57}"/>
                </a:ext>
              </a:extLst>
            </p:cNvPr>
            <p:cNvSpPr/>
            <p:nvPr/>
          </p:nvSpPr>
          <p:spPr>
            <a:xfrm>
              <a:off x="9591850" y="2242541"/>
              <a:ext cx="2130333" cy="318039"/>
            </a:xfrm>
            <a:prstGeom prst="rect">
              <a:avLst/>
            </a:prstGeom>
            <a:solidFill>
              <a:srgbClr val="0097A9"/>
            </a:solidFill>
            <a:ln w="3175" cap="flat" cmpd="sng" algn="ctr">
              <a:solidFill>
                <a:srgbClr val="0097A9"/>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17" b="1" i="0" u="none" strike="noStrike" kern="1200" cap="none" spc="0" normalizeH="0" baseline="0" noProof="0" dirty="0">
                  <a:ln>
                    <a:noFill/>
                  </a:ln>
                  <a:solidFill>
                    <a:srgbClr val="FFFFFF"/>
                  </a:solidFill>
                  <a:effectLst/>
                  <a:uLnTx/>
                  <a:uFillTx/>
                  <a:latin typeface="Verdana"/>
                  <a:ea typeface="Open Sans Light" panose="020B0306030504020204" pitchFamily="34" charset="0"/>
                  <a:cs typeface="Open Sans Light" panose="020B0306030504020204" pitchFamily="34" charset="0"/>
                </a:rPr>
                <a:t>Project  Details</a:t>
              </a:r>
            </a:p>
          </p:txBody>
        </p:sp>
        <p:sp>
          <p:nvSpPr>
            <p:cNvPr id="22" name="Rectangle 21">
              <a:extLst>
                <a:ext uri="{FF2B5EF4-FFF2-40B4-BE49-F238E27FC236}">
                  <a16:creationId xmlns:a16="http://schemas.microsoft.com/office/drawing/2014/main" id="{7E2A66BD-DBD3-D4E5-55DE-29FE48409EEA}"/>
                </a:ext>
              </a:extLst>
            </p:cNvPr>
            <p:cNvSpPr/>
            <p:nvPr/>
          </p:nvSpPr>
          <p:spPr>
            <a:xfrm>
              <a:off x="9592851" y="2574440"/>
              <a:ext cx="2130333" cy="2431435"/>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Deloitte &amp; Touche M.E. led the development and implementation efforts for a comprehensive Business Continuity Management program for Aramex operations.  We conducted organization-wide business impact analysis outlining the recovery time and recovery point objectives for the organization’s critical business processes.  Each application supporting the various processes has been identified, along with its corresponding recovery objectives. Using the requirements identified, we are developing recovery and resiliency strategies, design documentation, and business continuity plans for each of Aramex’s critical processes. </a:t>
              </a:r>
            </a:p>
          </p:txBody>
        </p:sp>
        <p:pic>
          <p:nvPicPr>
            <p:cNvPr id="23" name="Picture 11" descr="Image result for aramex">
              <a:extLst>
                <a:ext uri="{FF2B5EF4-FFF2-40B4-BE49-F238E27FC236}">
                  <a16:creationId xmlns:a16="http://schemas.microsoft.com/office/drawing/2014/main" id="{A9A34DE5-C782-88E6-2F6C-3E1FBF8821D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708464" y="1629112"/>
              <a:ext cx="1897104" cy="54258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985294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bwMode="gray">
          <a:xfrm>
            <a:off x="501650" y="317501"/>
            <a:ext cx="11188700" cy="334100"/>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j-ea"/>
                <a:cs typeface="Calibri" panose="020F0502020204030204" pitchFamily="34" charset="0"/>
              </a:rPr>
              <a:t>Our Credentials </a:t>
            </a:r>
            <a:endParaRPr kumimoji="0" lang="en-US" sz="2000" b="1" i="0" u="none" strike="noStrike" kern="1200" cap="none" spc="0" normalizeH="0" baseline="0" noProof="0">
              <a:ln>
                <a:noFill/>
              </a:ln>
              <a:solidFill>
                <a:srgbClr val="FF0000"/>
              </a:solidFill>
              <a:effectLst/>
              <a:uLnTx/>
              <a:uFillTx/>
              <a:latin typeface="Calibri" panose="020F0502020204030204" pitchFamily="34" charset="0"/>
              <a:ea typeface="+mj-ea"/>
              <a:cs typeface="Calibri" panose="020F0502020204030204" pitchFamily="34" charset="0"/>
            </a:endParaRPr>
          </a:p>
        </p:txBody>
      </p:sp>
      <p:sp>
        <p:nvSpPr>
          <p:cNvPr id="56" name="Text Placeholder 1">
            <a:extLst>
              <a:ext uri="{FF2B5EF4-FFF2-40B4-BE49-F238E27FC236}">
                <a16:creationId xmlns:a16="http://schemas.microsoft.com/office/drawing/2014/main" id="{1C0BEC98-07DA-4FFE-AE59-935D86457BE0}"/>
              </a:ext>
            </a:extLst>
          </p:cNvPr>
          <p:cNvSpPr>
            <a:spLocks noGrp="1"/>
          </p:cNvSpPr>
          <p:nvPr>
            <p:ph type="body" sz="quarter" idx="13"/>
          </p:nvPr>
        </p:nvSpPr>
        <p:spPr>
          <a:xfrm>
            <a:off x="501650" y="651601"/>
            <a:ext cx="11188700" cy="326300"/>
          </a:xfrm>
        </p:spPr>
        <p:txBody>
          <a:bodyPr/>
          <a:lstStyle/>
          <a:p>
            <a:r>
              <a:rPr lang="en-US" sz="1800"/>
              <a:t>Our BCM and Resilience Experience</a:t>
            </a:r>
          </a:p>
        </p:txBody>
      </p:sp>
      <p:grpSp>
        <p:nvGrpSpPr>
          <p:cNvPr id="2" name="Group 1">
            <a:extLst>
              <a:ext uri="{FF2B5EF4-FFF2-40B4-BE49-F238E27FC236}">
                <a16:creationId xmlns:a16="http://schemas.microsoft.com/office/drawing/2014/main" id="{0B05FFD9-B5C9-5B7D-C9BF-D8A1CB2F747E}"/>
              </a:ext>
            </a:extLst>
          </p:cNvPr>
          <p:cNvGrpSpPr/>
          <p:nvPr/>
        </p:nvGrpSpPr>
        <p:grpSpPr>
          <a:xfrm>
            <a:off x="1651186" y="1288857"/>
            <a:ext cx="8889637" cy="4915492"/>
            <a:chOff x="483742" y="1268704"/>
            <a:chExt cx="8973325" cy="4961767"/>
          </a:xfrm>
        </p:grpSpPr>
        <p:sp>
          <p:nvSpPr>
            <p:cNvPr id="3" name="Rectangle 2">
              <a:extLst>
                <a:ext uri="{FF2B5EF4-FFF2-40B4-BE49-F238E27FC236}">
                  <a16:creationId xmlns:a16="http://schemas.microsoft.com/office/drawing/2014/main" id="{13E9083F-B87A-14F2-4DF4-A470C2877A5A}"/>
                </a:ext>
              </a:extLst>
            </p:cNvPr>
            <p:cNvSpPr/>
            <p:nvPr/>
          </p:nvSpPr>
          <p:spPr>
            <a:xfrm>
              <a:off x="483742" y="1268704"/>
              <a:ext cx="2131851" cy="4961767"/>
            </a:xfrm>
            <a:prstGeom prst="rect">
              <a:avLst/>
            </a:prstGeom>
            <a:noFill/>
            <a:ln w="3175" cap="flat" cmpd="sng" algn="ctr">
              <a:solidFill>
                <a:srgbClr val="046A38"/>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87" b="0"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endParaRPr>
            </a:p>
          </p:txBody>
        </p:sp>
        <p:sp>
          <p:nvSpPr>
            <p:cNvPr id="5" name="Rectangle 4">
              <a:extLst>
                <a:ext uri="{FF2B5EF4-FFF2-40B4-BE49-F238E27FC236}">
                  <a16:creationId xmlns:a16="http://schemas.microsoft.com/office/drawing/2014/main" id="{58FCF13F-FBBB-4866-438A-BC1989872048}"/>
                </a:ext>
              </a:extLst>
            </p:cNvPr>
            <p:cNvSpPr/>
            <p:nvPr/>
          </p:nvSpPr>
          <p:spPr>
            <a:xfrm>
              <a:off x="483742" y="1268705"/>
              <a:ext cx="2130333" cy="242834"/>
            </a:xfrm>
            <a:prstGeom prst="rect">
              <a:avLst/>
            </a:prstGeom>
            <a:solidFill>
              <a:srgbClr val="046A38"/>
            </a:solidFill>
            <a:ln w="3175" cap="flat" cmpd="sng" algn="ctr">
              <a:solidFill>
                <a:srgbClr val="3C8A2E"/>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707" b="1"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rPr>
                <a:t>Dubai Silicon Oasis Authority</a:t>
              </a:r>
            </a:p>
          </p:txBody>
        </p:sp>
        <p:sp>
          <p:nvSpPr>
            <p:cNvPr id="6" name="Rectangle 5">
              <a:extLst>
                <a:ext uri="{FF2B5EF4-FFF2-40B4-BE49-F238E27FC236}">
                  <a16:creationId xmlns:a16="http://schemas.microsoft.com/office/drawing/2014/main" id="{36359311-1055-962A-12DF-2531AC5FF6B4}"/>
                </a:ext>
              </a:extLst>
            </p:cNvPr>
            <p:cNvSpPr/>
            <p:nvPr/>
          </p:nvSpPr>
          <p:spPr>
            <a:xfrm>
              <a:off x="483742" y="2242541"/>
              <a:ext cx="2130333" cy="318039"/>
            </a:xfrm>
            <a:prstGeom prst="rect">
              <a:avLst/>
            </a:prstGeom>
            <a:solidFill>
              <a:srgbClr val="046A38"/>
            </a:solidFill>
            <a:ln w="3175" cap="flat" cmpd="sng" algn="ctr">
              <a:solidFill>
                <a:srgbClr val="3C8A2E"/>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7" b="1" i="0" u="none" strike="noStrike" kern="1200" cap="none" spc="0" normalizeH="0" baseline="0" noProof="0" dirty="0">
                  <a:ln>
                    <a:noFill/>
                  </a:ln>
                  <a:solidFill>
                    <a:srgbClr val="FFFFFF"/>
                  </a:solidFill>
                  <a:effectLst/>
                  <a:uLnTx/>
                  <a:uFillTx/>
                  <a:latin typeface="Verdana"/>
                  <a:ea typeface="Open Sans Light" panose="020B0306030504020204" pitchFamily="34" charset="0"/>
                  <a:cs typeface="Open Sans Light" panose="020B0306030504020204" pitchFamily="34" charset="0"/>
                </a:rPr>
                <a:t>Project  Details</a:t>
              </a:r>
            </a:p>
          </p:txBody>
        </p:sp>
        <p:sp>
          <p:nvSpPr>
            <p:cNvPr id="7" name="Rectangle 6">
              <a:extLst>
                <a:ext uri="{FF2B5EF4-FFF2-40B4-BE49-F238E27FC236}">
                  <a16:creationId xmlns:a16="http://schemas.microsoft.com/office/drawing/2014/main" id="{323B0D07-42B1-C57F-BA6A-6A7305A852AC}"/>
                </a:ext>
              </a:extLst>
            </p:cNvPr>
            <p:cNvSpPr/>
            <p:nvPr/>
          </p:nvSpPr>
          <p:spPr>
            <a:xfrm>
              <a:off x="5038834" y="1268704"/>
              <a:ext cx="2131851" cy="4961767"/>
            </a:xfrm>
            <a:prstGeom prst="rect">
              <a:avLst/>
            </a:prstGeom>
            <a:noFill/>
            <a:ln w="3175" cap="flat" cmpd="sng" algn="ctr">
              <a:solidFill>
                <a:srgbClr val="62B5E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87" b="0"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endParaRPr>
            </a:p>
          </p:txBody>
        </p:sp>
        <p:sp>
          <p:nvSpPr>
            <p:cNvPr id="8" name="Rectangle 7">
              <a:extLst>
                <a:ext uri="{FF2B5EF4-FFF2-40B4-BE49-F238E27FC236}">
                  <a16:creationId xmlns:a16="http://schemas.microsoft.com/office/drawing/2014/main" id="{81E90897-EAC7-41D7-EDED-60F71FC619F0}"/>
                </a:ext>
              </a:extLst>
            </p:cNvPr>
            <p:cNvSpPr/>
            <p:nvPr/>
          </p:nvSpPr>
          <p:spPr>
            <a:xfrm>
              <a:off x="5038833" y="1268705"/>
              <a:ext cx="2130333" cy="242834"/>
            </a:xfrm>
            <a:prstGeom prst="rect">
              <a:avLst/>
            </a:prstGeom>
            <a:solidFill>
              <a:srgbClr val="62B5E5"/>
            </a:solidFill>
            <a:ln w="3175" cap="flat" cmpd="sng" algn="ctr">
              <a:solidFill>
                <a:srgbClr val="62B5E5"/>
              </a:solidFill>
              <a:prstDash val="solid"/>
            </a:ln>
            <a:effectLst/>
          </p:spPr>
          <p:txBody>
            <a:bodyPr lIns="72018" tIns="36010" rIns="72018" bIns="36010" rtlCol="0" anchor="ctr"/>
            <a:lstStyle/>
            <a:p>
              <a:pPr marL="0" marR="0" lvl="0" indent="0" algn="ctr" defTabSz="822107" eaLnBrk="1" fontAlgn="auto" latinLnBrk="0" hangingPunct="1">
                <a:lnSpc>
                  <a:spcPct val="100000"/>
                </a:lnSpc>
                <a:spcBef>
                  <a:spcPts val="0"/>
                </a:spcBef>
                <a:spcAft>
                  <a:spcPts val="0"/>
                </a:spcAft>
                <a:buClrTx/>
                <a:buSzTx/>
                <a:buFontTx/>
                <a:buNone/>
                <a:tabLst/>
                <a:defRPr/>
              </a:pPr>
              <a:r>
                <a:rPr kumimoji="0" lang="en-US" sz="717" b="1" i="0" u="none" strike="noStrike" kern="1200" cap="none" spc="0" normalizeH="0" baseline="0" noProof="0" dirty="0">
                  <a:ln>
                    <a:noFill/>
                  </a:ln>
                  <a:solidFill>
                    <a:prstClr val="white"/>
                  </a:solidFill>
                  <a:effectLst/>
                  <a:uLnTx/>
                  <a:uFillTx/>
                  <a:latin typeface="Verdana"/>
                  <a:ea typeface="Verdana" panose="020B0604030504040204" pitchFamily="34" charset="0"/>
                  <a:cs typeface="Verdana" panose="020B0604030504040204" pitchFamily="34" charset="0"/>
                </a:rPr>
                <a:t>Mubadala</a:t>
              </a:r>
            </a:p>
          </p:txBody>
        </p:sp>
        <p:sp>
          <p:nvSpPr>
            <p:cNvPr id="9" name="Rectangle 8">
              <a:extLst>
                <a:ext uri="{FF2B5EF4-FFF2-40B4-BE49-F238E27FC236}">
                  <a16:creationId xmlns:a16="http://schemas.microsoft.com/office/drawing/2014/main" id="{C179FEE7-E330-579E-BCB2-9C67072638EF}"/>
                </a:ext>
              </a:extLst>
            </p:cNvPr>
            <p:cNvSpPr/>
            <p:nvPr/>
          </p:nvSpPr>
          <p:spPr>
            <a:xfrm>
              <a:off x="5038833" y="2242541"/>
              <a:ext cx="2130333" cy="318039"/>
            </a:xfrm>
            <a:prstGeom prst="rect">
              <a:avLst/>
            </a:prstGeom>
            <a:solidFill>
              <a:srgbClr val="62B5E5"/>
            </a:solidFill>
            <a:ln w="3175" cap="flat" cmpd="sng" algn="ctr">
              <a:solidFill>
                <a:srgbClr val="62B5E5"/>
              </a:solidFill>
              <a:prstDash val="solid"/>
            </a:ln>
            <a:effectLst/>
          </p:spPr>
          <p:txBody>
            <a:bodyPr lIns="72018" tIns="36010" rIns="72018" bIns="36010" rtlCol="0" anchor="ctr"/>
            <a:lstStyle/>
            <a:p>
              <a:pPr marL="0" marR="0" lvl="0" indent="0" algn="ctr" defTabSz="822107" eaLnBrk="1" fontAlgn="auto" latinLnBrk="0" hangingPunct="1">
                <a:lnSpc>
                  <a:spcPct val="100000"/>
                </a:lnSpc>
                <a:spcBef>
                  <a:spcPts val="272"/>
                </a:spcBef>
                <a:spcAft>
                  <a:spcPts val="0"/>
                </a:spcAft>
                <a:buClrTx/>
                <a:buSzTx/>
                <a:buFontTx/>
                <a:buNone/>
                <a:tabLst/>
                <a:defRPr/>
              </a:pPr>
              <a:r>
                <a:rPr kumimoji="0" lang="en-US" sz="717"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Project  Details</a:t>
              </a:r>
            </a:p>
          </p:txBody>
        </p:sp>
        <p:sp>
          <p:nvSpPr>
            <p:cNvPr id="10" name="Rectangle 9">
              <a:extLst>
                <a:ext uri="{FF2B5EF4-FFF2-40B4-BE49-F238E27FC236}">
                  <a16:creationId xmlns:a16="http://schemas.microsoft.com/office/drawing/2014/main" id="{1FBA01F7-28B9-E626-4BD5-D8CABF2FE0FB}"/>
                </a:ext>
              </a:extLst>
            </p:cNvPr>
            <p:cNvSpPr/>
            <p:nvPr/>
          </p:nvSpPr>
          <p:spPr>
            <a:xfrm>
              <a:off x="7316101" y="1268704"/>
              <a:ext cx="2131851" cy="4961767"/>
            </a:xfrm>
            <a:prstGeom prst="rect">
              <a:avLst/>
            </a:prstGeom>
            <a:noFill/>
            <a:ln w="3175" cap="flat" cmpd="sng" algn="ctr">
              <a:solidFill>
                <a:srgbClr val="012169"/>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87" b="0"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endParaRPr>
            </a:p>
          </p:txBody>
        </p:sp>
        <p:sp>
          <p:nvSpPr>
            <p:cNvPr id="11" name="Rectangle 10">
              <a:extLst>
                <a:ext uri="{FF2B5EF4-FFF2-40B4-BE49-F238E27FC236}">
                  <a16:creationId xmlns:a16="http://schemas.microsoft.com/office/drawing/2014/main" id="{55ED24AC-5AF1-754B-AAB0-7B47B9E8B3B7}"/>
                </a:ext>
              </a:extLst>
            </p:cNvPr>
            <p:cNvSpPr/>
            <p:nvPr/>
          </p:nvSpPr>
          <p:spPr>
            <a:xfrm>
              <a:off x="7316101" y="1268705"/>
              <a:ext cx="2130333" cy="242834"/>
            </a:xfrm>
            <a:prstGeom prst="rect">
              <a:avLst/>
            </a:prstGeom>
            <a:solidFill>
              <a:srgbClr val="012169"/>
            </a:solidFill>
            <a:ln w="3175" cap="flat" cmpd="sng" algn="ctr">
              <a:solidFill>
                <a:srgbClr val="012169"/>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7" b="1"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rPr>
                <a:t>Central Bank of Kuwait</a:t>
              </a:r>
            </a:p>
          </p:txBody>
        </p:sp>
        <p:sp>
          <p:nvSpPr>
            <p:cNvPr id="12" name="Rectangle 11">
              <a:extLst>
                <a:ext uri="{FF2B5EF4-FFF2-40B4-BE49-F238E27FC236}">
                  <a16:creationId xmlns:a16="http://schemas.microsoft.com/office/drawing/2014/main" id="{CA6F606A-44DF-967A-EE0D-A6E661BD4CA1}"/>
                </a:ext>
              </a:extLst>
            </p:cNvPr>
            <p:cNvSpPr/>
            <p:nvPr/>
          </p:nvSpPr>
          <p:spPr>
            <a:xfrm>
              <a:off x="7316101" y="2242541"/>
              <a:ext cx="2130333" cy="318039"/>
            </a:xfrm>
            <a:prstGeom prst="rect">
              <a:avLst/>
            </a:prstGeom>
            <a:solidFill>
              <a:srgbClr val="012169"/>
            </a:solidFill>
            <a:ln w="3175" cap="flat" cmpd="sng" algn="ctr">
              <a:solidFill>
                <a:srgbClr val="012169"/>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17" b="1" i="0" u="none" strike="noStrike" kern="1200" cap="none" spc="0" normalizeH="0" baseline="0" noProof="0" dirty="0">
                  <a:ln>
                    <a:noFill/>
                  </a:ln>
                  <a:solidFill>
                    <a:srgbClr val="FFFFFF"/>
                  </a:solidFill>
                  <a:effectLst/>
                  <a:uLnTx/>
                  <a:uFillTx/>
                  <a:latin typeface="Verdana"/>
                  <a:ea typeface="Open Sans Light" panose="020B0306030504020204" pitchFamily="34" charset="0"/>
                  <a:cs typeface="Open Sans Light" panose="020B0306030504020204" pitchFamily="34" charset="0"/>
                </a:rPr>
                <a:t>Project  Details</a:t>
              </a:r>
            </a:p>
          </p:txBody>
        </p:sp>
        <p:sp>
          <p:nvSpPr>
            <p:cNvPr id="13" name="Rectangle 12">
              <a:extLst>
                <a:ext uri="{FF2B5EF4-FFF2-40B4-BE49-F238E27FC236}">
                  <a16:creationId xmlns:a16="http://schemas.microsoft.com/office/drawing/2014/main" id="{9F9CCD98-5F66-EB74-7297-2722319E6D4A}"/>
                </a:ext>
              </a:extLst>
            </p:cNvPr>
            <p:cNvSpPr/>
            <p:nvPr/>
          </p:nvSpPr>
          <p:spPr>
            <a:xfrm>
              <a:off x="556176" y="2582857"/>
              <a:ext cx="2068107" cy="816566"/>
            </a:xfrm>
            <a:prstGeom prst="rect">
              <a:avLst/>
            </a:prstGeom>
          </p:spPr>
          <p:txBody>
            <a:bodyPr wrap="square" lIns="72018" tIns="36010" rIns="72018" bIns="36010">
              <a:spAutoFit/>
            </a:bodyPr>
            <a:lstStyle/>
            <a:p>
              <a:pPr marL="154145" marR="0" lvl="0" indent="-154145"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7" b="1" i="0" u="none" strike="noStrike" kern="1200" cap="none" spc="0" normalizeH="0" baseline="0" noProof="0" dirty="0">
                <a:ln>
                  <a:noFill/>
                </a:ln>
                <a:solidFill>
                  <a:prstClr val="black"/>
                </a:solidFill>
                <a:effectLst/>
                <a:uLnTx/>
                <a:uFillTx/>
                <a:latin typeface="Verdana"/>
                <a:ea typeface="+mn-ea"/>
                <a:cs typeface="+mn-cs"/>
              </a:endParaRPr>
            </a:p>
            <a:p>
              <a:pPr marL="154145" marR="0" lvl="0" indent="-154145"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7" b="1" i="0" u="none" strike="noStrike" kern="1200" cap="none" spc="0" normalizeH="0" baseline="0" noProof="0" dirty="0">
                <a:ln>
                  <a:noFill/>
                </a:ln>
                <a:solidFill>
                  <a:prstClr val="black"/>
                </a:solidFill>
                <a:effectLst/>
                <a:uLnTx/>
                <a:uFillTx/>
                <a:latin typeface="Verdana"/>
                <a:ea typeface="+mn-ea"/>
                <a:cs typeface="+mn-cs"/>
              </a:endParaRPr>
            </a:p>
            <a:p>
              <a:pPr marL="0" marR="0" lvl="0" indent="0" defTabSz="822107" eaLnBrk="1" fontAlgn="auto" latinLnBrk="0" hangingPunct="1">
                <a:lnSpc>
                  <a:spcPct val="100000"/>
                </a:lnSpc>
                <a:spcBef>
                  <a:spcPts val="272"/>
                </a:spcBef>
                <a:spcAft>
                  <a:spcPts val="0"/>
                </a:spcAft>
                <a:buClrTx/>
                <a:buSzTx/>
                <a:buFontTx/>
                <a:buNone/>
                <a:tabLst/>
                <a:defRPr/>
              </a:pPr>
              <a:endParaRPr kumimoji="0" lang="en-US" sz="807"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54145" marR="0" lvl="0" indent="-154145" defTabSz="822107" eaLnBrk="1" fontAlgn="auto" latinLnBrk="0" hangingPunct="1">
                <a:lnSpc>
                  <a:spcPct val="100000"/>
                </a:lnSpc>
                <a:spcBef>
                  <a:spcPts val="272"/>
                </a:spcBef>
                <a:spcAft>
                  <a:spcPts val="0"/>
                </a:spcAft>
                <a:buClrTx/>
                <a:buSzTx/>
                <a:buFont typeface="Arial" panose="020B0604020202020204" pitchFamily="34" charset="0"/>
                <a:buChar char="•"/>
                <a:tabLst/>
                <a:defRPr/>
              </a:pPr>
              <a:endParaRPr kumimoji="0" lang="en-US" sz="807"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defTabSz="822107" eaLnBrk="1" fontAlgn="auto" latinLnBrk="0" hangingPunct="1">
                <a:lnSpc>
                  <a:spcPct val="100000"/>
                </a:lnSpc>
                <a:spcBef>
                  <a:spcPts val="272"/>
                </a:spcBef>
                <a:spcAft>
                  <a:spcPts val="0"/>
                </a:spcAft>
                <a:buClrTx/>
                <a:buSzTx/>
                <a:buFontTx/>
                <a:buNone/>
                <a:tabLst/>
                <a:defRPr/>
              </a:pPr>
              <a:endParaRPr kumimoji="0" lang="en-US" sz="807"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Rectangle 13">
              <a:extLst>
                <a:ext uri="{FF2B5EF4-FFF2-40B4-BE49-F238E27FC236}">
                  <a16:creationId xmlns:a16="http://schemas.microsoft.com/office/drawing/2014/main" id="{7FE4C50D-7C64-EC82-86DE-7921B94D38FC}"/>
                </a:ext>
              </a:extLst>
            </p:cNvPr>
            <p:cNvSpPr/>
            <p:nvPr/>
          </p:nvSpPr>
          <p:spPr>
            <a:xfrm>
              <a:off x="5040568" y="2560580"/>
              <a:ext cx="2179735" cy="1200329"/>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Deloitte &amp; Touche M.E. was requested to perform a Business Impact Analysis for all Business and Support functions of Mubadala (the investment arm of the Government of the State of Abu Dhabi) in order to drive the next steps in the implementation of the Business Continuity and Disaster Recovery initiatives</a:t>
              </a:r>
            </a:p>
          </p:txBody>
        </p:sp>
        <p:sp>
          <p:nvSpPr>
            <p:cNvPr id="15" name="Rectangle 14">
              <a:extLst>
                <a:ext uri="{FF2B5EF4-FFF2-40B4-BE49-F238E27FC236}">
                  <a16:creationId xmlns:a16="http://schemas.microsoft.com/office/drawing/2014/main" id="{111AC70A-2AC3-58BB-23CD-8335088219AB}"/>
                </a:ext>
              </a:extLst>
            </p:cNvPr>
            <p:cNvSpPr/>
            <p:nvPr/>
          </p:nvSpPr>
          <p:spPr>
            <a:xfrm>
              <a:off x="485260" y="2576384"/>
              <a:ext cx="2138349" cy="2554545"/>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Deloitte &amp; Touche M.E. was engaged to implement an end-to-end Enterprise Risk Management &amp; Business Continuity Management system for a key governmental entity in Dubai, a municipal body of the free zone. The project aims at achieving compliance with ISO22301 for Business Continuity Management Program. </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The project aims to establish the BCM governance framework, perform a Business Impact Analysis and Threat Assessment workshops to prioritize critical processes, develop BC strategy &amp; plan &amp; conduct BCM exercising as part of the implementation support.  The total project duration is 12 months covering 20 departments.</a:t>
              </a:r>
            </a:p>
          </p:txBody>
        </p:sp>
        <p:pic>
          <p:nvPicPr>
            <p:cNvPr id="16" name="Picture 15">
              <a:extLst>
                <a:ext uri="{FF2B5EF4-FFF2-40B4-BE49-F238E27FC236}">
                  <a16:creationId xmlns:a16="http://schemas.microsoft.com/office/drawing/2014/main" id="{698CA837-F31E-5C49-A1B2-903D1F6DEE52}"/>
                </a:ext>
              </a:extLst>
            </p:cNvPr>
            <p:cNvPicPr>
              <a:picLocks noChangeAspect="1"/>
            </p:cNvPicPr>
            <p:nvPr/>
          </p:nvPicPr>
          <p:blipFill>
            <a:blip r:embed="rId3"/>
            <a:stretch>
              <a:fillRect/>
            </a:stretch>
          </p:blipFill>
          <p:spPr>
            <a:xfrm>
              <a:off x="903861" y="1620695"/>
              <a:ext cx="1290064" cy="524089"/>
            </a:xfrm>
            <a:prstGeom prst="rect">
              <a:avLst/>
            </a:prstGeom>
          </p:spPr>
        </p:pic>
        <p:sp>
          <p:nvSpPr>
            <p:cNvPr id="17" name="Rectangle 16">
              <a:extLst>
                <a:ext uri="{FF2B5EF4-FFF2-40B4-BE49-F238E27FC236}">
                  <a16:creationId xmlns:a16="http://schemas.microsoft.com/office/drawing/2014/main" id="{F5D22A93-A8ED-1E2A-AF6E-D01F7C4A2CAD}"/>
                </a:ext>
              </a:extLst>
            </p:cNvPr>
            <p:cNvSpPr/>
            <p:nvPr/>
          </p:nvSpPr>
          <p:spPr>
            <a:xfrm>
              <a:off x="2761381" y="1268704"/>
              <a:ext cx="2131851" cy="4961767"/>
            </a:xfrm>
            <a:prstGeom prst="rect">
              <a:avLst/>
            </a:prstGeom>
            <a:noFill/>
            <a:ln w="3175" cap="flat" cmpd="sng" algn="ctr">
              <a:solidFill>
                <a:srgbClr val="86BC2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87" b="0"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endParaRPr>
            </a:p>
          </p:txBody>
        </p:sp>
        <p:sp>
          <p:nvSpPr>
            <p:cNvPr id="18" name="Rectangle 17">
              <a:extLst>
                <a:ext uri="{FF2B5EF4-FFF2-40B4-BE49-F238E27FC236}">
                  <a16:creationId xmlns:a16="http://schemas.microsoft.com/office/drawing/2014/main" id="{EE049FB5-8CEB-3865-DE31-739F8732A869}"/>
                </a:ext>
              </a:extLst>
            </p:cNvPr>
            <p:cNvSpPr/>
            <p:nvPr/>
          </p:nvSpPr>
          <p:spPr>
            <a:xfrm>
              <a:off x="2761380" y="1268705"/>
              <a:ext cx="2130333" cy="242834"/>
            </a:xfrm>
            <a:prstGeom prst="rect">
              <a:avLst/>
            </a:prstGeom>
            <a:solidFill>
              <a:srgbClr val="86BC25"/>
            </a:solidFill>
            <a:ln w="3175" cap="flat" cmpd="sng" algn="ctr">
              <a:solidFill>
                <a:srgbClr val="86BC2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717" b="1" i="0" u="none" strike="noStrike" kern="1200" cap="none" spc="0" normalizeH="0" baseline="0" noProof="0" dirty="0">
                  <a:ln>
                    <a:noFill/>
                  </a:ln>
                  <a:solidFill>
                    <a:prstClr val="white"/>
                  </a:solidFill>
                  <a:effectLst/>
                  <a:uLnTx/>
                  <a:uFillTx/>
                  <a:latin typeface="Verdana"/>
                  <a:ea typeface="Open Sans Light" panose="020B0306030504020204" pitchFamily="34" charset="0"/>
                  <a:cs typeface="Open Sans Light" panose="020B0306030504020204" pitchFamily="34" charset="0"/>
                </a:rPr>
                <a:t>Abu Dhabi Police GHQ</a:t>
              </a:r>
            </a:p>
          </p:txBody>
        </p:sp>
        <p:sp>
          <p:nvSpPr>
            <p:cNvPr id="19" name="Rectangle 18">
              <a:extLst>
                <a:ext uri="{FF2B5EF4-FFF2-40B4-BE49-F238E27FC236}">
                  <a16:creationId xmlns:a16="http://schemas.microsoft.com/office/drawing/2014/main" id="{44903A92-BF52-A399-9BF7-C099FB676E2A}"/>
                </a:ext>
              </a:extLst>
            </p:cNvPr>
            <p:cNvSpPr/>
            <p:nvPr/>
          </p:nvSpPr>
          <p:spPr>
            <a:xfrm>
              <a:off x="2761380" y="2242541"/>
              <a:ext cx="2130333" cy="318039"/>
            </a:xfrm>
            <a:prstGeom prst="rect">
              <a:avLst/>
            </a:prstGeom>
            <a:solidFill>
              <a:srgbClr val="86BC25"/>
            </a:solidFill>
            <a:ln w="3175" cap="flat" cmpd="sng" algn="ctr">
              <a:solidFill>
                <a:srgbClr val="86BC25"/>
              </a:solidFill>
              <a:prstDash val="solid"/>
            </a:ln>
            <a:effectLst/>
          </p:spPr>
          <p:txBody>
            <a:bodyPr lIns="72018" tIns="36010" rIns="72018" bIns="360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17" b="1" i="0" u="none" strike="noStrike" kern="1200" cap="none" spc="0" normalizeH="0" baseline="0" noProof="0" dirty="0">
                  <a:ln>
                    <a:noFill/>
                  </a:ln>
                  <a:solidFill>
                    <a:srgbClr val="FFFFFF"/>
                  </a:solidFill>
                  <a:effectLst/>
                  <a:uLnTx/>
                  <a:uFillTx/>
                  <a:latin typeface="Verdana"/>
                  <a:ea typeface="Open Sans Light" panose="020B0306030504020204" pitchFamily="34" charset="0"/>
                  <a:cs typeface="Open Sans Light" panose="020B0306030504020204" pitchFamily="34" charset="0"/>
                </a:rPr>
                <a:t>Project  Details</a:t>
              </a:r>
            </a:p>
          </p:txBody>
        </p:sp>
        <p:pic>
          <p:nvPicPr>
            <p:cNvPr id="20" name="Picture 19">
              <a:extLst>
                <a:ext uri="{FF2B5EF4-FFF2-40B4-BE49-F238E27FC236}">
                  <a16:creationId xmlns:a16="http://schemas.microsoft.com/office/drawing/2014/main" id="{F28714A2-7CB9-9C0D-8075-5908C7FF3E49}"/>
                </a:ext>
              </a:extLst>
            </p:cNvPr>
            <p:cNvPicPr/>
            <p:nvPr/>
          </p:nvPicPr>
          <p:blipFill rotWithShape="1">
            <a:blip r:embed="rId4">
              <a:extLst>
                <a:ext uri="{28A0092B-C50C-407E-A947-70E740481C1C}">
                  <a14:useLocalDpi xmlns:a14="http://schemas.microsoft.com/office/drawing/2010/main"/>
                </a:ext>
              </a:extLst>
            </a:blip>
            <a:srcRect t="4310"/>
            <a:stretch/>
          </p:blipFill>
          <p:spPr>
            <a:xfrm>
              <a:off x="3418840" y="1533816"/>
              <a:ext cx="815411" cy="699455"/>
            </a:xfrm>
            <a:prstGeom prst="rect">
              <a:avLst/>
            </a:prstGeom>
          </p:spPr>
        </p:pic>
        <p:sp>
          <p:nvSpPr>
            <p:cNvPr id="21" name="Rectangle 20">
              <a:extLst>
                <a:ext uri="{FF2B5EF4-FFF2-40B4-BE49-F238E27FC236}">
                  <a16:creationId xmlns:a16="http://schemas.microsoft.com/office/drawing/2014/main" id="{F0BADC9E-04EA-BA17-2871-34BDD276A628}"/>
                </a:ext>
              </a:extLst>
            </p:cNvPr>
            <p:cNvSpPr/>
            <p:nvPr/>
          </p:nvSpPr>
          <p:spPr>
            <a:xfrm>
              <a:off x="2751173" y="2560580"/>
              <a:ext cx="2140540" cy="36625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Deloitte &amp; Touche M.E. is implementing a BCM program with Abu Dhabi Police (ADP). The project aims at achieving compliance with ISO22301 Business Continuity Management program and National Crisis and NCEMA 7000 standards. We are engaged to: </a:t>
              </a:r>
            </a:p>
            <a:p>
              <a:pPr marL="169914" marR="0" lvl="0" indent="-169914"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Perform Current State Assessment</a:t>
              </a:r>
            </a:p>
            <a:p>
              <a:pPr marL="169914" marR="0" lvl="0" indent="-169914"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Create BCM Governance Framework</a:t>
              </a:r>
            </a:p>
            <a:p>
              <a:pPr marL="169914" marR="0" lvl="0" indent="-169914"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Perform a Business Impact Analysis and Threat Assessment</a:t>
              </a:r>
            </a:p>
            <a:p>
              <a:pPr marL="169914" marR="0" lvl="0" indent="-169914"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Business Continuity Strategy Development &amp; Implementation</a:t>
              </a:r>
            </a:p>
            <a:p>
              <a:pPr marL="169914" marR="0" lvl="0" indent="-169914"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BCM Training and Exercising </a:t>
              </a:r>
            </a:p>
            <a:p>
              <a:pPr marL="169914" marR="0" lvl="0" indent="-169914"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791"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Critical design considerations like alignment with the requirements of NCEMA; integration with Enterprise Risk Management System, Crisis Management System, IT Disaster Recovery Planning &amp; Procedures, Health, Safety &amp; Environment System, ADP’s Quality Management System; and abiding by the Sheikh Khalifa Excellence Award have been incorporated within our approach to ensure successful implementation.</a:t>
              </a:r>
            </a:p>
          </p:txBody>
        </p:sp>
        <p:sp>
          <p:nvSpPr>
            <p:cNvPr id="22" name="Rectangle 21">
              <a:extLst>
                <a:ext uri="{FF2B5EF4-FFF2-40B4-BE49-F238E27FC236}">
                  <a16:creationId xmlns:a16="http://schemas.microsoft.com/office/drawing/2014/main" id="{EF0120C2-45B4-9BEA-62A4-BF85FC6395A0}"/>
                </a:ext>
              </a:extLst>
            </p:cNvPr>
            <p:cNvSpPr/>
            <p:nvPr/>
          </p:nvSpPr>
          <p:spPr>
            <a:xfrm>
              <a:off x="7326734" y="2566489"/>
              <a:ext cx="2130333" cy="292387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791" b="0" i="0" u="none" strike="noStrike" kern="1200" cap="none" spc="0" normalizeH="0" baseline="0" noProof="0" dirty="0">
                  <a:ln>
                    <a:noFill/>
                  </a:ln>
                  <a:solidFill>
                    <a:prstClr val="black"/>
                  </a:solidFill>
                  <a:effectLst/>
                  <a:uLnTx/>
                  <a:uFillTx/>
                  <a:latin typeface="Verdana"/>
                  <a:ea typeface="+mn-ea"/>
                  <a:cs typeface="+mn-cs"/>
                </a:rPr>
                <a:t>Deloitte &amp; Touche M.E. led the development and implementation efforts for a comprehensive business continuity management program for the Central Bank of Kuwait.  We began our efforts with a bank-wide business impact analysis, resulting in a detailed, requirements report, outlining the recovery time and recovery point objectives for the bank’s critical business processes.  Each application supporting the various processes was also identified, along with its corresponding recovery objectives.  Using the requirements identified, we developed strategies, designed and documented, business continuity plans for each of the central bank’s critical processes.  We documented recovery plan covering the BETH3 asset mix outlined in Deloitte’s recommended BCM methodology.</a:t>
              </a:r>
            </a:p>
          </p:txBody>
        </p:sp>
        <p:pic>
          <p:nvPicPr>
            <p:cNvPr id="23" name="Picture 22" descr="C:\Users\haammar\AppData\Local\Microsoft\Windows\Temporary Internet Files\Content.Outlook\NVB6F3QA\CBK - LOGO.png">
              <a:extLst>
                <a:ext uri="{FF2B5EF4-FFF2-40B4-BE49-F238E27FC236}">
                  <a16:creationId xmlns:a16="http://schemas.microsoft.com/office/drawing/2014/main" id="{767423AA-D50A-52B9-948C-88EB442AD1C5}"/>
                </a:ext>
              </a:extLst>
            </p:cNvPr>
            <p:cNvPicPr/>
            <p:nvPr/>
          </p:nvPicPr>
          <p:blipFill>
            <a:blip r:embed="rId5" cstate="print"/>
            <a:srcRect/>
            <a:stretch>
              <a:fillRect/>
            </a:stretch>
          </p:blipFill>
          <p:spPr bwMode="auto">
            <a:xfrm>
              <a:off x="7999177" y="1501393"/>
              <a:ext cx="783444" cy="735392"/>
            </a:xfrm>
            <a:prstGeom prst="rect">
              <a:avLst/>
            </a:prstGeom>
            <a:noFill/>
            <a:ln w="9525">
              <a:noFill/>
              <a:miter lim="800000"/>
              <a:headEnd/>
              <a:tailEnd/>
            </a:ln>
          </p:spPr>
        </p:pic>
        <p:pic>
          <p:nvPicPr>
            <p:cNvPr id="24" name="Picture 23" descr="Mubadala">
              <a:extLst>
                <a:ext uri="{FF2B5EF4-FFF2-40B4-BE49-F238E27FC236}">
                  <a16:creationId xmlns:a16="http://schemas.microsoft.com/office/drawing/2014/main" id="{DDA22949-45FF-68B3-C6AA-E1960322DDA0}"/>
                </a:ext>
              </a:extLst>
            </p:cNvPr>
            <p:cNvPicPr/>
            <p:nvPr/>
          </p:nvPicPr>
          <p:blipFill>
            <a:blip r:embed="rId6" cstate="email">
              <a:extLst>
                <a:ext uri="{28A0092B-C50C-407E-A947-70E740481C1C}">
                  <a14:useLocalDpi xmlns:a14="http://schemas.microsoft.com/office/drawing/2010/main"/>
                </a:ext>
              </a:extLst>
            </a:blip>
            <a:srcRect/>
            <a:stretch>
              <a:fillRect/>
            </a:stretch>
          </p:blipFill>
          <p:spPr bwMode="auto">
            <a:xfrm>
              <a:off x="5448783" y="1700213"/>
              <a:ext cx="1310432" cy="414317"/>
            </a:xfrm>
            <a:prstGeom prst="rect">
              <a:avLst/>
            </a:prstGeom>
            <a:noFill/>
            <a:ln w="9525">
              <a:noFill/>
              <a:miter lim="800000"/>
              <a:headEnd/>
              <a:tailEnd/>
            </a:ln>
          </p:spPr>
        </p:pic>
      </p:grpSp>
    </p:spTree>
    <p:extLst>
      <p:ext uri="{BB962C8B-B14F-4D97-AF65-F5344CB8AC3E}">
        <p14:creationId xmlns:p14="http://schemas.microsoft.com/office/powerpoint/2010/main" val="1402355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2" name="Title 1"/>
          <p:cNvSpPr txBox="1">
            <a:spLocks noGrp="1"/>
          </p:cNvSpPr>
          <p:nvPr>
            <p:ph type="title"/>
          </p:nvPr>
        </p:nvSpPr>
        <p:spPr>
          <a:prstGeom prst="rect">
            <a:avLst/>
          </a:prstGeom>
        </p:spPr>
        <p:txBody>
          <a:bodyPr/>
          <a:lstStyle/>
          <a:p>
            <a:r>
              <a:rPr lang="en-US" dirty="0">
                <a:latin typeface="+mn-lt"/>
              </a:rPr>
              <a:t>About Deloitte</a:t>
            </a:r>
            <a:endParaRPr dirty="0">
              <a:latin typeface="+mn-lt"/>
            </a:endParaRPr>
          </a:p>
        </p:txBody>
      </p:sp>
    </p:spTree>
    <p:extLst>
      <p:ext uri="{BB962C8B-B14F-4D97-AF65-F5344CB8AC3E}">
        <p14:creationId xmlns:p14="http://schemas.microsoft.com/office/powerpoint/2010/main" val="3520647913"/>
      </p:ext>
    </p:extLst>
  </p:cSld>
  <p:clrMapOvr>
    <a:masterClrMapping/>
  </p:clrMapOvr>
  <p:transition spd="slow">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34625A-4F50-4216-97E9-D8C18D7981AA}"/>
              </a:ext>
            </a:extLst>
          </p:cNvPr>
          <p:cNvSpPr>
            <a:spLocks noGrp="1"/>
          </p:cNvSpPr>
          <p:nvPr>
            <p:ph type="body" sz="quarter" idx="1"/>
          </p:nvPr>
        </p:nvSpPr>
        <p:spPr/>
        <p:txBody>
          <a:bodyPr/>
          <a:lstStyle/>
          <a:p>
            <a:r>
              <a:rPr kumimoji="0" lang="en-US" sz="1400" b="1" i="0" u="none" strike="noStrike" kern="1200" cap="none" spc="0" normalizeH="0" baseline="0" noProof="0" dirty="0">
                <a:ln>
                  <a:noFill/>
                </a:ln>
                <a:solidFill>
                  <a:srgbClr val="575757"/>
                </a:solidFill>
                <a:effectLst/>
                <a:uLnTx/>
                <a:uFillTx/>
                <a:latin typeface="+mn-lt"/>
                <a:ea typeface="Open Sans Light" panose="020B0306030504020204" pitchFamily="34" charset="0"/>
                <a:cs typeface="Open Sans Light" panose="020B0306030504020204" pitchFamily="34" charset="0"/>
              </a:rPr>
              <a:t>Global Presence</a:t>
            </a:r>
          </a:p>
        </p:txBody>
      </p:sp>
      <p:sp>
        <p:nvSpPr>
          <p:cNvPr id="3" name="Title 2">
            <a:extLst>
              <a:ext uri="{FF2B5EF4-FFF2-40B4-BE49-F238E27FC236}">
                <a16:creationId xmlns:a16="http://schemas.microsoft.com/office/drawing/2014/main" id="{A3C6915B-73DD-4DB7-BF83-AC8365F75693}"/>
              </a:ext>
            </a:extLst>
          </p:cNvPr>
          <p:cNvSpPr>
            <a:spLocks noGrp="1"/>
          </p:cNvSpPr>
          <p:nvPr>
            <p:ph type="title"/>
          </p:nvPr>
        </p:nvSpPr>
        <p:spPr/>
        <p:txBody>
          <a:bodyPr/>
          <a:lstStyle/>
          <a:p>
            <a:r>
              <a:rPr lang="en-US" sz="2000" dirty="0">
                <a:solidFill>
                  <a:schemeClr val="tx2">
                    <a:lumMod val="50000"/>
                  </a:schemeClr>
                </a:solidFill>
                <a:latin typeface="+mn-lt"/>
                <a:ea typeface="Open Sans Semibold" panose="020B0706030804020204" pitchFamily="34" charset="0"/>
                <a:cs typeface="Open Sans Semibold" panose="020B0706030804020204" pitchFamily="34" charset="0"/>
              </a:rPr>
              <a:t>About Deloitte</a:t>
            </a:r>
            <a:endParaRPr lang="en-US" dirty="0">
              <a:solidFill>
                <a:schemeClr val="tx2">
                  <a:lumMod val="50000"/>
                </a:schemeClr>
              </a:solidFill>
              <a:latin typeface="+mn-lt"/>
              <a:ea typeface="Open Sans Semibold" panose="020B0706030804020204" pitchFamily="34" charset="0"/>
              <a:cs typeface="Open Sans Semibold" panose="020B0706030804020204" pitchFamily="34" charset="0"/>
            </a:endParaRPr>
          </a:p>
        </p:txBody>
      </p:sp>
      <p:sp>
        <p:nvSpPr>
          <p:cNvPr id="36" name="Rectangle 35">
            <a:extLst>
              <a:ext uri="{FF2B5EF4-FFF2-40B4-BE49-F238E27FC236}">
                <a16:creationId xmlns:a16="http://schemas.microsoft.com/office/drawing/2014/main" id="{7E44F377-1D84-4951-9FB8-DCCA50F87DB6}"/>
              </a:ext>
            </a:extLst>
          </p:cNvPr>
          <p:cNvSpPr/>
          <p:nvPr/>
        </p:nvSpPr>
        <p:spPr bwMode="gray">
          <a:xfrm>
            <a:off x="7560950" y="1210540"/>
            <a:ext cx="4263390" cy="5181801"/>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7" name="Rectangle 36">
            <a:extLst>
              <a:ext uri="{FF2B5EF4-FFF2-40B4-BE49-F238E27FC236}">
                <a16:creationId xmlns:a16="http://schemas.microsoft.com/office/drawing/2014/main" id="{702B332A-98BE-4716-88CD-DAFBC1B9D2D4}"/>
              </a:ext>
            </a:extLst>
          </p:cNvPr>
          <p:cNvSpPr/>
          <p:nvPr/>
        </p:nvSpPr>
        <p:spPr>
          <a:xfrm>
            <a:off x="461211" y="1379013"/>
            <a:ext cx="3119387" cy="2154436"/>
          </a:xfrm>
          <a:prstGeom prst="rect">
            <a:avLst/>
          </a:prstGeom>
        </p:spPr>
        <p:txBody>
          <a:bodyPr wrap="square" lIns="0" tIns="0" rIns="0" bIns="0">
            <a:spAutoFit/>
          </a:bodyPr>
          <a:lstStyle/>
          <a:p>
            <a:pPr defTabSz="1219170" hangingPunct="1"/>
            <a:r>
              <a:rPr lang="en-US" sz="2800"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Our shared values guide the way we behave to make a positive, enduring impact.</a:t>
            </a:r>
          </a:p>
        </p:txBody>
      </p:sp>
      <p:sp>
        <p:nvSpPr>
          <p:cNvPr id="38" name="Rectangle 37">
            <a:extLst>
              <a:ext uri="{FF2B5EF4-FFF2-40B4-BE49-F238E27FC236}">
                <a16:creationId xmlns:a16="http://schemas.microsoft.com/office/drawing/2014/main" id="{CF939688-0B70-474A-ADF8-D9E93CCFC40E}"/>
              </a:ext>
            </a:extLst>
          </p:cNvPr>
          <p:cNvSpPr/>
          <p:nvPr/>
        </p:nvSpPr>
        <p:spPr>
          <a:xfrm>
            <a:off x="3949424" y="1396601"/>
            <a:ext cx="2857499" cy="3231654"/>
          </a:xfrm>
          <a:prstGeom prst="rect">
            <a:avLst/>
          </a:prstGeom>
        </p:spPr>
        <p:txBody>
          <a:bodyPr wrap="square" lIns="0" tIns="0" rIns="0" bIns="0">
            <a:spAutoFit/>
          </a:bodyPr>
          <a:lstStyle/>
          <a:p>
            <a:pPr defTabSz="1219170" hangingPunct="1"/>
            <a:r>
              <a:rPr lang="en-US" sz="14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We contribute to society, building confidence and trust in the market, upholding the integrity of organizations, and supporting our communities.</a:t>
            </a:r>
          </a:p>
          <a:p>
            <a:pPr defTabSz="1219170" hangingPunct="1"/>
            <a:endParaRPr lang="en-US" sz="14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defTabSz="1219170" hangingPunct="1"/>
            <a:r>
              <a:rPr lang="en-US" sz="14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t the heart of everything we do is a set of Shared Values. These values serve as the basis for the decisions we make and the actions we take, enabling us to deliver impact how and where it matters most for Deloitte clients, our people, and society.</a:t>
            </a:r>
          </a:p>
          <a:p>
            <a:pPr defTabSz="1219170" hangingPunct="1"/>
            <a:endParaRPr lang="en-US" sz="14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9" name="TextBox 38">
            <a:extLst>
              <a:ext uri="{FF2B5EF4-FFF2-40B4-BE49-F238E27FC236}">
                <a16:creationId xmlns:a16="http://schemas.microsoft.com/office/drawing/2014/main" id="{0FC5322C-1152-4589-8541-6C617A6BFE6F}"/>
              </a:ext>
            </a:extLst>
          </p:cNvPr>
          <p:cNvSpPr txBox="1"/>
          <p:nvPr/>
        </p:nvSpPr>
        <p:spPr>
          <a:xfrm>
            <a:off x="367660" y="3756043"/>
            <a:ext cx="3119387" cy="2462213"/>
          </a:xfrm>
          <a:prstGeom prst="rect">
            <a:avLst/>
          </a:prstGeom>
          <a:noFill/>
        </p:spPr>
        <p:txBody>
          <a:bodyPr wrap="square">
            <a:spAutoFit/>
          </a:bodyPr>
          <a:lstStyle/>
          <a:p>
            <a:pPr defTabSz="1219170" hangingPunct="1">
              <a:defRPr/>
            </a:pPr>
            <a:r>
              <a:rPr lang="en-US" sz="14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Every day we challenge ourselves to do what matters most— for clients, for our people, and for society.</a:t>
            </a:r>
          </a:p>
          <a:p>
            <a:pPr defTabSz="1219170" hangingPunct="1">
              <a:defRPr/>
            </a:pPr>
            <a:endParaRPr lang="en-US" sz="14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defTabSz="1219170" hangingPunct="1">
              <a:defRPr/>
            </a:pPr>
            <a:r>
              <a:rPr lang="en-US" sz="14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We inspire our talented professionals to deliver outstanding value to clients, providing an exceptional career experience, and an inclusive and collaborative culture.</a:t>
            </a:r>
          </a:p>
          <a:p>
            <a:pPr defTabSz="1219170" hangingPunct="1">
              <a:defRPr/>
            </a:pPr>
            <a:endParaRPr lang="en-US" sz="14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0" name="TextBox 39">
            <a:extLst>
              <a:ext uri="{FF2B5EF4-FFF2-40B4-BE49-F238E27FC236}">
                <a16:creationId xmlns:a16="http://schemas.microsoft.com/office/drawing/2014/main" id="{0047786A-E45E-4242-AE8B-E3CD1DFE69B2}"/>
              </a:ext>
            </a:extLst>
          </p:cNvPr>
          <p:cNvSpPr txBox="1"/>
          <p:nvPr/>
        </p:nvSpPr>
        <p:spPr>
          <a:xfrm>
            <a:off x="7718084" y="1388518"/>
            <a:ext cx="3942304" cy="923330"/>
          </a:xfrm>
          <a:prstGeom prst="rect">
            <a:avLst/>
          </a:prstGeom>
          <a:solidFill>
            <a:srgbClr val="046A38"/>
          </a:solidFill>
        </p:spPr>
        <p:txBody>
          <a:bodyPr wrap="square">
            <a:spAutoFit/>
          </a:bodyPr>
          <a:lstStyle/>
          <a:p>
            <a:pPr defTabSz="1219170" hangingPunct="1"/>
            <a:r>
              <a:rPr lang="en-US" sz="900" b="1" kern="120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Lead the way</a:t>
            </a:r>
          </a:p>
          <a:p>
            <a:pPr defTabSz="1219170" hangingPunct="1"/>
            <a:r>
              <a:rPr lang="en-US" sz="900" kern="120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With our unmatched scale, scope, skill, and service excellence, Deloitte is not only leading the profession, but reinventing it for the future. And we are putting those same attributes to work in our communities, creating opportunity and leading the way to a better, stronger, and more sustainable world.</a:t>
            </a:r>
          </a:p>
        </p:txBody>
      </p:sp>
      <p:sp>
        <p:nvSpPr>
          <p:cNvPr id="41" name="TextBox 40">
            <a:extLst>
              <a:ext uri="{FF2B5EF4-FFF2-40B4-BE49-F238E27FC236}">
                <a16:creationId xmlns:a16="http://schemas.microsoft.com/office/drawing/2014/main" id="{CFD4F678-8804-4C2D-8D10-1FC3D65A25FA}"/>
              </a:ext>
            </a:extLst>
          </p:cNvPr>
          <p:cNvSpPr txBox="1"/>
          <p:nvPr/>
        </p:nvSpPr>
        <p:spPr>
          <a:xfrm>
            <a:off x="7718084" y="2424822"/>
            <a:ext cx="3942304" cy="784830"/>
          </a:xfrm>
          <a:prstGeom prst="rect">
            <a:avLst/>
          </a:prstGeom>
          <a:solidFill>
            <a:srgbClr val="86BC25"/>
          </a:solidFill>
        </p:spPr>
        <p:txBody>
          <a:bodyPr wrap="square">
            <a:spAutoFit/>
          </a:bodyPr>
          <a:lstStyle/>
          <a:p>
            <a:pPr defTabSz="1219170" hangingPunct="1"/>
            <a:r>
              <a:rPr lang="en-US" sz="900" b="1" kern="120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Serve with integrity</a:t>
            </a:r>
          </a:p>
          <a:p>
            <a:pPr defTabSz="1219170" hangingPunct="1"/>
            <a:r>
              <a:rPr lang="en-US" sz="900" kern="120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By acting ethically and with integrity, and serving as role models in our communities, Deloitte has earned the trust of clients, regulators, and the public. Upholding that trust is our single most important responsibility – the reason we do what is right, always.</a:t>
            </a:r>
          </a:p>
        </p:txBody>
      </p:sp>
      <p:sp>
        <p:nvSpPr>
          <p:cNvPr id="42" name="TextBox 41">
            <a:extLst>
              <a:ext uri="{FF2B5EF4-FFF2-40B4-BE49-F238E27FC236}">
                <a16:creationId xmlns:a16="http://schemas.microsoft.com/office/drawing/2014/main" id="{C9FC2D0F-7073-4100-9449-75CF658E2AC0}"/>
              </a:ext>
            </a:extLst>
          </p:cNvPr>
          <p:cNvSpPr txBox="1"/>
          <p:nvPr/>
        </p:nvSpPr>
        <p:spPr>
          <a:xfrm>
            <a:off x="7711945" y="3322626"/>
            <a:ext cx="3942303" cy="646331"/>
          </a:xfrm>
          <a:prstGeom prst="rect">
            <a:avLst/>
          </a:prstGeom>
          <a:solidFill>
            <a:srgbClr val="BAE370"/>
          </a:solidFill>
        </p:spPr>
        <p:txBody>
          <a:bodyPr wrap="square">
            <a:spAutoFit/>
          </a:bodyPr>
          <a:lstStyle/>
          <a:p>
            <a:pPr defTabSz="1219170" hangingPunct="1"/>
            <a:r>
              <a:rPr lang="en-US" sz="900" b="1" kern="120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rPr>
              <a:t>Take care of each other</a:t>
            </a:r>
          </a:p>
          <a:p>
            <a:pPr defTabSz="1219170" hangingPunct="1"/>
            <a:r>
              <a:rPr lang="en-US" sz="900" kern="120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rPr>
              <a:t>Deloitte’s culture is grounded in the understanding that “we are all in this together.” We look out for one another and prioritize respect, fairness, development, and well-being.</a:t>
            </a:r>
          </a:p>
        </p:txBody>
      </p:sp>
      <p:sp>
        <p:nvSpPr>
          <p:cNvPr id="43" name="TextBox 42">
            <a:extLst>
              <a:ext uri="{FF2B5EF4-FFF2-40B4-BE49-F238E27FC236}">
                <a16:creationId xmlns:a16="http://schemas.microsoft.com/office/drawing/2014/main" id="{B66464F0-B4C8-4E7A-A678-ECF5C380F84C}"/>
              </a:ext>
            </a:extLst>
          </p:cNvPr>
          <p:cNvSpPr txBox="1"/>
          <p:nvPr/>
        </p:nvSpPr>
        <p:spPr>
          <a:xfrm>
            <a:off x="7711945" y="4081931"/>
            <a:ext cx="3942303" cy="923330"/>
          </a:xfrm>
          <a:prstGeom prst="rect">
            <a:avLst/>
          </a:prstGeom>
          <a:solidFill>
            <a:srgbClr val="D9F1FA"/>
          </a:solidFill>
        </p:spPr>
        <p:txBody>
          <a:bodyPr wrap="square">
            <a:spAutoFit/>
          </a:bodyPr>
          <a:lstStyle/>
          <a:p>
            <a:pPr defTabSz="1219170" hangingPunct="1"/>
            <a:r>
              <a:rPr lang="en-US" sz="900" b="1" kern="120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rPr>
              <a:t>Foster inclusion</a:t>
            </a:r>
          </a:p>
          <a:p>
            <a:pPr defTabSz="1219170" hangingPunct="1"/>
            <a:r>
              <a:rPr lang="en-US" sz="900" kern="120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rPr>
              <a:t>We are at our best when we foster an inclusive culture and embrace diversity in all forms. We know this attracts top talent, enables innovation, and helps deliver well-rounded client solutions. We are committed to empowering all people to grow and achieve, accelerating diversity in leadership, and building balance for better</a:t>
            </a:r>
          </a:p>
        </p:txBody>
      </p:sp>
      <p:sp>
        <p:nvSpPr>
          <p:cNvPr id="44" name="TextBox 43">
            <a:extLst>
              <a:ext uri="{FF2B5EF4-FFF2-40B4-BE49-F238E27FC236}">
                <a16:creationId xmlns:a16="http://schemas.microsoft.com/office/drawing/2014/main" id="{53C0AEFF-F383-41D7-AD39-BEFC29344E85}"/>
              </a:ext>
            </a:extLst>
          </p:cNvPr>
          <p:cNvSpPr txBox="1"/>
          <p:nvPr/>
        </p:nvSpPr>
        <p:spPr>
          <a:xfrm>
            <a:off x="7711945" y="5118235"/>
            <a:ext cx="3942303" cy="1061829"/>
          </a:xfrm>
          <a:prstGeom prst="rect">
            <a:avLst/>
          </a:prstGeom>
          <a:solidFill>
            <a:srgbClr val="A3DEF4"/>
          </a:solidFill>
        </p:spPr>
        <p:txBody>
          <a:bodyPr wrap="square">
            <a:spAutoFit/>
          </a:bodyPr>
          <a:lstStyle/>
          <a:p>
            <a:pPr defTabSz="1219170" hangingPunct="1"/>
            <a:r>
              <a:rPr lang="en-US" sz="900" b="1" kern="120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rPr>
              <a:t>Collaborate for measurable impact</a:t>
            </a:r>
          </a:p>
          <a:p>
            <a:pPr defTabSz="1219170" hangingPunct="1"/>
            <a:r>
              <a:rPr lang="en-US" sz="900" kern="120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rPr>
              <a:t>We approach our work with a collaborative mindset, teaming across businesses, geographies, and skill sets to deliver tangible, measurable, attributable impact. We measure our success not only by metrics, but by the strength of the relationships we build, the level of innovation we bring to solving problems, and the company we keep as we deliver the best of Deloitte to the world.</a:t>
            </a:r>
          </a:p>
        </p:txBody>
      </p:sp>
    </p:spTree>
    <p:extLst>
      <p:ext uri="{BB962C8B-B14F-4D97-AF65-F5344CB8AC3E}">
        <p14:creationId xmlns:p14="http://schemas.microsoft.com/office/powerpoint/2010/main" val="3815032160"/>
      </p:ext>
    </p:extLst>
  </p:cSld>
  <p:clrMapOvr>
    <a:masterClrMapping/>
  </p:clrMapOvr>
  <p:transition spd="med"/>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34625A-4F50-4216-97E9-D8C18D7981AA}"/>
              </a:ext>
            </a:extLst>
          </p:cNvPr>
          <p:cNvSpPr>
            <a:spLocks noGrp="1"/>
          </p:cNvSpPr>
          <p:nvPr>
            <p:ph type="body" sz="quarter" idx="1"/>
          </p:nvPr>
        </p:nvSpPr>
        <p:spPr/>
        <p:txBody>
          <a:bodyPr/>
          <a:lstStyle/>
          <a:p>
            <a:r>
              <a:rPr kumimoji="0" lang="en-US" sz="1400" b="1" i="0" u="none" strike="noStrike" kern="1200" cap="none" spc="0" normalizeH="0" baseline="0" noProof="0" dirty="0">
                <a:ln>
                  <a:noFill/>
                </a:ln>
                <a:solidFill>
                  <a:srgbClr val="575757"/>
                </a:solidFill>
                <a:effectLst/>
                <a:uLnTx/>
                <a:uFillTx/>
                <a:latin typeface="+mn-lt"/>
                <a:ea typeface="Open Sans Light" panose="020B0306030504020204" pitchFamily="34" charset="0"/>
                <a:cs typeface="Open Sans Light" panose="020B0306030504020204" pitchFamily="34" charset="0"/>
              </a:rPr>
              <a:t>Our Most valuable brand</a:t>
            </a:r>
          </a:p>
        </p:txBody>
      </p:sp>
      <p:sp>
        <p:nvSpPr>
          <p:cNvPr id="3" name="Title 2">
            <a:extLst>
              <a:ext uri="{FF2B5EF4-FFF2-40B4-BE49-F238E27FC236}">
                <a16:creationId xmlns:a16="http://schemas.microsoft.com/office/drawing/2014/main" id="{A3C6915B-73DD-4DB7-BF83-AC8365F75693}"/>
              </a:ext>
            </a:extLst>
          </p:cNvPr>
          <p:cNvSpPr>
            <a:spLocks noGrp="1"/>
          </p:cNvSpPr>
          <p:nvPr>
            <p:ph type="title"/>
          </p:nvPr>
        </p:nvSpPr>
        <p:spPr/>
        <p:txBody>
          <a:bodyPr/>
          <a:lstStyle/>
          <a:p>
            <a:r>
              <a:rPr lang="en-US" sz="2000">
                <a:solidFill>
                  <a:schemeClr val="tx2">
                    <a:lumMod val="50000"/>
                  </a:schemeClr>
                </a:solidFill>
                <a:latin typeface="+mn-lt"/>
                <a:ea typeface="Open Sans Semibold" panose="020B0706030804020204" pitchFamily="34" charset="0"/>
                <a:cs typeface="Open Sans Semibold" panose="020B0706030804020204" pitchFamily="34" charset="0"/>
              </a:rPr>
              <a:t>About Deloitte</a:t>
            </a:r>
            <a:endParaRPr lang="en-US">
              <a:solidFill>
                <a:schemeClr val="tx2">
                  <a:lumMod val="50000"/>
                </a:schemeClr>
              </a:solidFill>
              <a:latin typeface="+mn-lt"/>
              <a:ea typeface="Open Sans Semibold" panose="020B0706030804020204" pitchFamily="34" charset="0"/>
              <a:cs typeface="Open Sans Semibold" panose="020B0706030804020204" pitchFamily="34" charset="0"/>
            </a:endParaRPr>
          </a:p>
        </p:txBody>
      </p:sp>
      <p:sp>
        <p:nvSpPr>
          <p:cNvPr id="12" name="Text Placeholder 3">
            <a:extLst>
              <a:ext uri="{FF2B5EF4-FFF2-40B4-BE49-F238E27FC236}">
                <a16:creationId xmlns:a16="http://schemas.microsoft.com/office/drawing/2014/main" id="{EDBE098B-7786-4DEA-A433-4898370FF853}"/>
              </a:ext>
            </a:extLst>
          </p:cNvPr>
          <p:cNvSpPr txBox="1">
            <a:spLocks/>
          </p:cNvSpPr>
          <p:nvPr/>
        </p:nvSpPr>
        <p:spPr>
          <a:xfrm>
            <a:off x="429955" y="1774129"/>
            <a:ext cx="4008121" cy="1615900"/>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chemeClr val="accent5"/>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defRPr/>
            </a:pPr>
            <a:r>
              <a:rPr lang="en-US" sz="28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onnecting for impact for more than </a:t>
            </a:r>
            <a:r>
              <a:rPr lang="en-US" sz="2800" b="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175</a:t>
            </a:r>
            <a:r>
              <a:rPr lang="en-US" sz="28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years.</a:t>
            </a:r>
            <a:endParaRPr lang="en-GB" sz="16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 name="Rectangle 12">
            <a:extLst>
              <a:ext uri="{FF2B5EF4-FFF2-40B4-BE49-F238E27FC236}">
                <a16:creationId xmlns:a16="http://schemas.microsoft.com/office/drawing/2014/main" id="{4FD93739-E5B8-44AD-95BB-F0E18DA0C572}"/>
              </a:ext>
            </a:extLst>
          </p:cNvPr>
          <p:cNvSpPr/>
          <p:nvPr/>
        </p:nvSpPr>
        <p:spPr>
          <a:xfrm>
            <a:off x="4860290" y="1805732"/>
            <a:ext cx="2719967" cy="1384995"/>
          </a:xfrm>
          <a:prstGeom prst="rect">
            <a:avLst/>
          </a:prstGeom>
          <a:noFill/>
          <a:ln>
            <a:noFill/>
          </a:ln>
        </p:spPr>
        <p:txBody>
          <a:bodyPr wrap="square">
            <a:spAutoFit/>
          </a:bodyPr>
          <a:lstStyle/>
          <a:p>
            <a:pPr defTabSz="1219170" hangingPunct="1">
              <a:defRPr/>
            </a:pPr>
            <a:r>
              <a:rPr lang="en-US" sz="12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Brand Finance has recognized Deloitte as the strongest and most valuable* “commercial services” brand in the world for the fourth consecutive year in 2022 ranking ahead of all major professional services competitors.</a:t>
            </a:r>
          </a:p>
        </p:txBody>
      </p:sp>
      <p:sp>
        <p:nvSpPr>
          <p:cNvPr id="14" name="TextBox 13">
            <a:extLst>
              <a:ext uri="{FF2B5EF4-FFF2-40B4-BE49-F238E27FC236}">
                <a16:creationId xmlns:a16="http://schemas.microsoft.com/office/drawing/2014/main" id="{68A7016A-C745-47C7-AF41-7A4AC241193D}"/>
              </a:ext>
            </a:extLst>
          </p:cNvPr>
          <p:cNvSpPr txBox="1"/>
          <p:nvPr/>
        </p:nvSpPr>
        <p:spPr>
          <a:xfrm>
            <a:off x="353755" y="6144905"/>
            <a:ext cx="6097712" cy="215444"/>
          </a:xfrm>
          <a:prstGeom prst="rect">
            <a:avLst/>
          </a:prstGeom>
          <a:noFill/>
        </p:spPr>
        <p:txBody>
          <a:bodyPr wrap="square">
            <a:spAutoFit/>
          </a:bodyPr>
          <a:lstStyle/>
          <a:p>
            <a:pPr defTabSz="1219170" hangingPunct="1"/>
            <a:r>
              <a:rPr lang="en-US" sz="8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ource: Brand Finance Global 500 2022 report</a:t>
            </a:r>
          </a:p>
        </p:txBody>
      </p:sp>
      <p:sp>
        <p:nvSpPr>
          <p:cNvPr id="15" name="TextBox 14">
            <a:extLst>
              <a:ext uri="{FF2B5EF4-FFF2-40B4-BE49-F238E27FC236}">
                <a16:creationId xmlns:a16="http://schemas.microsoft.com/office/drawing/2014/main" id="{C26A4282-21F1-4D69-B3D6-AD2E6C189773}"/>
              </a:ext>
            </a:extLst>
          </p:cNvPr>
          <p:cNvSpPr txBox="1"/>
          <p:nvPr/>
        </p:nvSpPr>
        <p:spPr>
          <a:xfrm>
            <a:off x="358843" y="2919824"/>
            <a:ext cx="4128121" cy="2308324"/>
          </a:xfrm>
          <a:prstGeom prst="rect">
            <a:avLst/>
          </a:prstGeom>
          <a:noFill/>
        </p:spPr>
        <p:txBody>
          <a:bodyPr wrap="square">
            <a:spAutoFit/>
          </a:bodyPr>
          <a:lstStyle/>
          <a:p>
            <a:pPr defTabSz="1219170" hangingPunct="1">
              <a:defRPr/>
            </a:pPr>
            <a:r>
              <a:rPr lang="en-US" sz="2400"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A brand isn't just a logo and a color palette. A brand is what people say about you when you leave the room. Their impressions of you. Their experience.</a:t>
            </a:r>
          </a:p>
        </p:txBody>
      </p:sp>
      <p:sp>
        <p:nvSpPr>
          <p:cNvPr id="16" name="TextBox 15">
            <a:extLst>
              <a:ext uri="{FF2B5EF4-FFF2-40B4-BE49-F238E27FC236}">
                <a16:creationId xmlns:a16="http://schemas.microsoft.com/office/drawing/2014/main" id="{E4EB45BF-F155-434E-9811-65BD2DF0D0A7}"/>
              </a:ext>
            </a:extLst>
          </p:cNvPr>
          <p:cNvSpPr txBox="1"/>
          <p:nvPr/>
        </p:nvSpPr>
        <p:spPr>
          <a:xfrm>
            <a:off x="4860290" y="3215791"/>
            <a:ext cx="2627684" cy="2123658"/>
          </a:xfrm>
          <a:prstGeom prst="rect">
            <a:avLst/>
          </a:prstGeom>
          <a:noFill/>
        </p:spPr>
        <p:txBody>
          <a:bodyPr wrap="square">
            <a:spAutoFit/>
          </a:bodyPr>
          <a:lstStyle/>
          <a:p>
            <a:pPr defTabSz="1219170" hangingPunct="1">
              <a:defRPr/>
            </a:pPr>
            <a:r>
              <a:rPr lang="en-US" sz="12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We have a driving purpose and ours is making an Impact that Matters for clients, people and society. </a:t>
            </a:r>
          </a:p>
          <a:p>
            <a:pPr defTabSz="1219170" hangingPunct="1">
              <a:defRPr/>
            </a:pPr>
            <a:r>
              <a:rPr lang="en-US" sz="12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Our resilience is rooted in our ability to respond, adapt and evolve as the world has evolved. Our brand is a symbol of that resilience and the connections we have forged that demonstrate the impact we make.</a:t>
            </a:r>
          </a:p>
        </p:txBody>
      </p:sp>
      <p:pic>
        <p:nvPicPr>
          <p:cNvPr id="17" name="Picture 16" descr="Graphical user interface&#10;&#10;Description automatically generated">
            <a:extLst>
              <a:ext uri="{FF2B5EF4-FFF2-40B4-BE49-F238E27FC236}">
                <a16:creationId xmlns:a16="http://schemas.microsoft.com/office/drawing/2014/main" id="{392E0B40-82C6-4D5B-994C-0AFC121D46BE}"/>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8282983" y="2180226"/>
            <a:ext cx="2404934" cy="2404934"/>
          </a:xfrm>
          <a:prstGeom prst="ellipse">
            <a:avLst/>
          </a:prstGeom>
        </p:spPr>
      </p:pic>
    </p:spTree>
    <p:extLst>
      <p:ext uri="{BB962C8B-B14F-4D97-AF65-F5344CB8AC3E}">
        <p14:creationId xmlns:p14="http://schemas.microsoft.com/office/powerpoint/2010/main" val="3341327640"/>
      </p:ext>
    </p:extLst>
  </p:cSld>
  <p:clrMapOvr>
    <a:masterClrMapping/>
  </p:clrMapOvr>
  <p:transition spd="med"/>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34625A-4F50-4216-97E9-D8C18D7981AA}"/>
              </a:ext>
            </a:extLst>
          </p:cNvPr>
          <p:cNvSpPr>
            <a:spLocks noGrp="1"/>
          </p:cNvSpPr>
          <p:nvPr>
            <p:ph type="body" sz="quarter" idx="1"/>
          </p:nvPr>
        </p:nvSpPr>
        <p:spPr/>
        <p:txBody>
          <a:bodyPr/>
          <a:lstStyle/>
          <a:p>
            <a:r>
              <a:rPr kumimoji="0" lang="en-US" sz="1400" b="1" i="0" u="none" strike="noStrike" kern="1200" cap="none" spc="0" normalizeH="0" baseline="0" noProof="0" dirty="0">
                <a:ln>
                  <a:noFill/>
                </a:ln>
                <a:solidFill>
                  <a:srgbClr val="575757"/>
                </a:solidFill>
                <a:effectLst/>
                <a:uLnTx/>
                <a:uFillTx/>
                <a:latin typeface="+mn-lt"/>
                <a:ea typeface="Open Sans Light" panose="020B0306030504020204" pitchFamily="34" charset="0"/>
                <a:cs typeface="Open Sans Light" panose="020B0306030504020204" pitchFamily="34" charset="0"/>
              </a:rPr>
              <a:t>Deloitte 175</a:t>
            </a:r>
          </a:p>
        </p:txBody>
      </p:sp>
      <p:sp>
        <p:nvSpPr>
          <p:cNvPr id="3" name="Title 2">
            <a:extLst>
              <a:ext uri="{FF2B5EF4-FFF2-40B4-BE49-F238E27FC236}">
                <a16:creationId xmlns:a16="http://schemas.microsoft.com/office/drawing/2014/main" id="{A3C6915B-73DD-4DB7-BF83-AC8365F75693}"/>
              </a:ext>
            </a:extLst>
          </p:cNvPr>
          <p:cNvSpPr>
            <a:spLocks noGrp="1"/>
          </p:cNvSpPr>
          <p:nvPr>
            <p:ph type="title"/>
          </p:nvPr>
        </p:nvSpPr>
        <p:spPr/>
        <p:txBody>
          <a:bodyPr/>
          <a:lstStyle/>
          <a:p>
            <a:r>
              <a:rPr lang="en-US" sz="2000">
                <a:solidFill>
                  <a:schemeClr val="tx2">
                    <a:lumMod val="50000"/>
                  </a:schemeClr>
                </a:solidFill>
                <a:latin typeface="+mn-lt"/>
                <a:ea typeface="Open Sans Semibold" panose="020B0706030804020204" pitchFamily="34" charset="0"/>
                <a:cs typeface="Open Sans Semibold" panose="020B0706030804020204" pitchFamily="34" charset="0"/>
              </a:rPr>
              <a:t>About Deloitte</a:t>
            </a:r>
            <a:endParaRPr lang="en-US">
              <a:solidFill>
                <a:schemeClr val="tx2">
                  <a:lumMod val="50000"/>
                </a:schemeClr>
              </a:solidFill>
              <a:latin typeface="+mn-lt"/>
              <a:ea typeface="Open Sans Semibold" panose="020B0706030804020204" pitchFamily="34" charset="0"/>
              <a:cs typeface="Open Sans Semibold" panose="020B0706030804020204" pitchFamily="34" charset="0"/>
            </a:endParaRPr>
          </a:p>
        </p:txBody>
      </p:sp>
      <p:sp>
        <p:nvSpPr>
          <p:cNvPr id="9" name="Text Placeholder 3">
            <a:extLst>
              <a:ext uri="{FF2B5EF4-FFF2-40B4-BE49-F238E27FC236}">
                <a16:creationId xmlns:a16="http://schemas.microsoft.com/office/drawing/2014/main" id="{B8735F90-5455-4360-88E5-2ACCCF387C09}"/>
              </a:ext>
            </a:extLst>
          </p:cNvPr>
          <p:cNvSpPr txBox="1">
            <a:spLocks/>
          </p:cNvSpPr>
          <p:nvPr/>
        </p:nvSpPr>
        <p:spPr>
          <a:xfrm>
            <a:off x="457200" y="1451838"/>
            <a:ext cx="4846320" cy="1713001"/>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chemeClr val="accent5"/>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defRPr/>
            </a:pPr>
            <a:r>
              <a:rPr lang="en-US" sz="24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2020 marked </a:t>
            </a:r>
            <a:r>
              <a:rPr lang="en-US" sz="2400" b="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175</a:t>
            </a:r>
            <a:r>
              <a:rPr lang="en-US" sz="24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years of Deloitte people making an impact that matters.</a:t>
            </a:r>
            <a:endParaRPr lang="en-GB" sz="24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0" name="Rectangle 9">
            <a:extLst>
              <a:ext uri="{FF2B5EF4-FFF2-40B4-BE49-F238E27FC236}">
                <a16:creationId xmlns:a16="http://schemas.microsoft.com/office/drawing/2014/main" id="{05D975A8-971B-4AE5-AE40-7CEC2E24CA6C}"/>
              </a:ext>
            </a:extLst>
          </p:cNvPr>
          <p:cNvSpPr/>
          <p:nvPr/>
        </p:nvSpPr>
        <p:spPr>
          <a:xfrm>
            <a:off x="6160341" y="1551563"/>
            <a:ext cx="4433372" cy="3785652"/>
          </a:xfrm>
          <a:prstGeom prst="rect">
            <a:avLst/>
          </a:prstGeom>
          <a:noFill/>
          <a:ln>
            <a:noFill/>
          </a:ln>
        </p:spPr>
        <p:txBody>
          <a:bodyPr wrap="square">
            <a:spAutoFit/>
          </a:bodyPr>
          <a:lstStyle/>
          <a:p>
            <a:pPr defTabSz="1219170" hangingPunct="1">
              <a:defRPr/>
            </a:pPr>
            <a:r>
              <a:rPr lang="en-US" sz="14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t is an enduring story that began in 1845 with William Welch Deloitte. An individual with an ideal, integrity and incentive to build something that would last. </a:t>
            </a:r>
          </a:p>
          <a:p>
            <a:pPr defTabSz="1219170" hangingPunct="1">
              <a:defRPr/>
            </a:pPr>
            <a:endParaRPr lang="en-US" sz="14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defTabSz="1219170" hangingPunct="1">
              <a:defRPr/>
            </a:pPr>
            <a:r>
              <a:rPr lang="en-US" sz="14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He was someone who understood the power of connection as a way to grow. It was the start of a thriving global organization, which has grown to more than 300,000 people proudly carrying forth a legacy of connection and collaboration. </a:t>
            </a:r>
          </a:p>
          <a:p>
            <a:pPr defTabSz="1219170" hangingPunct="1">
              <a:defRPr/>
            </a:pPr>
            <a:endParaRPr lang="en-US" sz="14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defTabSz="1219170" hangingPunct="1">
              <a:defRPr/>
            </a:pPr>
            <a:r>
              <a:rPr lang="en-US" sz="14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deals that remain the bedrock of today’s Deloitte—an organization with the multidimensional perspectives necessary to solve the world’s greatest challenges— in business and society.</a:t>
            </a:r>
          </a:p>
          <a:p>
            <a:pPr defTabSz="1219170" hangingPunct="1">
              <a:defRPr/>
            </a:pPr>
            <a:endParaRPr lang="en-US" sz="14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defTabSz="1219170" hangingPunct="1">
              <a:defRPr/>
            </a:pPr>
            <a:r>
              <a:rPr lang="en-US" sz="1600" b="1"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It’s in our DNA.</a:t>
            </a:r>
          </a:p>
        </p:txBody>
      </p:sp>
      <p:grpSp>
        <p:nvGrpSpPr>
          <p:cNvPr id="11" name="Graphic 4">
            <a:extLst>
              <a:ext uri="{FF2B5EF4-FFF2-40B4-BE49-F238E27FC236}">
                <a16:creationId xmlns:a16="http://schemas.microsoft.com/office/drawing/2014/main" id="{D3DE3DBC-2BC7-4167-AA34-FE1BBF38689D}"/>
              </a:ext>
            </a:extLst>
          </p:cNvPr>
          <p:cNvGrpSpPr/>
          <p:nvPr/>
        </p:nvGrpSpPr>
        <p:grpSpPr>
          <a:xfrm>
            <a:off x="1314021" y="2681196"/>
            <a:ext cx="2814028" cy="2811375"/>
            <a:chOff x="5708769" y="918179"/>
            <a:chExt cx="361674" cy="361333"/>
          </a:xfrm>
          <a:solidFill>
            <a:srgbClr val="00A3E0"/>
          </a:solidFill>
        </p:grpSpPr>
        <p:sp>
          <p:nvSpPr>
            <p:cNvPr id="12" name="Graphic 4">
              <a:extLst>
                <a:ext uri="{FF2B5EF4-FFF2-40B4-BE49-F238E27FC236}">
                  <a16:creationId xmlns:a16="http://schemas.microsoft.com/office/drawing/2014/main" id="{A2DCF187-B805-410F-92BA-26864BB0D84D}"/>
                </a:ext>
              </a:extLst>
            </p:cNvPr>
            <p:cNvSpPr/>
            <p:nvPr/>
          </p:nvSpPr>
          <p:spPr>
            <a:xfrm>
              <a:off x="5708769" y="918179"/>
              <a:ext cx="361674" cy="361333"/>
            </a:xfrm>
            <a:custGeom>
              <a:avLst/>
              <a:gdLst>
                <a:gd name="connsiteX0" fmla="*/ 180835 w 361674"/>
                <a:gd name="connsiteY0" fmla="*/ 349204 h 361333"/>
                <a:gd name="connsiteX1" fmla="*/ 12780 w 361674"/>
                <a:gd name="connsiteY1" fmla="*/ 181305 h 361333"/>
                <a:gd name="connsiteX2" fmla="*/ 180835 w 361674"/>
                <a:gd name="connsiteY2" fmla="*/ 13406 h 361333"/>
                <a:gd name="connsiteX3" fmla="*/ 348890 w 361674"/>
                <a:gd name="connsiteY3" fmla="*/ 181305 h 361333"/>
                <a:gd name="connsiteX4" fmla="*/ 180835 w 361674"/>
                <a:gd name="connsiteY4" fmla="*/ 349204 h 361333"/>
                <a:gd name="connsiteX5" fmla="*/ 180835 w 361674"/>
                <a:gd name="connsiteY5" fmla="*/ 0 h 361333"/>
                <a:gd name="connsiteX6" fmla="*/ 0 w 361674"/>
                <a:gd name="connsiteY6" fmla="*/ 180667 h 361333"/>
                <a:gd name="connsiteX7" fmla="*/ 180835 w 361674"/>
                <a:gd name="connsiteY7" fmla="*/ 361333 h 361333"/>
                <a:gd name="connsiteX8" fmla="*/ 361670 w 361674"/>
                <a:gd name="connsiteY8" fmla="*/ 180667 h 361333"/>
                <a:gd name="connsiteX9" fmla="*/ 180835 w 361674"/>
                <a:gd name="connsiteY9" fmla="*/ 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5" y="349204"/>
                  </a:moveTo>
                  <a:cubicBezTo>
                    <a:pt x="88181" y="349204"/>
                    <a:pt x="12780" y="273873"/>
                    <a:pt x="12780" y="181305"/>
                  </a:cubicBezTo>
                  <a:cubicBezTo>
                    <a:pt x="12780" y="88737"/>
                    <a:pt x="88181" y="13406"/>
                    <a:pt x="180835" y="13406"/>
                  </a:cubicBezTo>
                  <a:cubicBezTo>
                    <a:pt x="273489" y="13406"/>
                    <a:pt x="348890" y="88737"/>
                    <a:pt x="348890" y="181305"/>
                  </a:cubicBezTo>
                  <a:cubicBezTo>
                    <a:pt x="349529" y="273234"/>
                    <a:pt x="273489" y="349204"/>
                    <a:pt x="180835" y="349204"/>
                  </a:cubicBezTo>
                  <a:moveTo>
                    <a:pt x="180835" y="0"/>
                  </a:moveTo>
                  <a:cubicBezTo>
                    <a:pt x="80513" y="0"/>
                    <a:pt x="0" y="81077"/>
                    <a:pt x="0" y="180667"/>
                  </a:cubicBezTo>
                  <a:cubicBezTo>
                    <a:pt x="0" y="280895"/>
                    <a:pt x="81152" y="361333"/>
                    <a:pt x="180835" y="361333"/>
                  </a:cubicBezTo>
                  <a:cubicBezTo>
                    <a:pt x="281157" y="361333"/>
                    <a:pt x="361670" y="280257"/>
                    <a:pt x="361670" y="180667"/>
                  </a:cubicBezTo>
                  <a:cubicBezTo>
                    <a:pt x="362309" y="81077"/>
                    <a:pt x="281157" y="0"/>
                    <a:pt x="180835" y="0"/>
                  </a:cubicBezTo>
                </a:path>
              </a:pathLst>
            </a:custGeom>
            <a:solidFill>
              <a:srgbClr val="86BC25"/>
            </a:solidFill>
            <a:ln w="6390" cap="flat">
              <a:solidFill>
                <a:srgbClr val="86BC25"/>
              </a:solidFill>
              <a:prstDash val="solid"/>
              <a:miter/>
            </a:ln>
          </p:spPr>
          <p:txBody>
            <a:bodyPr rtlCol="0" anchor="ctr"/>
            <a:lstStyle/>
            <a:p>
              <a:pPr defTabSz="1219170" hangingPunct="1"/>
              <a:endParaRPr lang="en-US" sz="24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 name="Graphic 4">
              <a:extLst>
                <a:ext uri="{FF2B5EF4-FFF2-40B4-BE49-F238E27FC236}">
                  <a16:creationId xmlns:a16="http://schemas.microsoft.com/office/drawing/2014/main" id="{921D60CB-91AC-4411-B876-20AF4731B00F}"/>
                </a:ext>
              </a:extLst>
            </p:cNvPr>
            <p:cNvSpPr/>
            <p:nvPr/>
          </p:nvSpPr>
          <p:spPr>
            <a:xfrm>
              <a:off x="5828966" y="984862"/>
              <a:ext cx="121186" cy="229533"/>
            </a:xfrm>
            <a:custGeom>
              <a:avLst/>
              <a:gdLst>
                <a:gd name="connsiteX0" fmla="*/ 107285 w 121186"/>
                <a:gd name="connsiteY0" fmla="*/ 200806 h 229533"/>
                <a:gd name="connsiteX1" fmla="*/ 14631 w 121186"/>
                <a:gd name="connsiteY1" fmla="*/ 200806 h 229533"/>
                <a:gd name="connsiteX2" fmla="*/ 13992 w 121186"/>
                <a:gd name="connsiteY2" fmla="*/ 200806 h 229533"/>
                <a:gd name="connsiteX3" fmla="*/ 13992 w 121186"/>
                <a:gd name="connsiteY3" fmla="*/ 187400 h 229533"/>
                <a:gd name="connsiteX4" fmla="*/ 14631 w 121186"/>
                <a:gd name="connsiteY4" fmla="*/ 182931 h 229533"/>
                <a:gd name="connsiteX5" fmla="*/ 14631 w 121186"/>
                <a:gd name="connsiteY5" fmla="*/ 182931 h 229533"/>
                <a:gd name="connsiteX6" fmla="*/ 107285 w 121186"/>
                <a:gd name="connsiteY6" fmla="*/ 182931 h 229533"/>
                <a:gd name="connsiteX7" fmla="*/ 107285 w 121186"/>
                <a:gd name="connsiteY7" fmla="*/ 182931 h 229533"/>
                <a:gd name="connsiteX8" fmla="*/ 107285 w 121186"/>
                <a:gd name="connsiteY8" fmla="*/ 200806 h 229533"/>
                <a:gd name="connsiteX9" fmla="*/ 107285 w 121186"/>
                <a:gd name="connsiteY9" fmla="*/ 200806 h 229533"/>
                <a:gd name="connsiteX10" fmla="*/ 29967 w 121186"/>
                <a:gd name="connsiteY10" fmla="*/ 151649 h 229533"/>
                <a:gd name="connsiteX11" fmla="*/ 29967 w 121186"/>
                <a:gd name="connsiteY11" fmla="*/ 151649 h 229533"/>
                <a:gd name="connsiteX12" fmla="*/ 91949 w 121186"/>
                <a:gd name="connsiteY12" fmla="*/ 151649 h 229533"/>
                <a:gd name="connsiteX13" fmla="*/ 103451 w 121186"/>
                <a:gd name="connsiteY13" fmla="*/ 169524 h 229533"/>
                <a:gd name="connsiteX14" fmla="*/ 19104 w 121186"/>
                <a:gd name="connsiteY14" fmla="*/ 169524 h 229533"/>
                <a:gd name="connsiteX15" fmla="*/ 29967 w 121186"/>
                <a:gd name="connsiteY15" fmla="*/ 151649 h 229533"/>
                <a:gd name="connsiteX16" fmla="*/ 13992 w 121186"/>
                <a:gd name="connsiteY16" fmla="*/ 27800 h 229533"/>
                <a:gd name="connsiteX17" fmla="*/ 107285 w 121186"/>
                <a:gd name="connsiteY17" fmla="*/ 27800 h 229533"/>
                <a:gd name="connsiteX18" fmla="*/ 107924 w 121186"/>
                <a:gd name="connsiteY18" fmla="*/ 27800 h 229533"/>
                <a:gd name="connsiteX19" fmla="*/ 107924 w 121186"/>
                <a:gd name="connsiteY19" fmla="*/ 41206 h 229533"/>
                <a:gd name="connsiteX20" fmla="*/ 107285 w 121186"/>
                <a:gd name="connsiteY20" fmla="*/ 45675 h 229533"/>
                <a:gd name="connsiteX21" fmla="*/ 107285 w 121186"/>
                <a:gd name="connsiteY21" fmla="*/ 45675 h 229533"/>
                <a:gd name="connsiteX22" fmla="*/ 14631 w 121186"/>
                <a:gd name="connsiteY22" fmla="*/ 45675 h 229533"/>
                <a:gd name="connsiteX23" fmla="*/ 14631 w 121186"/>
                <a:gd name="connsiteY23" fmla="*/ 45675 h 229533"/>
                <a:gd name="connsiteX24" fmla="*/ 13992 w 121186"/>
                <a:gd name="connsiteY24" fmla="*/ 27800 h 229533"/>
                <a:gd name="connsiteX25" fmla="*/ 13992 w 121186"/>
                <a:gd name="connsiteY25" fmla="*/ 27800 h 229533"/>
                <a:gd name="connsiteX26" fmla="*/ 91949 w 121186"/>
                <a:gd name="connsiteY26" fmla="*/ 76957 h 229533"/>
                <a:gd name="connsiteX27" fmla="*/ 29967 w 121186"/>
                <a:gd name="connsiteY27" fmla="*/ 76957 h 229533"/>
                <a:gd name="connsiteX28" fmla="*/ 18465 w 121186"/>
                <a:gd name="connsiteY28" fmla="*/ 59081 h 229533"/>
                <a:gd name="connsiteX29" fmla="*/ 102812 w 121186"/>
                <a:gd name="connsiteY29" fmla="*/ 59081 h 229533"/>
                <a:gd name="connsiteX30" fmla="*/ 91949 w 121186"/>
                <a:gd name="connsiteY30" fmla="*/ 76957 h 229533"/>
                <a:gd name="connsiteX31" fmla="*/ 91949 w 121186"/>
                <a:gd name="connsiteY31" fmla="*/ 76957 h 229533"/>
                <a:gd name="connsiteX32" fmla="*/ 84281 w 121186"/>
                <a:gd name="connsiteY32" fmla="*/ 124836 h 229533"/>
                <a:gd name="connsiteX33" fmla="*/ 75335 w 121186"/>
                <a:gd name="connsiteY33" fmla="*/ 125475 h 229533"/>
                <a:gd name="connsiteX34" fmla="*/ 75974 w 121186"/>
                <a:gd name="connsiteY34" fmla="*/ 134412 h 229533"/>
                <a:gd name="connsiteX35" fmla="*/ 80447 w 121186"/>
                <a:gd name="connsiteY35" fmla="*/ 138881 h 229533"/>
                <a:gd name="connsiteX36" fmla="*/ 41469 w 121186"/>
                <a:gd name="connsiteY36" fmla="*/ 138881 h 229533"/>
                <a:gd name="connsiteX37" fmla="*/ 64472 w 121186"/>
                <a:gd name="connsiteY37" fmla="*/ 119729 h 229533"/>
                <a:gd name="connsiteX38" fmla="*/ 120704 w 121186"/>
                <a:gd name="connsiteY38" fmla="*/ 43121 h 229533"/>
                <a:gd name="connsiteX39" fmla="*/ 109841 w 121186"/>
                <a:gd name="connsiteY39" fmla="*/ 2264 h 229533"/>
                <a:gd name="connsiteX40" fmla="*/ 100895 w 121186"/>
                <a:gd name="connsiteY40" fmla="*/ 1626 h 229533"/>
                <a:gd name="connsiteX41" fmla="*/ 100256 w 121186"/>
                <a:gd name="connsiteY41" fmla="*/ 10563 h 229533"/>
                <a:gd name="connsiteX42" fmla="*/ 103451 w 121186"/>
                <a:gd name="connsiteY42" fmla="*/ 15670 h 229533"/>
                <a:gd name="connsiteX43" fmla="*/ 17826 w 121186"/>
                <a:gd name="connsiteY43" fmla="*/ 15670 h 229533"/>
                <a:gd name="connsiteX44" fmla="*/ 21021 w 121186"/>
                <a:gd name="connsiteY44" fmla="*/ 10563 h 229533"/>
                <a:gd name="connsiteX45" fmla="*/ 20382 w 121186"/>
                <a:gd name="connsiteY45" fmla="*/ 1626 h 229533"/>
                <a:gd name="connsiteX46" fmla="*/ 11436 w 121186"/>
                <a:gd name="connsiteY46" fmla="*/ 2264 h 229533"/>
                <a:gd name="connsiteX47" fmla="*/ 36996 w 121186"/>
                <a:gd name="connsiteY47" fmla="*/ 103769 h 229533"/>
                <a:gd name="connsiteX48" fmla="*/ 41469 w 121186"/>
                <a:gd name="connsiteY48" fmla="*/ 105685 h 229533"/>
                <a:gd name="connsiteX49" fmla="*/ 45942 w 121186"/>
                <a:gd name="connsiteY49" fmla="*/ 103769 h 229533"/>
                <a:gd name="connsiteX50" fmla="*/ 45303 w 121186"/>
                <a:gd name="connsiteY50" fmla="*/ 94832 h 229533"/>
                <a:gd name="connsiteX51" fmla="*/ 40830 w 121186"/>
                <a:gd name="connsiteY51" fmla="*/ 90363 h 229533"/>
                <a:gd name="connsiteX52" fmla="*/ 79808 w 121186"/>
                <a:gd name="connsiteY52" fmla="*/ 90363 h 229533"/>
                <a:gd name="connsiteX53" fmla="*/ 56804 w 121186"/>
                <a:gd name="connsiteY53" fmla="*/ 109515 h 229533"/>
                <a:gd name="connsiteX54" fmla="*/ 573 w 121186"/>
                <a:gd name="connsiteY54" fmla="*/ 186123 h 229533"/>
                <a:gd name="connsiteX55" fmla="*/ 11436 w 121186"/>
                <a:gd name="connsiteY55" fmla="*/ 226980 h 229533"/>
                <a:gd name="connsiteX56" fmla="*/ 16548 w 121186"/>
                <a:gd name="connsiteY56" fmla="*/ 229534 h 229533"/>
                <a:gd name="connsiteX57" fmla="*/ 20382 w 121186"/>
                <a:gd name="connsiteY57" fmla="*/ 228257 h 229533"/>
                <a:gd name="connsiteX58" fmla="*/ 21021 w 121186"/>
                <a:gd name="connsiteY58" fmla="*/ 219319 h 229533"/>
                <a:gd name="connsiteX59" fmla="*/ 17826 w 121186"/>
                <a:gd name="connsiteY59" fmla="*/ 214212 h 229533"/>
                <a:gd name="connsiteX60" fmla="*/ 102812 w 121186"/>
                <a:gd name="connsiteY60" fmla="*/ 214212 h 229533"/>
                <a:gd name="connsiteX61" fmla="*/ 99617 w 121186"/>
                <a:gd name="connsiteY61" fmla="*/ 219319 h 229533"/>
                <a:gd name="connsiteX62" fmla="*/ 100256 w 121186"/>
                <a:gd name="connsiteY62" fmla="*/ 228257 h 229533"/>
                <a:gd name="connsiteX63" fmla="*/ 104090 w 121186"/>
                <a:gd name="connsiteY63" fmla="*/ 229534 h 229533"/>
                <a:gd name="connsiteX64" fmla="*/ 109202 w 121186"/>
                <a:gd name="connsiteY64" fmla="*/ 226980 h 229533"/>
                <a:gd name="connsiteX65" fmla="*/ 84281 w 121186"/>
                <a:gd name="connsiteY65" fmla="*/ 124836 h 22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21186" h="229533">
                  <a:moveTo>
                    <a:pt x="107285" y="200806"/>
                  </a:moveTo>
                  <a:lnTo>
                    <a:pt x="14631" y="200806"/>
                  </a:lnTo>
                  <a:cubicBezTo>
                    <a:pt x="14631" y="200806"/>
                    <a:pt x="13992" y="200806"/>
                    <a:pt x="13992" y="200806"/>
                  </a:cubicBezTo>
                  <a:cubicBezTo>
                    <a:pt x="13353" y="196337"/>
                    <a:pt x="13353" y="191868"/>
                    <a:pt x="13992" y="187400"/>
                  </a:cubicBezTo>
                  <a:cubicBezTo>
                    <a:pt x="13992" y="186123"/>
                    <a:pt x="14631" y="184208"/>
                    <a:pt x="14631" y="182931"/>
                  </a:cubicBezTo>
                  <a:cubicBezTo>
                    <a:pt x="14631" y="182931"/>
                    <a:pt x="14631" y="182931"/>
                    <a:pt x="14631" y="182931"/>
                  </a:cubicBezTo>
                  <a:lnTo>
                    <a:pt x="107285" y="182931"/>
                  </a:lnTo>
                  <a:cubicBezTo>
                    <a:pt x="107285" y="182931"/>
                    <a:pt x="107285" y="182931"/>
                    <a:pt x="107285" y="182931"/>
                  </a:cubicBezTo>
                  <a:cubicBezTo>
                    <a:pt x="108563" y="188676"/>
                    <a:pt x="108563" y="195060"/>
                    <a:pt x="107285" y="200806"/>
                  </a:cubicBezTo>
                  <a:cubicBezTo>
                    <a:pt x="107285" y="200806"/>
                    <a:pt x="107285" y="200806"/>
                    <a:pt x="107285" y="200806"/>
                  </a:cubicBezTo>
                  <a:moveTo>
                    <a:pt x="29967" y="151649"/>
                  </a:moveTo>
                  <a:cubicBezTo>
                    <a:pt x="29967" y="151649"/>
                    <a:pt x="29967" y="151649"/>
                    <a:pt x="29967" y="151649"/>
                  </a:cubicBezTo>
                  <a:lnTo>
                    <a:pt x="91949" y="151649"/>
                  </a:lnTo>
                  <a:cubicBezTo>
                    <a:pt x="97061" y="158033"/>
                    <a:pt x="100256" y="163779"/>
                    <a:pt x="103451" y="169524"/>
                  </a:cubicBezTo>
                  <a:lnTo>
                    <a:pt x="19104" y="169524"/>
                  </a:lnTo>
                  <a:cubicBezTo>
                    <a:pt x="21021" y="163779"/>
                    <a:pt x="24855" y="158033"/>
                    <a:pt x="29967" y="151649"/>
                  </a:cubicBezTo>
                  <a:moveTo>
                    <a:pt x="13992" y="27800"/>
                  </a:moveTo>
                  <a:lnTo>
                    <a:pt x="107285" y="27800"/>
                  </a:lnTo>
                  <a:cubicBezTo>
                    <a:pt x="107285" y="27800"/>
                    <a:pt x="107924" y="27800"/>
                    <a:pt x="107924" y="27800"/>
                  </a:cubicBezTo>
                  <a:cubicBezTo>
                    <a:pt x="108563" y="32269"/>
                    <a:pt x="108563" y="36737"/>
                    <a:pt x="107924" y="41206"/>
                  </a:cubicBezTo>
                  <a:cubicBezTo>
                    <a:pt x="107924" y="42483"/>
                    <a:pt x="107285" y="44398"/>
                    <a:pt x="107285" y="45675"/>
                  </a:cubicBezTo>
                  <a:cubicBezTo>
                    <a:pt x="107285" y="45675"/>
                    <a:pt x="107285" y="45675"/>
                    <a:pt x="107285" y="45675"/>
                  </a:cubicBezTo>
                  <a:lnTo>
                    <a:pt x="14631" y="45675"/>
                  </a:lnTo>
                  <a:cubicBezTo>
                    <a:pt x="14631" y="45675"/>
                    <a:pt x="14631" y="45675"/>
                    <a:pt x="14631" y="45675"/>
                  </a:cubicBezTo>
                  <a:cubicBezTo>
                    <a:pt x="12714" y="39291"/>
                    <a:pt x="12714" y="32907"/>
                    <a:pt x="13992" y="27800"/>
                  </a:cubicBezTo>
                  <a:cubicBezTo>
                    <a:pt x="13992" y="27800"/>
                    <a:pt x="13992" y="27800"/>
                    <a:pt x="13992" y="27800"/>
                  </a:cubicBezTo>
                  <a:moveTo>
                    <a:pt x="91949" y="76957"/>
                  </a:moveTo>
                  <a:lnTo>
                    <a:pt x="29967" y="76957"/>
                  </a:lnTo>
                  <a:cubicBezTo>
                    <a:pt x="24855" y="70573"/>
                    <a:pt x="21660" y="64827"/>
                    <a:pt x="18465" y="59081"/>
                  </a:cubicBezTo>
                  <a:lnTo>
                    <a:pt x="102812" y="59081"/>
                  </a:lnTo>
                  <a:cubicBezTo>
                    <a:pt x="100256" y="64189"/>
                    <a:pt x="96422" y="70573"/>
                    <a:pt x="91949" y="76957"/>
                  </a:cubicBezTo>
                  <a:cubicBezTo>
                    <a:pt x="91949" y="76957"/>
                    <a:pt x="91949" y="76957"/>
                    <a:pt x="91949" y="76957"/>
                  </a:cubicBezTo>
                  <a:moveTo>
                    <a:pt x="84281" y="124836"/>
                  </a:moveTo>
                  <a:cubicBezTo>
                    <a:pt x="81725" y="122283"/>
                    <a:pt x="77892" y="122921"/>
                    <a:pt x="75335" y="125475"/>
                  </a:cubicBezTo>
                  <a:cubicBezTo>
                    <a:pt x="72779" y="128028"/>
                    <a:pt x="73418" y="131859"/>
                    <a:pt x="75974" y="134412"/>
                  </a:cubicBezTo>
                  <a:cubicBezTo>
                    <a:pt x="77892" y="135689"/>
                    <a:pt x="79169" y="137604"/>
                    <a:pt x="80447" y="138881"/>
                  </a:cubicBezTo>
                  <a:lnTo>
                    <a:pt x="41469" y="138881"/>
                  </a:lnTo>
                  <a:cubicBezTo>
                    <a:pt x="47859" y="132497"/>
                    <a:pt x="55527" y="126113"/>
                    <a:pt x="64472" y="119729"/>
                  </a:cubicBezTo>
                  <a:cubicBezTo>
                    <a:pt x="106646" y="89725"/>
                    <a:pt x="118148" y="61635"/>
                    <a:pt x="120704" y="43121"/>
                  </a:cubicBezTo>
                  <a:cubicBezTo>
                    <a:pt x="122621" y="27800"/>
                    <a:pt x="118787" y="13117"/>
                    <a:pt x="109841" y="2264"/>
                  </a:cubicBezTo>
                  <a:cubicBezTo>
                    <a:pt x="107285" y="-290"/>
                    <a:pt x="103451" y="-928"/>
                    <a:pt x="100895" y="1626"/>
                  </a:cubicBezTo>
                  <a:cubicBezTo>
                    <a:pt x="98339" y="4179"/>
                    <a:pt x="97700" y="8010"/>
                    <a:pt x="100256" y="10563"/>
                  </a:cubicBezTo>
                  <a:cubicBezTo>
                    <a:pt x="101534" y="11840"/>
                    <a:pt x="102812" y="13755"/>
                    <a:pt x="103451" y="15670"/>
                  </a:cubicBezTo>
                  <a:lnTo>
                    <a:pt x="17826" y="15670"/>
                  </a:lnTo>
                  <a:cubicBezTo>
                    <a:pt x="19104" y="13755"/>
                    <a:pt x="19743" y="12478"/>
                    <a:pt x="21021" y="10563"/>
                  </a:cubicBezTo>
                  <a:cubicBezTo>
                    <a:pt x="22938" y="8010"/>
                    <a:pt x="22938" y="3541"/>
                    <a:pt x="20382" y="1626"/>
                  </a:cubicBezTo>
                  <a:cubicBezTo>
                    <a:pt x="17826" y="-928"/>
                    <a:pt x="13353" y="-290"/>
                    <a:pt x="11436" y="2264"/>
                  </a:cubicBezTo>
                  <a:cubicBezTo>
                    <a:pt x="-5178" y="22693"/>
                    <a:pt x="-9012" y="61635"/>
                    <a:pt x="36996" y="103769"/>
                  </a:cubicBezTo>
                  <a:cubicBezTo>
                    <a:pt x="38274" y="105046"/>
                    <a:pt x="39552" y="105685"/>
                    <a:pt x="41469" y="105685"/>
                  </a:cubicBezTo>
                  <a:cubicBezTo>
                    <a:pt x="43386" y="105685"/>
                    <a:pt x="44664" y="105046"/>
                    <a:pt x="45942" y="103769"/>
                  </a:cubicBezTo>
                  <a:cubicBezTo>
                    <a:pt x="48498" y="101216"/>
                    <a:pt x="47859" y="97385"/>
                    <a:pt x="45303" y="94832"/>
                  </a:cubicBezTo>
                  <a:cubicBezTo>
                    <a:pt x="44025" y="93555"/>
                    <a:pt x="42108" y="92278"/>
                    <a:pt x="40830" y="90363"/>
                  </a:cubicBezTo>
                  <a:lnTo>
                    <a:pt x="79808" y="90363"/>
                  </a:lnTo>
                  <a:cubicBezTo>
                    <a:pt x="73418" y="96747"/>
                    <a:pt x="65750" y="103131"/>
                    <a:pt x="56804" y="109515"/>
                  </a:cubicBezTo>
                  <a:cubicBezTo>
                    <a:pt x="14631" y="139520"/>
                    <a:pt x="3129" y="167609"/>
                    <a:pt x="573" y="186123"/>
                  </a:cubicBezTo>
                  <a:cubicBezTo>
                    <a:pt x="-1344" y="201444"/>
                    <a:pt x="2490" y="216127"/>
                    <a:pt x="11436" y="226980"/>
                  </a:cubicBezTo>
                  <a:cubicBezTo>
                    <a:pt x="12714" y="228257"/>
                    <a:pt x="14631" y="229534"/>
                    <a:pt x="16548" y="229534"/>
                  </a:cubicBezTo>
                  <a:cubicBezTo>
                    <a:pt x="17826" y="229534"/>
                    <a:pt x="19104" y="228895"/>
                    <a:pt x="20382" y="228257"/>
                  </a:cubicBezTo>
                  <a:cubicBezTo>
                    <a:pt x="22938" y="225703"/>
                    <a:pt x="23577" y="221873"/>
                    <a:pt x="21021" y="219319"/>
                  </a:cubicBezTo>
                  <a:cubicBezTo>
                    <a:pt x="19743" y="218043"/>
                    <a:pt x="18465" y="216127"/>
                    <a:pt x="17826" y="214212"/>
                  </a:cubicBezTo>
                  <a:lnTo>
                    <a:pt x="102812" y="214212"/>
                  </a:lnTo>
                  <a:cubicBezTo>
                    <a:pt x="101534" y="216127"/>
                    <a:pt x="100895" y="217404"/>
                    <a:pt x="99617" y="219319"/>
                  </a:cubicBezTo>
                  <a:cubicBezTo>
                    <a:pt x="97700" y="221873"/>
                    <a:pt x="97700" y="226342"/>
                    <a:pt x="100256" y="228257"/>
                  </a:cubicBezTo>
                  <a:cubicBezTo>
                    <a:pt x="101534" y="229534"/>
                    <a:pt x="102812" y="229534"/>
                    <a:pt x="104090" y="229534"/>
                  </a:cubicBezTo>
                  <a:cubicBezTo>
                    <a:pt x="106007" y="229534"/>
                    <a:pt x="107924" y="228895"/>
                    <a:pt x="109202" y="226980"/>
                  </a:cubicBezTo>
                  <a:cubicBezTo>
                    <a:pt x="126455" y="205913"/>
                    <a:pt x="130289" y="166971"/>
                    <a:pt x="84281" y="124836"/>
                  </a:cubicBezTo>
                </a:path>
              </a:pathLst>
            </a:custGeom>
            <a:solidFill>
              <a:srgbClr val="86BC25"/>
            </a:solidFill>
            <a:ln w="6390" cap="flat">
              <a:solidFill>
                <a:srgbClr val="86BC25"/>
              </a:solidFill>
              <a:prstDash val="solid"/>
              <a:miter/>
            </a:ln>
          </p:spPr>
          <p:txBody>
            <a:bodyPr rtlCol="0" anchor="ctr"/>
            <a:lstStyle/>
            <a:p>
              <a:pPr defTabSz="1219170" hangingPunct="1"/>
              <a:endParaRPr lang="en-US" sz="24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spTree>
    <p:extLst>
      <p:ext uri="{BB962C8B-B14F-4D97-AF65-F5344CB8AC3E}">
        <p14:creationId xmlns:p14="http://schemas.microsoft.com/office/powerpoint/2010/main" val="2890209600"/>
      </p:ext>
    </p:extLst>
  </p:cSld>
  <p:clrMapOvr>
    <a:masterClrMapping/>
  </p:clrMapOvr>
  <p:transition spd="med"/>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34625A-4F50-4216-97E9-D8C18D7981AA}"/>
              </a:ext>
            </a:extLst>
          </p:cNvPr>
          <p:cNvSpPr>
            <a:spLocks noGrp="1"/>
          </p:cNvSpPr>
          <p:nvPr>
            <p:ph type="body" sz="quarter" idx="1"/>
          </p:nvPr>
        </p:nvSpPr>
        <p:spPr/>
        <p:txBody>
          <a:bodyPr/>
          <a:lstStyle/>
          <a:p>
            <a:r>
              <a:rPr kumimoji="0" lang="en-US" sz="1400" b="1" i="0" u="none" strike="noStrike" kern="1200" cap="none" spc="0" normalizeH="0" baseline="0" noProof="0" dirty="0">
                <a:ln>
                  <a:noFill/>
                </a:ln>
                <a:solidFill>
                  <a:srgbClr val="575757"/>
                </a:solidFill>
                <a:effectLst/>
                <a:uLnTx/>
                <a:uFillTx/>
                <a:latin typeface="+mn-lt"/>
                <a:ea typeface="Open Sans Light" panose="020B0306030504020204" pitchFamily="34" charset="0"/>
                <a:cs typeface="Open Sans Light" panose="020B0306030504020204" pitchFamily="34" charset="0"/>
              </a:rPr>
              <a:t>Deloitte Middle East</a:t>
            </a:r>
          </a:p>
        </p:txBody>
      </p:sp>
      <p:sp>
        <p:nvSpPr>
          <p:cNvPr id="3" name="Title 2">
            <a:extLst>
              <a:ext uri="{FF2B5EF4-FFF2-40B4-BE49-F238E27FC236}">
                <a16:creationId xmlns:a16="http://schemas.microsoft.com/office/drawing/2014/main" id="{A3C6915B-73DD-4DB7-BF83-AC8365F75693}"/>
              </a:ext>
            </a:extLst>
          </p:cNvPr>
          <p:cNvSpPr>
            <a:spLocks noGrp="1"/>
          </p:cNvSpPr>
          <p:nvPr>
            <p:ph type="title"/>
          </p:nvPr>
        </p:nvSpPr>
        <p:spPr/>
        <p:txBody>
          <a:bodyPr/>
          <a:lstStyle/>
          <a:p>
            <a:r>
              <a:rPr lang="en-US" sz="2000">
                <a:solidFill>
                  <a:schemeClr val="tx2">
                    <a:lumMod val="50000"/>
                  </a:schemeClr>
                </a:solidFill>
                <a:latin typeface="+mn-lt"/>
                <a:ea typeface="Open Sans Semibold" panose="020B0706030804020204" pitchFamily="34" charset="0"/>
                <a:cs typeface="Open Sans Semibold" panose="020B0706030804020204" pitchFamily="34" charset="0"/>
              </a:rPr>
              <a:t>About Deloitte</a:t>
            </a:r>
            <a:endParaRPr lang="en-US">
              <a:solidFill>
                <a:schemeClr val="tx2">
                  <a:lumMod val="50000"/>
                </a:schemeClr>
              </a:solidFill>
              <a:latin typeface="+mn-lt"/>
              <a:ea typeface="Open Sans Semibold" panose="020B0706030804020204" pitchFamily="34" charset="0"/>
              <a:cs typeface="Open Sans Semibold" panose="020B0706030804020204" pitchFamily="34" charset="0"/>
            </a:endParaRPr>
          </a:p>
        </p:txBody>
      </p:sp>
      <p:sp>
        <p:nvSpPr>
          <p:cNvPr id="16" name="TextBox 15">
            <a:extLst>
              <a:ext uri="{FF2B5EF4-FFF2-40B4-BE49-F238E27FC236}">
                <a16:creationId xmlns:a16="http://schemas.microsoft.com/office/drawing/2014/main" id="{A3AEE7A1-7D50-4A7A-8701-860088249124}"/>
              </a:ext>
            </a:extLst>
          </p:cNvPr>
          <p:cNvSpPr txBox="1"/>
          <p:nvPr/>
        </p:nvSpPr>
        <p:spPr>
          <a:xfrm>
            <a:off x="330256" y="3168208"/>
            <a:ext cx="3207329" cy="2285241"/>
          </a:xfrm>
          <a:prstGeom prst="rect">
            <a:avLst/>
          </a:prstGeom>
          <a:noFill/>
          <a:ln>
            <a:noFill/>
          </a:ln>
        </p:spPr>
        <p:txBody>
          <a:bodyPr wrap="square" rtlCol="0">
            <a:spAutoFit/>
          </a:bodyPr>
          <a:lstStyle/>
          <a:p>
            <a:pPr hangingPunct="1">
              <a:spcAft>
                <a:spcPts val="300"/>
              </a:spcAft>
              <a:defRPr/>
            </a:pPr>
            <a:r>
              <a:rPr lang="en-US" sz="14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Deloitte is the world’s largest leading professional services firm, providing audit and assurance, tax, consulting, financial advisory and risk advisory services to public and private clients spanning multiple industries. </a:t>
            </a:r>
          </a:p>
          <a:p>
            <a:pPr hangingPunct="1">
              <a:spcAft>
                <a:spcPts val="415"/>
              </a:spcAft>
              <a:defRPr/>
            </a:pPr>
            <a:r>
              <a:rPr lang="en-US" sz="14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Deloitte’s presence in the Middle East has contributed to the advancements and growth of the professional services industry in the region. </a:t>
            </a:r>
          </a:p>
        </p:txBody>
      </p:sp>
      <p:sp>
        <p:nvSpPr>
          <p:cNvPr id="17" name="Rectangle 16">
            <a:extLst>
              <a:ext uri="{FF2B5EF4-FFF2-40B4-BE49-F238E27FC236}">
                <a16:creationId xmlns:a16="http://schemas.microsoft.com/office/drawing/2014/main" id="{9D0E8620-4DD3-474F-BF2F-E6DED3F9D0E3}"/>
              </a:ext>
            </a:extLst>
          </p:cNvPr>
          <p:cNvSpPr/>
          <p:nvPr/>
        </p:nvSpPr>
        <p:spPr>
          <a:xfrm>
            <a:off x="368424" y="1201985"/>
            <a:ext cx="3297769" cy="1815882"/>
          </a:xfrm>
          <a:prstGeom prst="rect">
            <a:avLst/>
          </a:prstGeom>
        </p:spPr>
        <p:txBody>
          <a:bodyPr wrap="square">
            <a:spAutoFit/>
          </a:bodyPr>
          <a:lstStyle/>
          <a:p>
            <a:pPr defTabSz="1219170" hangingPunct="1"/>
            <a:r>
              <a:rPr lang="en-US" sz="2800"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We have served as trusted advisors for clients for the past 96 years.</a:t>
            </a:r>
          </a:p>
        </p:txBody>
      </p:sp>
      <p:sp>
        <p:nvSpPr>
          <p:cNvPr id="18" name="TextBox 17">
            <a:extLst>
              <a:ext uri="{FF2B5EF4-FFF2-40B4-BE49-F238E27FC236}">
                <a16:creationId xmlns:a16="http://schemas.microsoft.com/office/drawing/2014/main" id="{F3580289-31F2-494A-A6CB-D13EF14B2C05}"/>
              </a:ext>
            </a:extLst>
          </p:cNvPr>
          <p:cNvSpPr txBox="1"/>
          <p:nvPr/>
        </p:nvSpPr>
        <p:spPr>
          <a:xfrm>
            <a:off x="4172432" y="1292153"/>
            <a:ext cx="4085806" cy="1651734"/>
          </a:xfrm>
          <a:prstGeom prst="rect">
            <a:avLst/>
          </a:prstGeom>
          <a:noFill/>
        </p:spPr>
        <p:txBody>
          <a:bodyPr wrap="square">
            <a:spAutoFit/>
          </a:bodyPr>
          <a:lstStyle/>
          <a:p>
            <a:pPr hangingPunct="1">
              <a:spcAft>
                <a:spcPts val="415"/>
              </a:spcAft>
              <a:defRPr/>
            </a:pPr>
            <a:r>
              <a:rPr lang="en-US" sz="14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Deloitte clients are able to benefit from experts that are well-aware of the environment, culture, and specific industry that they are operating in. </a:t>
            </a:r>
            <a:endParaRPr lang="en-US" sz="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hangingPunct="1">
              <a:spcAft>
                <a:spcPts val="415"/>
              </a:spcAft>
              <a:defRPr/>
            </a:pPr>
            <a:r>
              <a:rPr lang="en-US" sz="14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Deloitte's professionals are dedicated to strengthening corporate responsibility, building public trust, and making a positive impact in their communities. </a:t>
            </a:r>
          </a:p>
        </p:txBody>
      </p:sp>
      <p:grpSp>
        <p:nvGrpSpPr>
          <p:cNvPr id="19" name="Group 18">
            <a:extLst>
              <a:ext uri="{FF2B5EF4-FFF2-40B4-BE49-F238E27FC236}">
                <a16:creationId xmlns:a16="http://schemas.microsoft.com/office/drawing/2014/main" id="{97768602-8DBA-4C89-ACB6-E7318D40B290}"/>
              </a:ext>
            </a:extLst>
          </p:cNvPr>
          <p:cNvGrpSpPr/>
          <p:nvPr/>
        </p:nvGrpSpPr>
        <p:grpSpPr>
          <a:xfrm>
            <a:off x="9406684" y="1489319"/>
            <a:ext cx="2575490" cy="3624543"/>
            <a:chOff x="9406684" y="1768725"/>
            <a:chExt cx="2575490" cy="3624543"/>
          </a:xfrm>
        </p:grpSpPr>
        <p:sp>
          <p:nvSpPr>
            <p:cNvPr id="20" name="Rectangle 19">
              <a:extLst>
                <a:ext uri="{FF2B5EF4-FFF2-40B4-BE49-F238E27FC236}">
                  <a16:creationId xmlns:a16="http://schemas.microsoft.com/office/drawing/2014/main" id="{9C8A3946-BD15-4F3E-9D99-EACDD808ED8B}"/>
                </a:ext>
              </a:extLst>
            </p:cNvPr>
            <p:cNvSpPr/>
            <p:nvPr/>
          </p:nvSpPr>
          <p:spPr bwMode="gray">
            <a:xfrm>
              <a:off x="9406684" y="1768725"/>
              <a:ext cx="1498743" cy="3624543"/>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0097A9"/>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1" name="Rectangle 20">
              <a:extLst>
                <a:ext uri="{FF2B5EF4-FFF2-40B4-BE49-F238E27FC236}">
                  <a16:creationId xmlns:a16="http://schemas.microsoft.com/office/drawing/2014/main" id="{982D3359-FB02-49B9-86BA-4D9ACF019FC5}"/>
                </a:ext>
              </a:extLst>
            </p:cNvPr>
            <p:cNvSpPr/>
            <p:nvPr/>
          </p:nvSpPr>
          <p:spPr>
            <a:xfrm>
              <a:off x="9465953" y="1855824"/>
              <a:ext cx="2516221" cy="584775"/>
            </a:xfrm>
            <a:prstGeom prst="rect">
              <a:avLst/>
            </a:prstGeom>
          </p:spPr>
          <p:txBody>
            <a:bodyPr wrap="square">
              <a:spAutoFit/>
            </a:bodyPr>
            <a:lstStyle/>
            <a:p>
              <a:pPr marL="0" marR="0" lvl="0" indent="0" defTabSz="843247" eaLnBrk="1" fontAlgn="auto" latinLnBrk="0" hangingPunct="1">
                <a:lnSpc>
                  <a:spcPct val="100000"/>
                </a:lnSpc>
                <a:spcBef>
                  <a:spcPts val="0"/>
                </a:spcBef>
                <a:spcAft>
                  <a:spcPct val="0"/>
                </a:spcAft>
                <a:buClrTx/>
                <a:buSzTx/>
                <a:buFontTx/>
                <a:buNone/>
                <a:tabLst/>
                <a:defRPr/>
              </a:pPr>
              <a:r>
                <a:rPr kumimoji="0" lang="en-US" altLang="en-US" sz="1600" b="1" i="0" u="none" strike="noStrike" kern="0" cap="none" spc="0" normalizeH="0" baseline="0" noProof="0">
                  <a:ln>
                    <a:noFill/>
                  </a:ln>
                  <a:solidFill>
                    <a:srgbClr val="86BC2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5,900+</a:t>
              </a:r>
            </a:p>
            <a:p>
              <a:pPr marL="0" marR="0" lvl="0" indent="0" defTabSz="84324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86BC2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rofessionals</a:t>
              </a:r>
            </a:p>
          </p:txBody>
        </p:sp>
        <p:sp>
          <p:nvSpPr>
            <p:cNvPr id="22" name="Rectangle 21">
              <a:extLst>
                <a:ext uri="{FF2B5EF4-FFF2-40B4-BE49-F238E27FC236}">
                  <a16:creationId xmlns:a16="http://schemas.microsoft.com/office/drawing/2014/main" id="{5C250A7E-A42E-4348-BEB8-8610BD7EF031}"/>
                </a:ext>
              </a:extLst>
            </p:cNvPr>
            <p:cNvSpPr/>
            <p:nvPr/>
          </p:nvSpPr>
          <p:spPr>
            <a:xfrm>
              <a:off x="9465953" y="2566913"/>
              <a:ext cx="1348902" cy="584775"/>
            </a:xfrm>
            <a:prstGeom prst="rect">
              <a:avLst/>
            </a:prstGeom>
          </p:spPr>
          <p:txBody>
            <a:bodyPr wrap="square">
              <a:spAutoFit/>
            </a:bodyPr>
            <a:lstStyle/>
            <a:p>
              <a:pPr marL="0" marR="0" lvl="0" indent="0" defTabSz="84324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86BC2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39%</a:t>
              </a:r>
            </a:p>
            <a:p>
              <a:pPr marL="0" marR="0" lvl="0" indent="0" defTabSz="84324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86BC2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omen</a:t>
              </a:r>
            </a:p>
          </p:txBody>
        </p:sp>
        <p:sp>
          <p:nvSpPr>
            <p:cNvPr id="23" name="Rectangle 22">
              <a:extLst>
                <a:ext uri="{FF2B5EF4-FFF2-40B4-BE49-F238E27FC236}">
                  <a16:creationId xmlns:a16="http://schemas.microsoft.com/office/drawing/2014/main" id="{39EB9E51-F33F-4DF6-9AC5-7C2BE46E2676}"/>
                </a:ext>
              </a:extLst>
            </p:cNvPr>
            <p:cNvSpPr/>
            <p:nvPr/>
          </p:nvSpPr>
          <p:spPr>
            <a:xfrm>
              <a:off x="9465953" y="3278002"/>
              <a:ext cx="2019374" cy="584775"/>
            </a:xfrm>
            <a:prstGeom prst="rect">
              <a:avLst/>
            </a:prstGeom>
          </p:spPr>
          <p:txBody>
            <a:bodyPr wrap="square">
              <a:spAutoFit/>
            </a:bodyPr>
            <a:lstStyle/>
            <a:p>
              <a:pPr marL="0" marR="0" lvl="0" indent="0" defTabSz="84324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86BC2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105</a:t>
              </a:r>
            </a:p>
            <a:p>
              <a:pPr marL="0" marR="0" lvl="0" indent="0" defTabSz="84324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86BC2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ationalities</a:t>
              </a:r>
            </a:p>
          </p:txBody>
        </p:sp>
        <p:sp>
          <p:nvSpPr>
            <p:cNvPr id="24" name="Rectangle 23">
              <a:extLst>
                <a:ext uri="{FF2B5EF4-FFF2-40B4-BE49-F238E27FC236}">
                  <a16:creationId xmlns:a16="http://schemas.microsoft.com/office/drawing/2014/main" id="{1584A572-9873-491C-93E4-C2C81C71C933}"/>
                </a:ext>
              </a:extLst>
            </p:cNvPr>
            <p:cNvSpPr/>
            <p:nvPr/>
          </p:nvSpPr>
          <p:spPr>
            <a:xfrm>
              <a:off x="9465953" y="3989091"/>
              <a:ext cx="2341123" cy="584775"/>
            </a:xfrm>
            <a:prstGeom prst="rect">
              <a:avLst/>
            </a:prstGeom>
          </p:spPr>
          <p:txBody>
            <a:bodyPr wrap="square">
              <a:spAutoFit/>
            </a:bodyPr>
            <a:lstStyle/>
            <a:p>
              <a:pPr marL="0" marR="0" lvl="0" indent="0" defTabSz="843247" eaLnBrk="1" fontAlgn="auto" latinLnBrk="0" hangingPunct="1">
                <a:lnSpc>
                  <a:spcPct val="100000"/>
                </a:lnSpc>
                <a:spcBef>
                  <a:spcPts val="0"/>
                </a:spcBef>
                <a:spcAft>
                  <a:spcPct val="0"/>
                </a:spcAft>
                <a:buClrTx/>
                <a:buSzTx/>
                <a:buFontTx/>
                <a:buNone/>
                <a:tabLst/>
                <a:defRPr/>
              </a:pPr>
              <a:r>
                <a:rPr kumimoji="0" lang="en-US" sz="1600" b="1" i="0" u="none" strike="noStrike" kern="0" cap="none" spc="0" normalizeH="0" baseline="0" noProof="0">
                  <a:ln>
                    <a:noFill/>
                  </a:ln>
                  <a:solidFill>
                    <a:srgbClr val="86BC2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15</a:t>
              </a:r>
            </a:p>
            <a:p>
              <a:pPr marL="0" marR="0" lvl="0" indent="0" defTabSz="84324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86BC2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untries</a:t>
              </a:r>
            </a:p>
          </p:txBody>
        </p:sp>
        <p:sp>
          <p:nvSpPr>
            <p:cNvPr id="25" name="Rectangle 24">
              <a:extLst>
                <a:ext uri="{FF2B5EF4-FFF2-40B4-BE49-F238E27FC236}">
                  <a16:creationId xmlns:a16="http://schemas.microsoft.com/office/drawing/2014/main" id="{3305DC3C-7393-409F-90DA-4037F3A19290}"/>
                </a:ext>
              </a:extLst>
            </p:cNvPr>
            <p:cNvSpPr/>
            <p:nvPr/>
          </p:nvSpPr>
          <p:spPr>
            <a:xfrm>
              <a:off x="9465953" y="4700181"/>
              <a:ext cx="1154349" cy="584775"/>
            </a:xfrm>
            <a:prstGeom prst="rect">
              <a:avLst/>
            </a:prstGeom>
          </p:spPr>
          <p:txBody>
            <a:bodyPr wrap="square">
              <a:spAutoFit/>
            </a:bodyPr>
            <a:lstStyle/>
            <a:p>
              <a:pPr marL="0" marR="0" lvl="0" indent="0" defTabSz="84324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86BC2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29</a:t>
              </a:r>
            </a:p>
            <a:p>
              <a:pPr marL="0" marR="0" lvl="0" indent="0" defTabSz="84324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86BC2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ffices</a:t>
              </a:r>
            </a:p>
          </p:txBody>
        </p:sp>
      </p:grpSp>
      <p:pic>
        <p:nvPicPr>
          <p:cNvPr id="26" name="Picture 25">
            <a:extLst>
              <a:ext uri="{FF2B5EF4-FFF2-40B4-BE49-F238E27FC236}">
                <a16:creationId xmlns:a16="http://schemas.microsoft.com/office/drawing/2014/main" id="{AFB1CB19-DC34-4AFD-9DC0-45DA0307AB75}"/>
              </a:ext>
            </a:extLst>
          </p:cNvPr>
          <p:cNvPicPr>
            <a:picLocks noChangeAspect="1"/>
          </p:cNvPicPr>
          <p:nvPr/>
        </p:nvPicPr>
        <p:blipFill>
          <a:blip r:embed="rId2"/>
          <a:stretch>
            <a:fillRect/>
          </a:stretch>
        </p:blipFill>
        <p:spPr>
          <a:xfrm>
            <a:off x="4156375" y="3172167"/>
            <a:ext cx="4874961" cy="2981576"/>
          </a:xfrm>
          <a:prstGeom prst="rect">
            <a:avLst/>
          </a:prstGeom>
        </p:spPr>
      </p:pic>
      <p:pic>
        <p:nvPicPr>
          <p:cNvPr id="27" name="Picture 2">
            <a:extLst>
              <a:ext uri="{FF2B5EF4-FFF2-40B4-BE49-F238E27FC236}">
                <a16:creationId xmlns:a16="http://schemas.microsoft.com/office/drawing/2014/main" id="{01545317-6F4D-4AB0-B319-F6467995C81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35193" y="5131863"/>
            <a:ext cx="1828800" cy="68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5013628"/>
      </p:ext>
    </p:extLst>
  </p:cSld>
  <p:clrMapOvr>
    <a:masterClrMapping/>
  </p:clrMapOvr>
  <p:transition spd="med"/>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34625A-4F50-4216-97E9-D8C18D7981AA}"/>
              </a:ext>
            </a:extLst>
          </p:cNvPr>
          <p:cNvSpPr>
            <a:spLocks noGrp="1"/>
          </p:cNvSpPr>
          <p:nvPr>
            <p:ph type="body" sz="quarter" idx="1"/>
          </p:nvPr>
        </p:nvSpPr>
        <p:spPr/>
        <p:txBody>
          <a:bodyPr/>
          <a:lstStyle/>
          <a:p>
            <a:r>
              <a:rPr kumimoji="0" lang="en-US" sz="1400" b="1" i="0" u="none" strike="noStrike" kern="1200" cap="none" spc="0" normalizeH="0" baseline="0" noProof="0" dirty="0">
                <a:ln>
                  <a:noFill/>
                </a:ln>
                <a:solidFill>
                  <a:srgbClr val="575757"/>
                </a:solidFill>
                <a:effectLst/>
                <a:uLnTx/>
                <a:uFillTx/>
                <a:latin typeface="+mn-lt"/>
                <a:ea typeface="Open Sans Light" panose="020B0306030504020204" pitchFamily="34" charset="0"/>
                <a:cs typeface="Open Sans Light" panose="020B0306030504020204" pitchFamily="34" charset="0"/>
              </a:rPr>
              <a:t>Our Presence in the Middle East</a:t>
            </a:r>
          </a:p>
        </p:txBody>
      </p:sp>
      <p:sp>
        <p:nvSpPr>
          <p:cNvPr id="3" name="Title 2">
            <a:extLst>
              <a:ext uri="{FF2B5EF4-FFF2-40B4-BE49-F238E27FC236}">
                <a16:creationId xmlns:a16="http://schemas.microsoft.com/office/drawing/2014/main" id="{A3C6915B-73DD-4DB7-BF83-AC8365F75693}"/>
              </a:ext>
            </a:extLst>
          </p:cNvPr>
          <p:cNvSpPr>
            <a:spLocks noGrp="1"/>
          </p:cNvSpPr>
          <p:nvPr>
            <p:ph type="title"/>
          </p:nvPr>
        </p:nvSpPr>
        <p:spPr/>
        <p:txBody>
          <a:bodyPr/>
          <a:lstStyle/>
          <a:p>
            <a:r>
              <a:rPr lang="en-US" sz="2000">
                <a:solidFill>
                  <a:schemeClr val="tx2">
                    <a:lumMod val="50000"/>
                  </a:schemeClr>
                </a:solidFill>
                <a:latin typeface="+mn-lt"/>
                <a:ea typeface="Open Sans Semibold" panose="020B0706030804020204" pitchFamily="34" charset="0"/>
                <a:cs typeface="Open Sans Semibold" panose="020B0706030804020204" pitchFamily="34" charset="0"/>
              </a:rPr>
              <a:t>About Deloitte</a:t>
            </a:r>
            <a:endParaRPr lang="en-US">
              <a:solidFill>
                <a:schemeClr val="tx2">
                  <a:lumMod val="50000"/>
                </a:schemeClr>
              </a:solidFill>
              <a:latin typeface="+mn-lt"/>
              <a:ea typeface="Open Sans Semibold" panose="020B0706030804020204" pitchFamily="34" charset="0"/>
              <a:cs typeface="Open Sans Semibold" panose="020B0706030804020204" pitchFamily="34" charset="0"/>
            </a:endParaRPr>
          </a:p>
        </p:txBody>
      </p:sp>
      <p:sp>
        <p:nvSpPr>
          <p:cNvPr id="21" name="Rectangle 20">
            <a:extLst>
              <a:ext uri="{FF2B5EF4-FFF2-40B4-BE49-F238E27FC236}">
                <a16:creationId xmlns:a16="http://schemas.microsoft.com/office/drawing/2014/main" id="{FB615E21-B508-44B2-BB95-554438EA54EB}"/>
              </a:ext>
            </a:extLst>
          </p:cNvPr>
          <p:cNvSpPr/>
          <p:nvPr/>
        </p:nvSpPr>
        <p:spPr>
          <a:xfrm>
            <a:off x="368298" y="1596657"/>
            <a:ext cx="3365502" cy="2246769"/>
          </a:xfrm>
          <a:prstGeom prst="rect">
            <a:avLst/>
          </a:prstGeom>
        </p:spPr>
        <p:txBody>
          <a:bodyPr wrap="square">
            <a:spAutoFit/>
          </a:bodyPr>
          <a:lstStyle/>
          <a:p>
            <a:pPr defTabSz="1219170" hangingPunct="1"/>
            <a:r>
              <a:rPr lang="en-US" sz="28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Our 5,900 + professionals serve the Levant region and the wider GCC across 15 countries</a:t>
            </a:r>
          </a:p>
        </p:txBody>
      </p:sp>
      <p:sp>
        <p:nvSpPr>
          <p:cNvPr id="22" name="TextBox 21">
            <a:extLst>
              <a:ext uri="{FF2B5EF4-FFF2-40B4-BE49-F238E27FC236}">
                <a16:creationId xmlns:a16="http://schemas.microsoft.com/office/drawing/2014/main" id="{39EB58F9-8273-46A3-8D9D-5C6F2A496098}"/>
              </a:ext>
            </a:extLst>
          </p:cNvPr>
          <p:cNvSpPr txBox="1"/>
          <p:nvPr/>
        </p:nvSpPr>
        <p:spPr>
          <a:xfrm>
            <a:off x="8213806" y="4123168"/>
            <a:ext cx="2842811" cy="1569660"/>
          </a:xfrm>
          <a:prstGeom prst="rect">
            <a:avLst/>
          </a:prstGeom>
          <a:noFill/>
        </p:spPr>
        <p:txBody>
          <a:bodyPr wrap="square" lIns="45720" rIns="45720" rtlCol="0">
            <a:spAutoFit/>
          </a:bodyPr>
          <a:lstStyle/>
          <a:p>
            <a:pPr hangingPunct="1">
              <a:defRPr/>
            </a:pPr>
            <a:r>
              <a:rPr lang="en-US" sz="1600" b="1"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United Arab Emirates</a:t>
            </a:r>
            <a:b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b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Dubai</a:t>
            </a:r>
            <a:r>
              <a:rPr lang="en-US" sz="1600" i="1"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a:t>
            </a:r>
          </a:p>
          <a:p>
            <a:pPr hangingPunct="1">
              <a:defRPr/>
            </a:pP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bu Dhabi</a:t>
            </a:r>
          </a:p>
          <a:p>
            <a:pPr hangingPunct="1">
              <a:defRPr/>
            </a:pP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Fujairah</a:t>
            </a:r>
          </a:p>
          <a:p>
            <a:pPr hangingPunct="1">
              <a:defRPr/>
            </a:pP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Ras Al-Khaimah</a:t>
            </a:r>
          </a:p>
          <a:p>
            <a:pPr hangingPunct="1">
              <a:defRPr/>
            </a:pP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harjah</a:t>
            </a:r>
          </a:p>
        </p:txBody>
      </p:sp>
      <p:sp>
        <p:nvSpPr>
          <p:cNvPr id="23" name="TextBox 22">
            <a:extLst>
              <a:ext uri="{FF2B5EF4-FFF2-40B4-BE49-F238E27FC236}">
                <a16:creationId xmlns:a16="http://schemas.microsoft.com/office/drawing/2014/main" id="{D26CB3F4-AC1C-4B8F-A3A8-4F6B6D4B3024}"/>
              </a:ext>
            </a:extLst>
          </p:cNvPr>
          <p:cNvSpPr txBox="1"/>
          <p:nvPr/>
        </p:nvSpPr>
        <p:spPr>
          <a:xfrm>
            <a:off x="8213806" y="2812008"/>
            <a:ext cx="974927" cy="584775"/>
          </a:xfrm>
          <a:prstGeom prst="rect">
            <a:avLst/>
          </a:prstGeom>
          <a:noFill/>
        </p:spPr>
        <p:txBody>
          <a:bodyPr wrap="square" lIns="45720" rIns="45720" rtlCol="0">
            <a:spAutoFit/>
          </a:bodyPr>
          <a:lstStyle/>
          <a:p>
            <a:pPr hangingPunct="1">
              <a:spcBef>
                <a:spcPts val="400"/>
              </a:spcBef>
              <a:defRPr/>
            </a:pPr>
            <a:r>
              <a:rPr lang="en-US" sz="1600" b="1"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Qatar</a:t>
            </a:r>
            <a:br>
              <a:rPr lang="en-US" sz="1600" kern="1200">
                <a:solidFill>
                  <a:srgbClr val="0097A9"/>
                </a:solidFill>
                <a:latin typeface="Open Sans Light" panose="020B0306030504020204" pitchFamily="34" charset="0"/>
                <a:ea typeface="Open Sans Light" panose="020B0306030504020204" pitchFamily="34" charset="0"/>
                <a:cs typeface="Open Sans Light" panose="020B0306030504020204" pitchFamily="34" charset="0"/>
              </a:rPr>
            </a:b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Doha</a:t>
            </a:r>
          </a:p>
        </p:txBody>
      </p:sp>
      <p:sp>
        <p:nvSpPr>
          <p:cNvPr id="24" name="TextBox 23">
            <a:extLst>
              <a:ext uri="{FF2B5EF4-FFF2-40B4-BE49-F238E27FC236}">
                <a16:creationId xmlns:a16="http://schemas.microsoft.com/office/drawing/2014/main" id="{05D9DC24-1043-4F17-B582-E09278F52DF0}"/>
              </a:ext>
            </a:extLst>
          </p:cNvPr>
          <p:cNvSpPr txBox="1"/>
          <p:nvPr/>
        </p:nvSpPr>
        <p:spPr>
          <a:xfrm>
            <a:off x="404550" y="3968592"/>
            <a:ext cx="1378945" cy="584775"/>
          </a:xfrm>
          <a:prstGeom prst="rect">
            <a:avLst/>
          </a:prstGeom>
          <a:noFill/>
        </p:spPr>
        <p:txBody>
          <a:bodyPr wrap="square" lIns="45720" rIns="45720" rtlCol="0">
            <a:spAutoFit/>
          </a:bodyPr>
          <a:lstStyle/>
          <a:p>
            <a:pPr hangingPunct="1">
              <a:spcBef>
                <a:spcPts val="400"/>
              </a:spcBef>
              <a:defRPr/>
            </a:pPr>
            <a:r>
              <a:rPr lang="en-US" sz="1600" b="1"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Bahrain</a:t>
            </a:r>
            <a:b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b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Manama</a:t>
            </a:r>
          </a:p>
        </p:txBody>
      </p:sp>
      <p:sp>
        <p:nvSpPr>
          <p:cNvPr id="25" name="TextBox 24">
            <a:extLst>
              <a:ext uri="{FF2B5EF4-FFF2-40B4-BE49-F238E27FC236}">
                <a16:creationId xmlns:a16="http://schemas.microsoft.com/office/drawing/2014/main" id="{50232B12-C4D2-4E28-826A-79A5E22091E7}"/>
              </a:ext>
            </a:extLst>
          </p:cNvPr>
          <p:cNvSpPr txBox="1"/>
          <p:nvPr/>
        </p:nvSpPr>
        <p:spPr>
          <a:xfrm>
            <a:off x="4968679" y="1245223"/>
            <a:ext cx="3320048" cy="1128514"/>
          </a:xfrm>
          <a:prstGeom prst="rect">
            <a:avLst/>
          </a:prstGeom>
          <a:noFill/>
        </p:spPr>
        <p:txBody>
          <a:bodyPr wrap="square" lIns="45720" rIns="45720" rtlCol="0">
            <a:spAutoFit/>
          </a:bodyPr>
          <a:lstStyle/>
          <a:p>
            <a:pPr hangingPunct="1">
              <a:spcBef>
                <a:spcPts val="400"/>
              </a:spcBef>
              <a:defRPr/>
            </a:pPr>
            <a:r>
              <a:rPr lang="en-US" sz="1600" b="1"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Kingdom of Saudi Arabia</a:t>
            </a:r>
          </a:p>
          <a:p>
            <a:pPr hangingPunct="1">
              <a:spcBef>
                <a:spcPts val="400"/>
              </a:spcBef>
              <a:defRPr/>
            </a:pP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Riyadh</a:t>
            </a:r>
            <a:br>
              <a:rPr lang="en-US" sz="1600" i="1"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b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Jeddah</a:t>
            </a:r>
          </a:p>
          <a:p>
            <a:pPr hangingPunct="1">
              <a:defRPr/>
            </a:pP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l Khobar</a:t>
            </a:r>
          </a:p>
        </p:txBody>
      </p:sp>
      <p:sp>
        <p:nvSpPr>
          <p:cNvPr id="26" name="TextBox 25">
            <a:extLst>
              <a:ext uri="{FF2B5EF4-FFF2-40B4-BE49-F238E27FC236}">
                <a16:creationId xmlns:a16="http://schemas.microsoft.com/office/drawing/2014/main" id="{0AD137DE-5521-4B95-ABA9-6BD26AAC7D85}"/>
              </a:ext>
            </a:extLst>
          </p:cNvPr>
          <p:cNvSpPr txBox="1"/>
          <p:nvPr/>
        </p:nvSpPr>
        <p:spPr>
          <a:xfrm>
            <a:off x="8213806" y="1254626"/>
            <a:ext cx="1161840" cy="584775"/>
          </a:xfrm>
          <a:prstGeom prst="rect">
            <a:avLst/>
          </a:prstGeom>
          <a:noFill/>
        </p:spPr>
        <p:txBody>
          <a:bodyPr wrap="square" lIns="45720" rIns="45720" rtlCol="0">
            <a:spAutoFit/>
          </a:bodyPr>
          <a:lstStyle/>
          <a:p>
            <a:pPr hangingPunct="1">
              <a:spcBef>
                <a:spcPts val="400"/>
              </a:spcBef>
              <a:defRPr/>
            </a:pPr>
            <a:r>
              <a:rPr lang="en-US" sz="1600" b="1"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Oman</a:t>
            </a:r>
            <a:b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b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Muscat</a:t>
            </a:r>
          </a:p>
        </p:txBody>
      </p:sp>
      <p:sp>
        <p:nvSpPr>
          <p:cNvPr id="27" name="TextBox 26">
            <a:extLst>
              <a:ext uri="{FF2B5EF4-FFF2-40B4-BE49-F238E27FC236}">
                <a16:creationId xmlns:a16="http://schemas.microsoft.com/office/drawing/2014/main" id="{D7988115-FC48-4F01-BB67-559986103EE3}"/>
              </a:ext>
            </a:extLst>
          </p:cNvPr>
          <p:cNvSpPr txBox="1"/>
          <p:nvPr/>
        </p:nvSpPr>
        <p:spPr>
          <a:xfrm>
            <a:off x="4968679" y="4228163"/>
            <a:ext cx="1554840" cy="584775"/>
          </a:xfrm>
          <a:prstGeom prst="rect">
            <a:avLst/>
          </a:prstGeom>
          <a:noFill/>
        </p:spPr>
        <p:txBody>
          <a:bodyPr wrap="square" lIns="45720" rIns="45720" rtlCol="0">
            <a:spAutoFit/>
          </a:bodyPr>
          <a:lstStyle/>
          <a:p>
            <a:pPr hangingPunct="1">
              <a:defRPr/>
            </a:pPr>
            <a:r>
              <a:rPr lang="en-US" sz="1600" b="1"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Kuwait</a:t>
            </a:r>
            <a:b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b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Kuwait City</a:t>
            </a:r>
          </a:p>
        </p:txBody>
      </p:sp>
      <p:sp>
        <p:nvSpPr>
          <p:cNvPr id="28" name="TextBox 27">
            <a:extLst>
              <a:ext uri="{FF2B5EF4-FFF2-40B4-BE49-F238E27FC236}">
                <a16:creationId xmlns:a16="http://schemas.microsoft.com/office/drawing/2014/main" id="{324F98C2-AB80-457B-9B15-DDD3B04D010B}"/>
              </a:ext>
            </a:extLst>
          </p:cNvPr>
          <p:cNvSpPr txBox="1"/>
          <p:nvPr/>
        </p:nvSpPr>
        <p:spPr>
          <a:xfrm>
            <a:off x="2112879" y="3942670"/>
            <a:ext cx="1857542" cy="830997"/>
          </a:xfrm>
          <a:prstGeom prst="rect">
            <a:avLst/>
          </a:prstGeom>
          <a:noFill/>
        </p:spPr>
        <p:txBody>
          <a:bodyPr wrap="square" lIns="45720" rIns="45720" rtlCol="0">
            <a:spAutoFit/>
          </a:bodyPr>
          <a:lstStyle/>
          <a:p>
            <a:pPr hangingPunct="1">
              <a:defRPr/>
            </a:pPr>
            <a:r>
              <a:rPr lang="en-US" sz="1600" b="1"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Egypt</a:t>
            </a:r>
            <a:br>
              <a:rPr lang="en-US" sz="1600" kern="1200">
                <a:solidFill>
                  <a:srgbClr val="00A3E0"/>
                </a:solidFill>
                <a:latin typeface="Open Sans Light" panose="020B0306030504020204" pitchFamily="34" charset="0"/>
                <a:ea typeface="Open Sans Light" panose="020B0306030504020204" pitchFamily="34" charset="0"/>
                <a:cs typeface="Open Sans Light" panose="020B0306030504020204" pitchFamily="34" charset="0"/>
              </a:rPr>
            </a:b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airo</a:t>
            </a:r>
          </a:p>
          <a:p>
            <a:pPr hangingPunct="1">
              <a:defRPr/>
            </a:pPr>
            <a:endPar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9" name="TextBox 28">
            <a:extLst>
              <a:ext uri="{FF2B5EF4-FFF2-40B4-BE49-F238E27FC236}">
                <a16:creationId xmlns:a16="http://schemas.microsoft.com/office/drawing/2014/main" id="{C2B7E8A1-724F-4EBC-85F4-1298B2DE46E7}"/>
              </a:ext>
            </a:extLst>
          </p:cNvPr>
          <p:cNvSpPr txBox="1"/>
          <p:nvPr/>
        </p:nvSpPr>
        <p:spPr>
          <a:xfrm>
            <a:off x="4968679" y="4959156"/>
            <a:ext cx="1489582" cy="584775"/>
          </a:xfrm>
          <a:prstGeom prst="rect">
            <a:avLst/>
          </a:prstGeom>
          <a:noFill/>
        </p:spPr>
        <p:txBody>
          <a:bodyPr wrap="square" lIns="45720" rIns="45720" rtlCol="0">
            <a:spAutoFit/>
          </a:bodyPr>
          <a:lstStyle/>
          <a:p>
            <a:pPr hangingPunct="1">
              <a:spcBef>
                <a:spcPts val="400"/>
              </a:spcBef>
              <a:defRPr/>
            </a:pPr>
            <a:r>
              <a:rPr lang="en-US" sz="1600" b="1"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Lebanon</a:t>
            </a:r>
            <a:b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b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Beirut</a:t>
            </a:r>
          </a:p>
        </p:txBody>
      </p:sp>
      <p:sp>
        <p:nvSpPr>
          <p:cNvPr id="30" name="TextBox 29">
            <a:extLst>
              <a:ext uri="{FF2B5EF4-FFF2-40B4-BE49-F238E27FC236}">
                <a16:creationId xmlns:a16="http://schemas.microsoft.com/office/drawing/2014/main" id="{418F2F84-4B3A-4C22-BDFF-8EAA8FFEA624}"/>
              </a:ext>
            </a:extLst>
          </p:cNvPr>
          <p:cNvSpPr txBox="1"/>
          <p:nvPr/>
        </p:nvSpPr>
        <p:spPr>
          <a:xfrm>
            <a:off x="4968679" y="3497170"/>
            <a:ext cx="1774614" cy="584775"/>
          </a:xfrm>
          <a:prstGeom prst="rect">
            <a:avLst/>
          </a:prstGeom>
          <a:noFill/>
        </p:spPr>
        <p:txBody>
          <a:bodyPr wrap="square" lIns="45720" rIns="45720" rtlCol="0">
            <a:spAutoFit/>
          </a:bodyPr>
          <a:lstStyle/>
          <a:p>
            <a:pPr hangingPunct="1">
              <a:spcBef>
                <a:spcPts val="400"/>
              </a:spcBef>
              <a:defRPr/>
            </a:pPr>
            <a:r>
              <a:rPr lang="en-US" sz="1600" b="1"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Jordan</a:t>
            </a:r>
            <a:b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b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mman</a:t>
            </a:r>
          </a:p>
        </p:txBody>
      </p:sp>
      <p:sp>
        <p:nvSpPr>
          <p:cNvPr id="31" name="TextBox 30">
            <a:extLst>
              <a:ext uri="{FF2B5EF4-FFF2-40B4-BE49-F238E27FC236}">
                <a16:creationId xmlns:a16="http://schemas.microsoft.com/office/drawing/2014/main" id="{83512D85-5DCC-41D7-B64C-E857BDEC6F25}"/>
              </a:ext>
            </a:extLst>
          </p:cNvPr>
          <p:cNvSpPr txBox="1"/>
          <p:nvPr/>
        </p:nvSpPr>
        <p:spPr>
          <a:xfrm>
            <a:off x="8213806" y="1910206"/>
            <a:ext cx="2031339" cy="830997"/>
          </a:xfrm>
          <a:prstGeom prst="rect">
            <a:avLst/>
          </a:prstGeom>
          <a:noFill/>
        </p:spPr>
        <p:txBody>
          <a:bodyPr wrap="square" lIns="45720" rIns="45720" rtlCol="0">
            <a:spAutoFit/>
          </a:bodyPr>
          <a:lstStyle/>
          <a:p>
            <a:pPr hangingPunct="1">
              <a:defRPr/>
            </a:pPr>
            <a:r>
              <a:rPr lang="en-US" sz="1600" b="1"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Palestinian Territories</a:t>
            </a:r>
          </a:p>
          <a:p>
            <a:pPr hangingPunct="1">
              <a:defRPr/>
            </a:pP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Ramallah</a:t>
            </a:r>
          </a:p>
        </p:txBody>
      </p:sp>
      <p:sp>
        <p:nvSpPr>
          <p:cNvPr id="32" name="TextBox 31">
            <a:extLst>
              <a:ext uri="{FF2B5EF4-FFF2-40B4-BE49-F238E27FC236}">
                <a16:creationId xmlns:a16="http://schemas.microsoft.com/office/drawing/2014/main" id="{1361A6C7-38C1-43A8-8AC7-04BF76C9F191}"/>
              </a:ext>
            </a:extLst>
          </p:cNvPr>
          <p:cNvSpPr txBox="1"/>
          <p:nvPr/>
        </p:nvSpPr>
        <p:spPr>
          <a:xfrm>
            <a:off x="4968679" y="2519955"/>
            <a:ext cx="1432367" cy="830997"/>
          </a:xfrm>
          <a:prstGeom prst="rect">
            <a:avLst/>
          </a:prstGeom>
          <a:noFill/>
        </p:spPr>
        <p:txBody>
          <a:bodyPr wrap="square" lIns="45720" rIns="45720" rtlCol="0">
            <a:spAutoFit/>
          </a:bodyPr>
          <a:lstStyle/>
          <a:p>
            <a:pPr hangingPunct="1">
              <a:defRPr/>
            </a:pPr>
            <a:r>
              <a:rPr lang="en-US" sz="1600" b="1"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Iraq</a:t>
            </a:r>
          </a:p>
          <a:p>
            <a:pPr hangingPunct="1">
              <a:defRPr/>
            </a:pP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Erbil</a:t>
            </a:r>
          </a:p>
          <a:p>
            <a:pPr hangingPunct="1">
              <a:defRPr/>
            </a:pP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Baghdad</a:t>
            </a:r>
          </a:p>
        </p:txBody>
      </p:sp>
      <p:sp>
        <p:nvSpPr>
          <p:cNvPr id="33" name="TextBox 32">
            <a:extLst>
              <a:ext uri="{FF2B5EF4-FFF2-40B4-BE49-F238E27FC236}">
                <a16:creationId xmlns:a16="http://schemas.microsoft.com/office/drawing/2014/main" id="{1B0735C8-7AFB-431C-B3EB-F2D4C59853F0}"/>
              </a:ext>
            </a:extLst>
          </p:cNvPr>
          <p:cNvSpPr txBox="1"/>
          <p:nvPr/>
        </p:nvSpPr>
        <p:spPr>
          <a:xfrm>
            <a:off x="4968679" y="5690148"/>
            <a:ext cx="1039885" cy="636072"/>
          </a:xfrm>
          <a:prstGeom prst="rect">
            <a:avLst/>
          </a:prstGeom>
          <a:noFill/>
        </p:spPr>
        <p:txBody>
          <a:bodyPr wrap="square" lIns="45720" rIns="45720" rtlCol="0">
            <a:spAutoFit/>
          </a:bodyPr>
          <a:lstStyle/>
          <a:p>
            <a:pPr hangingPunct="1">
              <a:spcBef>
                <a:spcPts val="400"/>
              </a:spcBef>
              <a:defRPr/>
            </a:pPr>
            <a:r>
              <a:rPr lang="en-US" sz="1600" b="1"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Libya</a:t>
            </a:r>
          </a:p>
          <a:p>
            <a:pPr hangingPunct="1">
              <a:spcBef>
                <a:spcPts val="400"/>
              </a:spcBef>
              <a:defRPr/>
            </a:pP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Tripoli</a:t>
            </a:r>
          </a:p>
        </p:txBody>
      </p:sp>
      <p:sp>
        <p:nvSpPr>
          <p:cNvPr id="34" name="TextBox 33">
            <a:extLst>
              <a:ext uri="{FF2B5EF4-FFF2-40B4-BE49-F238E27FC236}">
                <a16:creationId xmlns:a16="http://schemas.microsoft.com/office/drawing/2014/main" id="{145314F0-C3E6-4C38-821D-C0E86E69AE53}"/>
              </a:ext>
            </a:extLst>
          </p:cNvPr>
          <p:cNvSpPr txBox="1"/>
          <p:nvPr/>
        </p:nvSpPr>
        <p:spPr>
          <a:xfrm>
            <a:off x="8213806" y="5763634"/>
            <a:ext cx="997225" cy="584775"/>
          </a:xfrm>
          <a:prstGeom prst="rect">
            <a:avLst/>
          </a:prstGeom>
          <a:noFill/>
        </p:spPr>
        <p:txBody>
          <a:bodyPr wrap="square" lIns="45720" rIns="45720" rtlCol="0">
            <a:spAutoFit/>
          </a:bodyPr>
          <a:lstStyle/>
          <a:p>
            <a:pPr hangingPunct="1">
              <a:defRPr/>
            </a:pPr>
            <a:r>
              <a:rPr lang="en-US" sz="1600" b="1"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Yemen</a:t>
            </a:r>
          </a:p>
          <a:p>
            <a:pPr hangingPunct="1">
              <a:defRPr/>
            </a:pP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anaa</a:t>
            </a:r>
            <a:endParaRPr lang="en-US" sz="1600" i="1"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5" name="Rectangle 34">
            <a:extLst>
              <a:ext uri="{FF2B5EF4-FFF2-40B4-BE49-F238E27FC236}">
                <a16:creationId xmlns:a16="http://schemas.microsoft.com/office/drawing/2014/main" id="{3EA96B4F-B4C9-47AA-A3D4-D8A8A7B8F435}"/>
              </a:ext>
            </a:extLst>
          </p:cNvPr>
          <p:cNvSpPr/>
          <p:nvPr/>
        </p:nvSpPr>
        <p:spPr>
          <a:xfrm>
            <a:off x="2090992" y="4798710"/>
            <a:ext cx="1617415" cy="787786"/>
          </a:xfrm>
          <a:prstGeom prst="rect">
            <a:avLst/>
          </a:prstGeom>
          <a:solidFill>
            <a:sysClr val="window" lastClr="FFFFFF">
              <a:lumMod val="95000"/>
            </a:sysClr>
          </a:solidFill>
          <a:ln w="25400" cap="flat" cmpd="sng" algn="ctr">
            <a:noFill/>
            <a:prstDash val="solid"/>
          </a:ln>
          <a:effectLst/>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86BC2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105</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86BC2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ationalities</a:t>
            </a:r>
            <a:endParaRPr kumimoji="0" lang="en-US" sz="1400" b="0" i="0" u="none" strike="noStrike" kern="1200" cap="none" spc="0" normalizeH="0" baseline="0" noProof="0">
              <a:ln>
                <a:noFill/>
              </a:ln>
              <a:solidFill>
                <a:srgbClr val="86BC25"/>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6" name="TextBox 35">
            <a:extLst>
              <a:ext uri="{FF2B5EF4-FFF2-40B4-BE49-F238E27FC236}">
                <a16:creationId xmlns:a16="http://schemas.microsoft.com/office/drawing/2014/main" id="{8114D89D-E73B-446E-9FED-2C1BC7913DD9}"/>
              </a:ext>
            </a:extLst>
          </p:cNvPr>
          <p:cNvSpPr txBox="1"/>
          <p:nvPr/>
        </p:nvSpPr>
        <p:spPr>
          <a:xfrm>
            <a:off x="404550" y="4764165"/>
            <a:ext cx="1316763" cy="830997"/>
          </a:xfrm>
          <a:prstGeom prst="rect">
            <a:avLst/>
          </a:prstGeom>
          <a:noFill/>
        </p:spPr>
        <p:txBody>
          <a:bodyPr wrap="square" lIns="45720" rIns="45720" rtlCol="0">
            <a:spAutoFit/>
          </a:bodyPr>
          <a:lstStyle/>
          <a:p>
            <a:pPr hangingPunct="1">
              <a:defRPr/>
            </a:pPr>
            <a:r>
              <a:rPr lang="en-US" sz="1600" b="1"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Cyprus</a:t>
            </a:r>
          </a:p>
          <a:p>
            <a:pPr hangingPunct="1">
              <a:defRPr/>
            </a:pP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Nicosia</a:t>
            </a:r>
          </a:p>
          <a:p>
            <a:pPr hangingPunct="1">
              <a:defRPr/>
            </a:pP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Limassol</a:t>
            </a:r>
          </a:p>
        </p:txBody>
      </p:sp>
      <p:sp>
        <p:nvSpPr>
          <p:cNvPr id="37" name="TextBox 36">
            <a:extLst>
              <a:ext uri="{FF2B5EF4-FFF2-40B4-BE49-F238E27FC236}">
                <a16:creationId xmlns:a16="http://schemas.microsoft.com/office/drawing/2014/main" id="{D5A81502-8E45-448B-80D0-990F40B31958}"/>
              </a:ext>
            </a:extLst>
          </p:cNvPr>
          <p:cNvSpPr txBox="1"/>
          <p:nvPr/>
        </p:nvSpPr>
        <p:spPr>
          <a:xfrm>
            <a:off x="8213806" y="3467588"/>
            <a:ext cx="1715628" cy="584775"/>
          </a:xfrm>
          <a:prstGeom prst="rect">
            <a:avLst/>
          </a:prstGeom>
          <a:noFill/>
        </p:spPr>
        <p:txBody>
          <a:bodyPr wrap="square" lIns="45720" rIns="45720" rtlCol="0">
            <a:spAutoFit/>
          </a:bodyPr>
          <a:lstStyle/>
          <a:p>
            <a:pPr hangingPunct="1">
              <a:spcBef>
                <a:spcPts val="400"/>
              </a:spcBef>
              <a:defRPr/>
            </a:pPr>
            <a:r>
              <a:rPr lang="en-US" sz="1600" b="1"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Sudan</a:t>
            </a:r>
            <a:b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br>
            <a:r>
              <a:rPr lang="en-US" sz="16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Khartoum</a:t>
            </a:r>
            <a:endParaRPr lang="en-US" sz="1600" i="1"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396595397"/>
      </p:ext>
    </p:extLst>
  </p:cSld>
  <p:clrMapOvr>
    <a:masterClrMapping/>
  </p:clrMapOvr>
  <p:transition spd="med"/>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34625A-4F50-4216-97E9-D8C18D7981AA}"/>
              </a:ext>
            </a:extLst>
          </p:cNvPr>
          <p:cNvSpPr>
            <a:spLocks noGrp="1"/>
          </p:cNvSpPr>
          <p:nvPr>
            <p:ph type="body" sz="quarter" idx="1"/>
          </p:nvPr>
        </p:nvSpPr>
        <p:spPr/>
        <p:txBody>
          <a:bodyPr/>
          <a:lstStyle/>
          <a:p>
            <a:r>
              <a:rPr kumimoji="0" lang="en-US" sz="1400" b="1" i="0" u="none" strike="noStrike" kern="1200" cap="none" spc="0" normalizeH="0" baseline="0" noProof="0" dirty="0">
                <a:ln>
                  <a:noFill/>
                </a:ln>
                <a:solidFill>
                  <a:srgbClr val="575757"/>
                </a:solidFill>
                <a:effectLst/>
                <a:uLnTx/>
                <a:uFillTx/>
                <a:latin typeface="+mn-lt"/>
                <a:ea typeface="Open Sans Light" panose="020B0306030504020204" pitchFamily="34" charset="0"/>
                <a:cs typeface="Open Sans Light" panose="020B0306030504020204" pitchFamily="34" charset="0"/>
              </a:rPr>
              <a:t>Our Regional Presence</a:t>
            </a:r>
          </a:p>
        </p:txBody>
      </p:sp>
      <p:sp>
        <p:nvSpPr>
          <p:cNvPr id="3" name="Title 2">
            <a:extLst>
              <a:ext uri="{FF2B5EF4-FFF2-40B4-BE49-F238E27FC236}">
                <a16:creationId xmlns:a16="http://schemas.microsoft.com/office/drawing/2014/main" id="{A3C6915B-73DD-4DB7-BF83-AC8365F75693}"/>
              </a:ext>
            </a:extLst>
          </p:cNvPr>
          <p:cNvSpPr>
            <a:spLocks noGrp="1"/>
          </p:cNvSpPr>
          <p:nvPr>
            <p:ph type="title"/>
          </p:nvPr>
        </p:nvSpPr>
        <p:spPr/>
        <p:txBody>
          <a:bodyPr/>
          <a:lstStyle/>
          <a:p>
            <a:r>
              <a:rPr lang="en-US" sz="2000">
                <a:solidFill>
                  <a:schemeClr val="tx2">
                    <a:lumMod val="50000"/>
                  </a:schemeClr>
                </a:solidFill>
                <a:latin typeface="+mn-lt"/>
                <a:ea typeface="Open Sans Semibold" panose="020B0706030804020204" pitchFamily="34" charset="0"/>
                <a:cs typeface="Open Sans Semibold" panose="020B0706030804020204" pitchFamily="34" charset="0"/>
              </a:rPr>
              <a:t>About Deloitte</a:t>
            </a:r>
            <a:endParaRPr lang="en-US">
              <a:solidFill>
                <a:schemeClr val="tx2">
                  <a:lumMod val="50000"/>
                </a:schemeClr>
              </a:solidFill>
              <a:latin typeface="+mn-lt"/>
              <a:ea typeface="Open Sans Semibold" panose="020B0706030804020204" pitchFamily="34" charset="0"/>
              <a:cs typeface="Open Sans Semibold" panose="020B0706030804020204" pitchFamily="34" charset="0"/>
            </a:endParaRPr>
          </a:p>
        </p:txBody>
      </p:sp>
      <p:sp>
        <p:nvSpPr>
          <p:cNvPr id="11" name="Content Placeholder 46">
            <a:extLst>
              <a:ext uri="{FF2B5EF4-FFF2-40B4-BE49-F238E27FC236}">
                <a16:creationId xmlns:a16="http://schemas.microsoft.com/office/drawing/2014/main" id="{CBCE95D6-7024-4CD4-B547-421AA5B00D35}"/>
              </a:ext>
            </a:extLst>
          </p:cNvPr>
          <p:cNvSpPr txBox="1">
            <a:spLocks/>
          </p:cNvSpPr>
          <p:nvPr/>
        </p:nvSpPr>
        <p:spPr>
          <a:xfrm>
            <a:off x="535516" y="1324380"/>
            <a:ext cx="2343151" cy="1695451"/>
          </a:xfrm>
          <a:prstGeom prst="rect">
            <a:avLst/>
          </a:prstGeom>
        </p:spPr>
        <p:txBody>
          <a:bodyPr vert="horz" lIns="0" tIns="0" rIns="0" bIns="0" rtlCol="0">
            <a:noAutofit/>
          </a:bodyPr>
          <a:lstStyle>
            <a:lvl1pPr marL="0" indent="0" algn="l" defTabSz="1216733" rtl="0" eaLnBrk="1" latinLnBrk="0" hangingPunct="1">
              <a:spcBef>
                <a:spcPts val="598"/>
              </a:spcBef>
              <a:spcAft>
                <a:spcPts val="598"/>
              </a:spcAft>
              <a:buSzPct val="100000"/>
              <a:buFont typeface="Arial" panose="020B0604020202020204" pitchFamily="34" charset="0"/>
              <a:buNone/>
              <a:defRPr sz="1198" b="0" kern="1200">
                <a:solidFill>
                  <a:schemeClr val="tx1"/>
                </a:solidFill>
                <a:latin typeface="+mn-lt"/>
                <a:ea typeface="+mn-ea"/>
                <a:cs typeface="+mn-cs"/>
              </a:defRPr>
            </a:lvl1pPr>
            <a:lvl2pPr marL="0" indent="0" algn="l" defTabSz="1216733" rtl="0" eaLnBrk="1" latinLnBrk="0" hangingPunct="1">
              <a:spcBef>
                <a:spcPts val="598"/>
              </a:spcBef>
              <a:spcAft>
                <a:spcPts val="598"/>
              </a:spcAft>
              <a:buClrTx/>
              <a:buSzPct val="100000"/>
              <a:buFont typeface="Arial"/>
              <a:buNone/>
              <a:defRPr lang="en-US" sz="1198" b="1" kern="1200" dirty="0" smtClean="0">
                <a:solidFill>
                  <a:schemeClr val="tx1"/>
                </a:solidFill>
                <a:latin typeface="+mn-lt"/>
                <a:ea typeface="+mn-ea"/>
                <a:cs typeface="+mn-cs"/>
              </a:defRPr>
            </a:lvl2pPr>
            <a:lvl3pPr marL="179640" indent="-179640" algn="l" defTabSz="1216733" rtl="0" eaLnBrk="1" latinLnBrk="0" hangingPunct="1">
              <a:spcBef>
                <a:spcPts val="598"/>
              </a:spcBef>
              <a:spcAft>
                <a:spcPts val="598"/>
              </a:spcAft>
              <a:buClrTx/>
              <a:buSzPct val="100000"/>
              <a:buFont typeface="Arial" panose="020B0604020202020204" pitchFamily="34" charset="0"/>
              <a:buChar char="•"/>
              <a:defRPr lang="en-US" sz="1198" kern="1200" dirty="0" smtClean="0">
                <a:solidFill>
                  <a:schemeClr val="tx1"/>
                </a:solidFill>
                <a:latin typeface="+mn-lt"/>
                <a:ea typeface="+mn-ea"/>
                <a:cs typeface="+mn-cs"/>
              </a:defRPr>
            </a:lvl3pPr>
            <a:lvl4pPr marL="359280" indent="-179640" algn="l" defTabSz="1216733" rtl="0" eaLnBrk="1" latinLnBrk="0" hangingPunct="1">
              <a:spcBef>
                <a:spcPts val="598"/>
              </a:spcBef>
              <a:spcAft>
                <a:spcPts val="598"/>
              </a:spcAft>
              <a:buClrTx/>
              <a:buSzPct val="100000"/>
              <a:buFont typeface="Verdana" panose="020B0604030504040204" pitchFamily="34" charset="0"/>
              <a:buChar char="−"/>
              <a:defRPr lang="en-US" sz="1198" kern="1200" baseline="0" dirty="0" smtClean="0">
                <a:solidFill>
                  <a:schemeClr val="tx1"/>
                </a:solidFill>
                <a:latin typeface="+mn-lt"/>
                <a:ea typeface="+mn-ea"/>
                <a:cs typeface="+mn-cs"/>
              </a:defRPr>
            </a:lvl4pPr>
            <a:lvl5pPr marL="538921" indent="-179640" algn="l" defTabSz="1062528" rtl="0" eaLnBrk="1" latinLnBrk="0" hangingPunct="1">
              <a:spcBef>
                <a:spcPts val="598"/>
              </a:spcBef>
              <a:spcAft>
                <a:spcPts val="598"/>
              </a:spcAft>
              <a:buClrTx/>
              <a:buSzPct val="100000"/>
              <a:buFont typeface="Arial" panose="020B0604020202020204" pitchFamily="34" charset="0"/>
              <a:buChar char="•"/>
              <a:tabLst/>
              <a:defRPr lang="en-US" sz="1198" kern="1200" baseline="0" dirty="0" smtClean="0">
                <a:solidFill>
                  <a:schemeClr val="tx1"/>
                </a:solidFill>
                <a:latin typeface="+mn-lt"/>
                <a:ea typeface="+mn-ea"/>
                <a:cs typeface="+mn-cs"/>
              </a:defRPr>
            </a:lvl5pPr>
            <a:lvl6pPr marL="708962" indent="-234724" algn="l" defTabSz="1216733" rtl="0" eaLnBrk="1" latinLnBrk="0" hangingPunct="1">
              <a:spcBef>
                <a:spcPts val="0"/>
              </a:spcBef>
              <a:spcAft>
                <a:spcPts val="1331"/>
              </a:spcAft>
              <a:buFont typeface="Verdana" panose="020B0604030504040204" pitchFamily="34" charset="0"/>
              <a:buChar char="−"/>
              <a:defRPr sz="1596" kern="1200" baseline="0">
                <a:solidFill>
                  <a:schemeClr val="tx1"/>
                </a:solidFill>
                <a:latin typeface="+mn-lt"/>
                <a:ea typeface="+mn-ea"/>
                <a:cs typeface="+mn-cs"/>
              </a:defRPr>
            </a:lvl6pPr>
            <a:lvl7pPr marL="708962" indent="-234724" algn="l" defTabSz="1216733" rtl="0" eaLnBrk="1" latinLnBrk="0" hangingPunct="1">
              <a:spcBef>
                <a:spcPts val="0"/>
              </a:spcBef>
              <a:spcAft>
                <a:spcPts val="1331"/>
              </a:spcAft>
              <a:buFont typeface="Verdana" panose="020B0604030504040204" pitchFamily="34" charset="0"/>
              <a:buChar char="−"/>
              <a:defRPr sz="1596" kern="1200">
                <a:solidFill>
                  <a:schemeClr val="tx1"/>
                </a:solidFill>
                <a:latin typeface="+mn-lt"/>
                <a:ea typeface="+mn-ea"/>
                <a:cs typeface="+mn-cs"/>
              </a:defRPr>
            </a:lvl7pPr>
            <a:lvl8pPr marL="708962" indent="-234724" algn="l" defTabSz="1216733" rtl="0" eaLnBrk="1" latinLnBrk="0" hangingPunct="1">
              <a:spcBef>
                <a:spcPts val="0"/>
              </a:spcBef>
              <a:spcAft>
                <a:spcPts val="1331"/>
              </a:spcAft>
              <a:buFont typeface="Verdana" panose="020B0604030504040204" pitchFamily="34" charset="0"/>
              <a:buChar char="−"/>
              <a:defRPr sz="1596" kern="1200" baseline="0">
                <a:solidFill>
                  <a:schemeClr val="tx1"/>
                </a:solidFill>
                <a:latin typeface="+mn-lt"/>
                <a:ea typeface="+mn-ea"/>
                <a:cs typeface="+mn-cs"/>
              </a:defRPr>
            </a:lvl8pPr>
            <a:lvl9pPr marL="708962" indent="-234724" algn="l" defTabSz="1216733" rtl="0" eaLnBrk="1" latinLnBrk="0" hangingPunct="1">
              <a:spcBef>
                <a:spcPts val="0"/>
              </a:spcBef>
              <a:spcAft>
                <a:spcPts val="1331"/>
              </a:spcAft>
              <a:buFont typeface="Verdana" panose="020B0604030504040204" pitchFamily="34" charset="0"/>
              <a:buChar char="−"/>
              <a:defRPr sz="1596" kern="1200" baseline="0">
                <a:solidFill>
                  <a:schemeClr val="tx1"/>
                </a:solidFill>
                <a:latin typeface="+mn-lt"/>
                <a:ea typeface="+mn-ea"/>
                <a:cs typeface="+mn-cs"/>
              </a:defRPr>
            </a:lvl9pPr>
          </a:lstStyle>
          <a:p>
            <a:pPr>
              <a:spcAft>
                <a:spcPts val="600"/>
              </a:spcAft>
            </a:pPr>
            <a:r>
              <a:rPr lang="en-US" sz="1400" b="1">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Deloitte at a glance</a:t>
            </a:r>
          </a:p>
          <a:p>
            <a:pPr>
              <a:spcAft>
                <a:spcPts val="415"/>
              </a:spcAft>
            </a:pPr>
            <a:r>
              <a:rPr lang="en-US" sz="1400" spc="-3">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Deloitte is established in</a:t>
            </a:r>
            <a:r>
              <a:rPr lang="en-US" sz="140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400" spc="-3">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the</a:t>
            </a:r>
            <a:r>
              <a:rPr lang="en-US" sz="1400" spc="3">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400" spc="-3">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Middle East</a:t>
            </a:r>
            <a:r>
              <a:rPr lang="en-US" sz="140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400" spc="-3">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region</a:t>
            </a:r>
            <a:r>
              <a:rPr lang="en-US" sz="1400" spc="-1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400" spc="-3">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with</a:t>
            </a:r>
            <a:r>
              <a:rPr lang="en-US" sz="140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400" spc="-3">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uninterrupted</a:t>
            </a:r>
            <a:r>
              <a:rPr lang="en-US" sz="1400" spc="3">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400" spc="-3">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presence since</a:t>
            </a:r>
            <a:r>
              <a:rPr lang="en-US" sz="1400" spc="-7">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400" spc="-3">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1926 and is present across</a:t>
            </a:r>
            <a:r>
              <a:rPr lang="en-US" sz="1400" spc="7">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29 offices in 15 countries with more than </a:t>
            </a:r>
            <a:r>
              <a:rPr lang="en-US" sz="140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5,900+</a:t>
            </a:r>
            <a:r>
              <a:rPr lang="en-US" sz="1400" spc="7">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partners, directors and staff. </a:t>
            </a:r>
          </a:p>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 name="Content Placeholder 45">
            <a:extLst>
              <a:ext uri="{FF2B5EF4-FFF2-40B4-BE49-F238E27FC236}">
                <a16:creationId xmlns:a16="http://schemas.microsoft.com/office/drawing/2014/main" id="{A873C008-4052-4AFE-9A30-B3DAE23FC395}"/>
              </a:ext>
            </a:extLst>
          </p:cNvPr>
          <p:cNvSpPr txBox="1">
            <a:spLocks/>
          </p:cNvSpPr>
          <p:nvPr/>
        </p:nvSpPr>
        <p:spPr>
          <a:xfrm>
            <a:off x="3202641" y="1322862"/>
            <a:ext cx="2343151" cy="1695451"/>
          </a:xfrm>
          <a:prstGeom prst="rect">
            <a:avLst/>
          </a:prstGeom>
        </p:spPr>
        <p:txBody>
          <a:bodyPr vert="horz" lIns="0" tIns="0" rIns="0" bIns="0" rtlCol="0">
            <a:noAutofit/>
          </a:bodyPr>
          <a:lstStyle>
            <a:lvl1pPr marL="0" indent="0" algn="l" defTabSz="1216733" rtl="0" eaLnBrk="1" latinLnBrk="0" hangingPunct="1">
              <a:spcBef>
                <a:spcPts val="598"/>
              </a:spcBef>
              <a:spcAft>
                <a:spcPts val="598"/>
              </a:spcAft>
              <a:buSzPct val="100000"/>
              <a:buFont typeface="Arial" panose="020B0604020202020204" pitchFamily="34" charset="0"/>
              <a:buNone/>
              <a:defRPr sz="1198" b="0" kern="1200">
                <a:solidFill>
                  <a:schemeClr val="tx1"/>
                </a:solidFill>
                <a:latin typeface="+mn-lt"/>
                <a:ea typeface="+mn-ea"/>
                <a:cs typeface="+mn-cs"/>
              </a:defRPr>
            </a:lvl1pPr>
            <a:lvl2pPr marL="0" indent="0" algn="l" defTabSz="1216733" rtl="0" eaLnBrk="1" latinLnBrk="0" hangingPunct="1">
              <a:spcBef>
                <a:spcPts val="598"/>
              </a:spcBef>
              <a:spcAft>
                <a:spcPts val="598"/>
              </a:spcAft>
              <a:buClrTx/>
              <a:buSzPct val="100000"/>
              <a:buFont typeface="Arial"/>
              <a:buNone/>
              <a:defRPr lang="en-US" sz="1198" b="1" kern="1200" dirty="0" smtClean="0">
                <a:solidFill>
                  <a:schemeClr val="tx1"/>
                </a:solidFill>
                <a:latin typeface="+mn-lt"/>
                <a:ea typeface="+mn-ea"/>
                <a:cs typeface="+mn-cs"/>
              </a:defRPr>
            </a:lvl2pPr>
            <a:lvl3pPr marL="179640" indent="-179640" algn="l" defTabSz="1216733" rtl="0" eaLnBrk="1" latinLnBrk="0" hangingPunct="1">
              <a:spcBef>
                <a:spcPts val="598"/>
              </a:spcBef>
              <a:spcAft>
                <a:spcPts val="598"/>
              </a:spcAft>
              <a:buClrTx/>
              <a:buSzPct val="100000"/>
              <a:buFont typeface="Arial" panose="020B0604020202020204" pitchFamily="34" charset="0"/>
              <a:buChar char="•"/>
              <a:defRPr lang="en-US" sz="1198" kern="1200" dirty="0" smtClean="0">
                <a:solidFill>
                  <a:schemeClr val="tx1"/>
                </a:solidFill>
                <a:latin typeface="+mn-lt"/>
                <a:ea typeface="+mn-ea"/>
                <a:cs typeface="+mn-cs"/>
              </a:defRPr>
            </a:lvl3pPr>
            <a:lvl4pPr marL="359280" indent="-179640" algn="l" defTabSz="1216733" rtl="0" eaLnBrk="1" latinLnBrk="0" hangingPunct="1">
              <a:spcBef>
                <a:spcPts val="598"/>
              </a:spcBef>
              <a:spcAft>
                <a:spcPts val="598"/>
              </a:spcAft>
              <a:buClrTx/>
              <a:buSzPct val="100000"/>
              <a:buFont typeface="Verdana" panose="020B0604030504040204" pitchFamily="34" charset="0"/>
              <a:buChar char="−"/>
              <a:defRPr lang="en-US" sz="1198" kern="1200" baseline="0" dirty="0" smtClean="0">
                <a:solidFill>
                  <a:schemeClr val="tx1"/>
                </a:solidFill>
                <a:latin typeface="+mn-lt"/>
                <a:ea typeface="+mn-ea"/>
                <a:cs typeface="+mn-cs"/>
              </a:defRPr>
            </a:lvl4pPr>
            <a:lvl5pPr marL="538921" indent="-179640" algn="l" defTabSz="1062528" rtl="0" eaLnBrk="1" latinLnBrk="0" hangingPunct="1">
              <a:spcBef>
                <a:spcPts val="598"/>
              </a:spcBef>
              <a:spcAft>
                <a:spcPts val="598"/>
              </a:spcAft>
              <a:buClrTx/>
              <a:buSzPct val="100000"/>
              <a:buFont typeface="Arial" panose="020B0604020202020204" pitchFamily="34" charset="0"/>
              <a:buChar char="•"/>
              <a:tabLst/>
              <a:defRPr lang="en-US" sz="1198" kern="1200" baseline="0" dirty="0" smtClean="0">
                <a:solidFill>
                  <a:schemeClr val="tx1"/>
                </a:solidFill>
                <a:latin typeface="+mn-lt"/>
                <a:ea typeface="+mn-ea"/>
                <a:cs typeface="+mn-cs"/>
              </a:defRPr>
            </a:lvl5pPr>
            <a:lvl6pPr marL="708962" indent="-234724" algn="l" defTabSz="1216733" rtl="0" eaLnBrk="1" latinLnBrk="0" hangingPunct="1">
              <a:spcBef>
                <a:spcPts val="0"/>
              </a:spcBef>
              <a:spcAft>
                <a:spcPts val="1331"/>
              </a:spcAft>
              <a:buFont typeface="Verdana" panose="020B0604030504040204" pitchFamily="34" charset="0"/>
              <a:buChar char="−"/>
              <a:defRPr sz="1596" kern="1200" baseline="0">
                <a:solidFill>
                  <a:schemeClr val="tx1"/>
                </a:solidFill>
                <a:latin typeface="+mn-lt"/>
                <a:ea typeface="+mn-ea"/>
                <a:cs typeface="+mn-cs"/>
              </a:defRPr>
            </a:lvl6pPr>
            <a:lvl7pPr marL="708962" indent="-234724" algn="l" defTabSz="1216733" rtl="0" eaLnBrk="1" latinLnBrk="0" hangingPunct="1">
              <a:spcBef>
                <a:spcPts val="0"/>
              </a:spcBef>
              <a:spcAft>
                <a:spcPts val="1331"/>
              </a:spcAft>
              <a:buFont typeface="Verdana" panose="020B0604030504040204" pitchFamily="34" charset="0"/>
              <a:buChar char="−"/>
              <a:defRPr sz="1596" kern="1200">
                <a:solidFill>
                  <a:schemeClr val="tx1"/>
                </a:solidFill>
                <a:latin typeface="+mn-lt"/>
                <a:ea typeface="+mn-ea"/>
                <a:cs typeface="+mn-cs"/>
              </a:defRPr>
            </a:lvl7pPr>
            <a:lvl8pPr marL="708962" indent="-234724" algn="l" defTabSz="1216733" rtl="0" eaLnBrk="1" latinLnBrk="0" hangingPunct="1">
              <a:spcBef>
                <a:spcPts val="0"/>
              </a:spcBef>
              <a:spcAft>
                <a:spcPts val="1331"/>
              </a:spcAft>
              <a:buFont typeface="Verdana" panose="020B0604030504040204" pitchFamily="34" charset="0"/>
              <a:buChar char="−"/>
              <a:defRPr sz="1596" kern="1200" baseline="0">
                <a:solidFill>
                  <a:schemeClr val="tx1"/>
                </a:solidFill>
                <a:latin typeface="+mn-lt"/>
                <a:ea typeface="+mn-ea"/>
                <a:cs typeface="+mn-cs"/>
              </a:defRPr>
            </a:lvl8pPr>
            <a:lvl9pPr marL="708962" indent="-234724" algn="l" defTabSz="1216733" rtl="0" eaLnBrk="1" latinLnBrk="0" hangingPunct="1">
              <a:spcBef>
                <a:spcPts val="0"/>
              </a:spcBef>
              <a:spcAft>
                <a:spcPts val="1331"/>
              </a:spcAft>
              <a:buFont typeface="Verdana" panose="020B0604030504040204" pitchFamily="34" charset="0"/>
              <a:buChar char="−"/>
              <a:defRPr sz="1596" kern="1200" baseline="0">
                <a:solidFill>
                  <a:schemeClr val="tx1"/>
                </a:solidFill>
                <a:latin typeface="+mn-lt"/>
                <a:ea typeface="+mn-ea"/>
                <a:cs typeface="+mn-cs"/>
              </a:defRPr>
            </a:lvl9pPr>
          </a:lstStyle>
          <a:p>
            <a:pPr>
              <a:spcAft>
                <a:spcPts val="600"/>
              </a:spcAft>
            </a:pPr>
            <a:r>
              <a:rPr lang="en-US" sz="1400" b="1">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Internal impact</a:t>
            </a:r>
          </a:p>
          <a:p>
            <a:pPr>
              <a:spcAft>
                <a:spcPts val="600"/>
              </a:spcAft>
            </a:pPr>
            <a:r>
              <a:rPr lang="en-US" sz="140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Deloitte makes an impact that matters to its clients, talent and society. Our practices around the Middle East support clients become leaders wherever they choose to compete. We invest in outstanding people of diverse talents and backgrounds and empower them to achieve more than they could elsewhere. Our work combines advice with action and integrity. We believe that when our clients and society are stronger, so are we. </a:t>
            </a:r>
          </a:p>
        </p:txBody>
      </p:sp>
      <p:sp>
        <p:nvSpPr>
          <p:cNvPr id="13" name="Content Placeholder 16">
            <a:extLst>
              <a:ext uri="{FF2B5EF4-FFF2-40B4-BE49-F238E27FC236}">
                <a16:creationId xmlns:a16="http://schemas.microsoft.com/office/drawing/2014/main" id="{8977C015-3144-4D7B-8123-157D62B309E0}"/>
              </a:ext>
            </a:extLst>
          </p:cNvPr>
          <p:cNvSpPr txBox="1">
            <a:spLocks/>
          </p:cNvSpPr>
          <p:nvPr/>
        </p:nvSpPr>
        <p:spPr>
          <a:xfrm>
            <a:off x="557773" y="3536414"/>
            <a:ext cx="2649995" cy="2355476"/>
          </a:xfrm>
          <a:prstGeom prst="rect">
            <a:avLst/>
          </a:prstGeom>
        </p:spPr>
        <p:txBody>
          <a:bodyPr vert="horz" lIns="0" tIns="0" rIns="0" bIns="0" rtlCol="0">
            <a:noAutofit/>
          </a:bodyPr>
          <a:lstStyle>
            <a:lvl1pPr marL="0" indent="0" algn="l" defTabSz="1216733" rtl="0" eaLnBrk="1" latinLnBrk="0" hangingPunct="1">
              <a:spcBef>
                <a:spcPts val="598"/>
              </a:spcBef>
              <a:spcAft>
                <a:spcPts val="598"/>
              </a:spcAft>
              <a:buSzPct val="100000"/>
              <a:buFont typeface="Arial" panose="020B0604020202020204" pitchFamily="34" charset="0"/>
              <a:buNone/>
              <a:defRPr sz="1198" b="0" kern="1200">
                <a:solidFill>
                  <a:schemeClr val="tx1"/>
                </a:solidFill>
                <a:latin typeface="+mn-lt"/>
                <a:ea typeface="+mn-ea"/>
                <a:cs typeface="+mn-cs"/>
              </a:defRPr>
            </a:lvl1pPr>
            <a:lvl2pPr marL="0" indent="0" algn="l" defTabSz="1216733" rtl="0" eaLnBrk="1" latinLnBrk="0" hangingPunct="1">
              <a:spcBef>
                <a:spcPts val="598"/>
              </a:spcBef>
              <a:spcAft>
                <a:spcPts val="598"/>
              </a:spcAft>
              <a:buClrTx/>
              <a:buSzPct val="100000"/>
              <a:buFont typeface="Arial"/>
              <a:buNone/>
              <a:defRPr lang="en-US" sz="1198" b="1" kern="1200" dirty="0" smtClean="0">
                <a:solidFill>
                  <a:schemeClr val="tx1"/>
                </a:solidFill>
                <a:latin typeface="+mn-lt"/>
                <a:ea typeface="+mn-ea"/>
                <a:cs typeface="+mn-cs"/>
              </a:defRPr>
            </a:lvl2pPr>
            <a:lvl3pPr marL="179640" indent="-179640" algn="l" defTabSz="1216733" rtl="0" eaLnBrk="1" latinLnBrk="0" hangingPunct="1">
              <a:spcBef>
                <a:spcPts val="598"/>
              </a:spcBef>
              <a:spcAft>
                <a:spcPts val="598"/>
              </a:spcAft>
              <a:buClrTx/>
              <a:buSzPct val="100000"/>
              <a:buFont typeface="Arial" panose="020B0604020202020204" pitchFamily="34" charset="0"/>
              <a:buChar char="•"/>
              <a:defRPr lang="en-US" sz="1198" kern="1200" dirty="0" smtClean="0">
                <a:solidFill>
                  <a:schemeClr val="tx1"/>
                </a:solidFill>
                <a:latin typeface="+mn-lt"/>
                <a:ea typeface="+mn-ea"/>
                <a:cs typeface="+mn-cs"/>
              </a:defRPr>
            </a:lvl3pPr>
            <a:lvl4pPr marL="359280" indent="-179640" algn="l" defTabSz="1216733" rtl="0" eaLnBrk="1" latinLnBrk="0" hangingPunct="1">
              <a:spcBef>
                <a:spcPts val="598"/>
              </a:spcBef>
              <a:spcAft>
                <a:spcPts val="598"/>
              </a:spcAft>
              <a:buClrTx/>
              <a:buSzPct val="100000"/>
              <a:buFont typeface="Verdana" panose="020B0604030504040204" pitchFamily="34" charset="0"/>
              <a:buChar char="−"/>
              <a:defRPr lang="en-US" sz="1198" kern="1200" baseline="0" dirty="0" smtClean="0">
                <a:solidFill>
                  <a:schemeClr val="tx1"/>
                </a:solidFill>
                <a:latin typeface="+mn-lt"/>
                <a:ea typeface="+mn-ea"/>
                <a:cs typeface="+mn-cs"/>
              </a:defRPr>
            </a:lvl4pPr>
            <a:lvl5pPr marL="538921" indent="-179640" algn="l" defTabSz="1062528" rtl="0" eaLnBrk="1" latinLnBrk="0" hangingPunct="1">
              <a:spcBef>
                <a:spcPts val="598"/>
              </a:spcBef>
              <a:spcAft>
                <a:spcPts val="598"/>
              </a:spcAft>
              <a:buClrTx/>
              <a:buSzPct val="100000"/>
              <a:buFont typeface="Arial" panose="020B0604020202020204" pitchFamily="34" charset="0"/>
              <a:buChar char="•"/>
              <a:tabLst/>
              <a:defRPr lang="en-US" sz="1198" kern="1200" baseline="0" dirty="0" smtClean="0">
                <a:solidFill>
                  <a:schemeClr val="tx1"/>
                </a:solidFill>
                <a:latin typeface="+mn-lt"/>
                <a:ea typeface="+mn-ea"/>
                <a:cs typeface="+mn-cs"/>
              </a:defRPr>
            </a:lvl5pPr>
            <a:lvl6pPr marL="708962" indent="-234724" algn="l" defTabSz="1216733" rtl="0" eaLnBrk="1" latinLnBrk="0" hangingPunct="1">
              <a:spcBef>
                <a:spcPts val="0"/>
              </a:spcBef>
              <a:spcAft>
                <a:spcPts val="1331"/>
              </a:spcAft>
              <a:buFont typeface="Verdana" panose="020B0604030504040204" pitchFamily="34" charset="0"/>
              <a:buChar char="−"/>
              <a:defRPr sz="1596" kern="1200" baseline="0">
                <a:solidFill>
                  <a:schemeClr val="tx1"/>
                </a:solidFill>
                <a:latin typeface="+mn-lt"/>
                <a:ea typeface="+mn-ea"/>
                <a:cs typeface="+mn-cs"/>
              </a:defRPr>
            </a:lvl6pPr>
            <a:lvl7pPr marL="708962" indent="-234724" algn="l" defTabSz="1216733" rtl="0" eaLnBrk="1" latinLnBrk="0" hangingPunct="1">
              <a:spcBef>
                <a:spcPts val="0"/>
              </a:spcBef>
              <a:spcAft>
                <a:spcPts val="1331"/>
              </a:spcAft>
              <a:buFont typeface="Verdana" panose="020B0604030504040204" pitchFamily="34" charset="0"/>
              <a:buChar char="−"/>
              <a:defRPr sz="1596" kern="1200">
                <a:solidFill>
                  <a:schemeClr val="tx1"/>
                </a:solidFill>
                <a:latin typeface="+mn-lt"/>
                <a:ea typeface="+mn-ea"/>
                <a:cs typeface="+mn-cs"/>
              </a:defRPr>
            </a:lvl7pPr>
            <a:lvl8pPr marL="708962" indent="-234724" algn="l" defTabSz="1216733" rtl="0" eaLnBrk="1" latinLnBrk="0" hangingPunct="1">
              <a:spcBef>
                <a:spcPts val="0"/>
              </a:spcBef>
              <a:spcAft>
                <a:spcPts val="1331"/>
              </a:spcAft>
              <a:buFont typeface="Verdana" panose="020B0604030504040204" pitchFamily="34" charset="0"/>
              <a:buChar char="−"/>
              <a:defRPr sz="1596" kern="1200" baseline="0">
                <a:solidFill>
                  <a:schemeClr val="tx1"/>
                </a:solidFill>
                <a:latin typeface="+mn-lt"/>
                <a:ea typeface="+mn-ea"/>
                <a:cs typeface="+mn-cs"/>
              </a:defRPr>
            </a:lvl8pPr>
            <a:lvl9pPr marL="708962" indent="-234724" algn="l" defTabSz="1216733" rtl="0" eaLnBrk="1" latinLnBrk="0" hangingPunct="1">
              <a:spcBef>
                <a:spcPts val="0"/>
              </a:spcBef>
              <a:spcAft>
                <a:spcPts val="1331"/>
              </a:spcAft>
              <a:buFont typeface="Verdana" panose="020B0604030504040204" pitchFamily="34" charset="0"/>
              <a:buChar char="−"/>
              <a:defRPr sz="1596" kern="1200" baseline="0">
                <a:solidFill>
                  <a:schemeClr val="tx1"/>
                </a:solidFill>
                <a:latin typeface="+mn-lt"/>
                <a:ea typeface="+mn-ea"/>
                <a:cs typeface="+mn-cs"/>
              </a:defRPr>
            </a:lvl9pPr>
          </a:lstStyle>
          <a:p>
            <a:pPr>
              <a:spcAft>
                <a:spcPts val="600"/>
              </a:spcAft>
            </a:pPr>
            <a:r>
              <a:rPr lang="en-US" sz="1400" b="1">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Awards</a:t>
            </a:r>
          </a:p>
          <a:p>
            <a:pPr>
              <a:spcAft>
                <a:spcPts val="600"/>
              </a:spcAft>
            </a:pPr>
            <a:r>
              <a:rPr lang="en-US" sz="1400" spc="7">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Deloitte Middle East has received numerous awards in the last few years such as Brand Finance’s strongest and most valuable “commercial services” brand in the world (2022), the Great Place to Work® and Best Workplaces™ in the UAE (2022), Great Place to Work® and Best Workplaces™ in the KSA (2022) and “World’s Most Attractive Employers” (2022)</a:t>
            </a:r>
          </a:p>
          <a:p>
            <a:pPr>
              <a:spcAft>
                <a:spcPts val="600"/>
              </a:spcAft>
            </a:pP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4" name="Content Placeholder 47">
            <a:extLst>
              <a:ext uri="{FF2B5EF4-FFF2-40B4-BE49-F238E27FC236}">
                <a16:creationId xmlns:a16="http://schemas.microsoft.com/office/drawing/2014/main" id="{E2A1DD83-AF6B-4F69-B33A-AFE3CCB63958}"/>
              </a:ext>
            </a:extLst>
          </p:cNvPr>
          <p:cNvSpPr txBox="1">
            <a:spLocks/>
          </p:cNvSpPr>
          <p:nvPr/>
        </p:nvSpPr>
        <p:spPr>
          <a:xfrm>
            <a:off x="5869767" y="1324380"/>
            <a:ext cx="2424059" cy="1695451"/>
          </a:xfrm>
          <a:prstGeom prst="rect">
            <a:avLst/>
          </a:prstGeom>
        </p:spPr>
        <p:txBody>
          <a:bodyPr vert="horz" lIns="0" tIns="0" rIns="0" bIns="0" rtlCol="0">
            <a:noAutofit/>
          </a:bodyPr>
          <a:lstStyle>
            <a:lvl1pPr marL="0" indent="0" algn="l" defTabSz="1216733" rtl="0" eaLnBrk="1" latinLnBrk="0" hangingPunct="1">
              <a:spcBef>
                <a:spcPts val="598"/>
              </a:spcBef>
              <a:spcAft>
                <a:spcPts val="598"/>
              </a:spcAft>
              <a:buSzPct val="100000"/>
              <a:buFont typeface="Arial" panose="020B0604020202020204" pitchFamily="34" charset="0"/>
              <a:buNone/>
              <a:defRPr sz="1198" b="0" kern="1200">
                <a:solidFill>
                  <a:schemeClr val="tx1"/>
                </a:solidFill>
                <a:latin typeface="+mn-lt"/>
                <a:ea typeface="+mn-ea"/>
                <a:cs typeface="+mn-cs"/>
              </a:defRPr>
            </a:lvl1pPr>
            <a:lvl2pPr marL="0" indent="0" algn="l" defTabSz="1216733" rtl="0" eaLnBrk="1" latinLnBrk="0" hangingPunct="1">
              <a:spcBef>
                <a:spcPts val="598"/>
              </a:spcBef>
              <a:spcAft>
                <a:spcPts val="598"/>
              </a:spcAft>
              <a:buClrTx/>
              <a:buSzPct val="100000"/>
              <a:buFont typeface="Arial"/>
              <a:buNone/>
              <a:defRPr lang="en-US" sz="1198" b="1" kern="1200" dirty="0" smtClean="0">
                <a:solidFill>
                  <a:schemeClr val="tx1"/>
                </a:solidFill>
                <a:latin typeface="+mn-lt"/>
                <a:ea typeface="+mn-ea"/>
                <a:cs typeface="+mn-cs"/>
              </a:defRPr>
            </a:lvl2pPr>
            <a:lvl3pPr marL="179640" indent="-179640" algn="l" defTabSz="1216733" rtl="0" eaLnBrk="1" latinLnBrk="0" hangingPunct="1">
              <a:spcBef>
                <a:spcPts val="598"/>
              </a:spcBef>
              <a:spcAft>
                <a:spcPts val="598"/>
              </a:spcAft>
              <a:buClrTx/>
              <a:buSzPct val="100000"/>
              <a:buFont typeface="Arial" panose="020B0604020202020204" pitchFamily="34" charset="0"/>
              <a:buChar char="•"/>
              <a:defRPr lang="en-US" sz="1198" kern="1200" dirty="0" smtClean="0">
                <a:solidFill>
                  <a:schemeClr val="tx1"/>
                </a:solidFill>
                <a:latin typeface="+mn-lt"/>
                <a:ea typeface="+mn-ea"/>
                <a:cs typeface="+mn-cs"/>
              </a:defRPr>
            </a:lvl3pPr>
            <a:lvl4pPr marL="359280" indent="-179640" algn="l" defTabSz="1216733" rtl="0" eaLnBrk="1" latinLnBrk="0" hangingPunct="1">
              <a:spcBef>
                <a:spcPts val="598"/>
              </a:spcBef>
              <a:spcAft>
                <a:spcPts val="598"/>
              </a:spcAft>
              <a:buClrTx/>
              <a:buSzPct val="100000"/>
              <a:buFont typeface="Verdana" panose="020B0604030504040204" pitchFamily="34" charset="0"/>
              <a:buChar char="−"/>
              <a:defRPr lang="en-US" sz="1198" kern="1200" baseline="0" dirty="0" smtClean="0">
                <a:solidFill>
                  <a:schemeClr val="tx1"/>
                </a:solidFill>
                <a:latin typeface="+mn-lt"/>
                <a:ea typeface="+mn-ea"/>
                <a:cs typeface="+mn-cs"/>
              </a:defRPr>
            </a:lvl4pPr>
            <a:lvl5pPr marL="538921" indent="-179640" algn="l" defTabSz="1062528" rtl="0" eaLnBrk="1" latinLnBrk="0" hangingPunct="1">
              <a:spcBef>
                <a:spcPts val="598"/>
              </a:spcBef>
              <a:spcAft>
                <a:spcPts val="598"/>
              </a:spcAft>
              <a:buClrTx/>
              <a:buSzPct val="100000"/>
              <a:buFont typeface="Arial" panose="020B0604020202020204" pitchFamily="34" charset="0"/>
              <a:buChar char="•"/>
              <a:tabLst/>
              <a:defRPr lang="en-US" sz="1198" kern="1200" baseline="0" dirty="0" smtClean="0">
                <a:solidFill>
                  <a:schemeClr val="tx1"/>
                </a:solidFill>
                <a:latin typeface="+mn-lt"/>
                <a:ea typeface="+mn-ea"/>
                <a:cs typeface="+mn-cs"/>
              </a:defRPr>
            </a:lvl5pPr>
            <a:lvl6pPr marL="708962" indent="-234724" algn="l" defTabSz="1216733" rtl="0" eaLnBrk="1" latinLnBrk="0" hangingPunct="1">
              <a:spcBef>
                <a:spcPts val="0"/>
              </a:spcBef>
              <a:spcAft>
                <a:spcPts val="1331"/>
              </a:spcAft>
              <a:buFont typeface="Verdana" panose="020B0604030504040204" pitchFamily="34" charset="0"/>
              <a:buChar char="−"/>
              <a:defRPr sz="1596" kern="1200" baseline="0">
                <a:solidFill>
                  <a:schemeClr val="tx1"/>
                </a:solidFill>
                <a:latin typeface="+mn-lt"/>
                <a:ea typeface="+mn-ea"/>
                <a:cs typeface="+mn-cs"/>
              </a:defRPr>
            </a:lvl6pPr>
            <a:lvl7pPr marL="708962" indent="-234724" algn="l" defTabSz="1216733" rtl="0" eaLnBrk="1" latinLnBrk="0" hangingPunct="1">
              <a:spcBef>
                <a:spcPts val="0"/>
              </a:spcBef>
              <a:spcAft>
                <a:spcPts val="1331"/>
              </a:spcAft>
              <a:buFont typeface="Verdana" panose="020B0604030504040204" pitchFamily="34" charset="0"/>
              <a:buChar char="−"/>
              <a:defRPr sz="1596" kern="1200">
                <a:solidFill>
                  <a:schemeClr val="tx1"/>
                </a:solidFill>
                <a:latin typeface="+mn-lt"/>
                <a:ea typeface="+mn-ea"/>
                <a:cs typeface="+mn-cs"/>
              </a:defRPr>
            </a:lvl7pPr>
            <a:lvl8pPr marL="708962" indent="-234724" algn="l" defTabSz="1216733" rtl="0" eaLnBrk="1" latinLnBrk="0" hangingPunct="1">
              <a:spcBef>
                <a:spcPts val="0"/>
              </a:spcBef>
              <a:spcAft>
                <a:spcPts val="1331"/>
              </a:spcAft>
              <a:buFont typeface="Verdana" panose="020B0604030504040204" pitchFamily="34" charset="0"/>
              <a:buChar char="−"/>
              <a:defRPr sz="1596" kern="1200" baseline="0">
                <a:solidFill>
                  <a:schemeClr val="tx1"/>
                </a:solidFill>
                <a:latin typeface="+mn-lt"/>
                <a:ea typeface="+mn-ea"/>
                <a:cs typeface="+mn-cs"/>
              </a:defRPr>
            </a:lvl8pPr>
            <a:lvl9pPr marL="708962" indent="-234724" algn="l" defTabSz="1216733" rtl="0" eaLnBrk="1" latinLnBrk="0" hangingPunct="1">
              <a:spcBef>
                <a:spcPts val="0"/>
              </a:spcBef>
              <a:spcAft>
                <a:spcPts val="1331"/>
              </a:spcAft>
              <a:buFont typeface="Verdana" panose="020B0604030504040204" pitchFamily="34" charset="0"/>
              <a:buChar char="−"/>
              <a:defRPr sz="1596" kern="1200" baseline="0">
                <a:solidFill>
                  <a:schemeClr val="tx1"/>
                </a:solidFill>
                <a:latin typeface="+mn-lt"/>
                <a:ea typeface="+mn-ea"/>
                <a:cs typeface="+mn-cs"/>
              </a:defRPr>
            </a:lvl9pPr>
          </a:lstStyle>
          <a:p>
            <a:pPr>
              <a:spcAft>
                <a:spcPts val="600"/>
              </a:spcAft>
            </a:pPr>
            <a:r>
              <a:rPr lang="en-US" sz="1400" b="1">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External impact</a:t>
            </a:r>
          </a:p>
          <a:p>
            <a:pPr>
              <a:spcAft>
                <a:spcPts val="600"/>
              </a:spcAft>
            </a:pPr>
            <a:r>
              <a:rPr lang="en-US" sz="140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Our organization has grown in scale and diversity providing services across the region— with our shared culture remaining the same. We aim to help clients realize their </a:t>
            </a:r>
            <a:r>
              <a:rPr lang="en-US" sz="1400">
                <a:latin typeface="Open Sans Light" panose="020B0306030504020204" pitchFamily="34" charset="0"/>
                <a:ea typeface="Open Sans Light" panose="020B0306030504020204" pitchFamily="34" charset="0"/>
                <a:cs typeface="Open Sans Light" panose="020B0306030504020204" pitchFamily="34" charset="0"/>
              </a:rPr>
              <a:t>ambitions; make a positive difference in society; and maximize the success of our people. This drive fuels the commitment and humanity that run deep through our every action.</a:t>
            </a:r>
          </a:p>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5" name="Graphic 4">
            <a:extLst>
              <a:ext uri="{FF2B5EF4-FFF2-40B4-BE49-F238E27FC236}">
                <a16:creationId xmlns:a16="http://schemas.microsoft.com/office/drawing/2014/main" id="{DB967F39-7620-4052-8F7A-496636F5945A}"/>
              </a:ext>
            </a:extLst>
          </p:cNvPr>
          <p:cNvGrpSpPr/>
          <p:nvPr/>
        </p:nvGrpSpPr>
        <p:grpSpPr>
          <a:xfrm flipH="1">
            <a:off x="8542551" y="3343232"/>
            <a:ext cx="2216153" cy="2620016"/>
            <a:chOff x="556996" y="3896945"/>
            <a:chExt cx="183597" cy="217055"/>
          </a:xfrm>
          <a:solidFill>
            <a:srgbClr val="86BC25"/>
          </a:solidFill>
        </p:grpSpPr>
        <p:sp>
          <p:nvSpPr>
            <p:cNvPr id="16" name="Graphic 4">
              <a:extLst>
                <a:ext uri="{FF2B5EF4-FFF2-40B4-BE49-F238E27FC236}">
                  <a16:creationId xmlns:a16="http://schemas.microsoft.com/office/drawing/2014/main" id="{7A3B76BF-6EFA-41C8-9E06-E01E8892C3ED}"/>
                </a:ext>
              </a:extLst>
            </p:cNvPr>
            <p:cNvSpPr/>
            <p:nvPr/>
          </p:nvSpPr>
          <p:spPr>
            <a:xfrm>
              <a:off x="556996" y="3900137"/>
              <a:ext cx="180402" cy="213863"/>
            </a:xfrm>
            <a:custGeom>
              <a:avLst/>
              <a:gdLst>
                <a:gd name="connsiteX0" fmla="*/ 169539 w 180402"/>
                <a:gd name="connsiteY0" fmla="*/ 142363 h 213863"/>
                <a:gd name="connsiteX1" fmla="*/ 37906 w 180402"/>
                <a:gd name="connsiteY1" fmla="*/ 136617 h 213863"/>
                <a:gd name="connsiteX2" fmla="*/ 37906 w 180402"/>
                <a:gd name="connsiteY2" fmla="*/ 10853 h 213863"/>
                <a:gd name="connsiteX3" fmla="*/ 37906 w 180402"/>
                <a:gd name="connsiteY3" fmla="*/ 1915 h 213863"/>
                <a:gd name="connsiteX4" fmla="*/ 28961 w 180402"/>
                <a:gd name="connsiteY4" fmla="*/ 1915 h 213863"/>
                <a:gd name="connsiteX5" fmla="*/ 33434 w 180402"/>
                <a:gd name="connsiteY5" fmla="*/ 151939 h 213863"/>
                <a:gd name="connsiteX6" fmla="*/ 97972 w 180402"/>
                <a:gd name="connsiteY6" fmla="*/ 180667 h 213863"/>
                <a:gd name="connsiteX7" fmla="*/ 97972 w 180402"/>
                <a:gd name="connsiteY7" fmla="*/ 201095 h 213863"/>
                <a:gd name="connsiteX8" fmla="*/ 55159 w 180402"/>
                <a:gd name="connsiteY8" fmla="*/ 201095 h 213863"/>
                <a:gd name="connsiteX9" fmla="*/ 48769 w 180402"/>
                <a:gd name="connsiteY9" fmla="*/ 207479 h 213863"/>
                <a:gd name="connsiteX10" fmla="*/ 55159 w 180402"/>
                <a:gd name="connsiteY10" fmla="*/ 213863 h 213863"/>
                <a:gd name="connsiteX11" fmla="*/ 153564 w 180402"/>
                <a:gd name="connsiteY11" fmla="*/ 213863 h 213863"/>
                <a:gd name="connsiteX12" fmla="*/ 159954 w 180402"/>
                <a:gd name="connsiteY12" fmla="*/ 207479 h 213863"/>
                <a:gd name="connsiteX13" fmla="*/ 153564 w 180402"/>
                <a:gd name="connsiteY13" fmla="*/ 201095 h 213863"/>
                <a:gd name="connsiteX14" fmla="*/ 110752 w 180402"/>
                <a:gd name="connsiteY14" fmla="*/ 201095 h 213863"/>
                <a:gd name="connsiteX15" fmla="*/ 110752 w 180402"/>
                <a:gd name="connsiteY15" fmla="*/ 180667 h 213863"/>
                <a:gd name="connsiteX16" fmla="*/ 178485 w 180402"/>
                <a:gd name="connsiteY16" fmla="*/ 151939 h 213863"/>
                <a:gd name="connsiteX17" fmla="*/ 178485 w 180402"/>
                <a:gd name="connsiteY17" fmla="*/ 143001 h 213863"/>
                <a:gd name="connsiteX18" fmla="*/ 169539 w 180402"/>
                <a:gd name="connsiteY18" fmla="*/ 142363 h 21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0402" h="213863">
                  <a:moveTo>
                    <a:pt x="169539" y="142363"/>
                  </a:moveTo>
                  <a:cubicBezTo>
                    <a:pt x="131839" y="177475"/>
                    <a:pt x="72412" y="174921"/>
                    <a:pt x="37906" y="136617"/>
                  </a:cubicBezTo>
                  <a:cubicBezTo>
                    <a:pt x="5318" y="100867"/>
                    <a:pt x="5318" y="45965"/>
                    <a:pt x="37906" y="10853"/>
                  </a:cubicBezTo>
                  <a:cubicBezTo>
                    <a:pt x="40462" y="8299"/>
                    <a:pt x="40462" y="4469"/>
                    <a:pt x="37906" y="1915"/>
                  </a:cubicBezTo>
                  <a:cubicBezTo>
                    <a:pt x="35350" y="-638"/>
                    <a:pt x="31517" y="-638"/>
                    <a:pt x="28961" y="1915"/>
                  </a:cubicBezTo>
                  <a:cubicBezTo>
                    <a:pt x="-11296" y="44688"/>
                    <a:pt x="-9379" y="111720"/>
                    <a:pt x="33434" y="151939"/>
                  </a:cubicBezTo>
                  <a:cubicBezTo>
                    <a:pt x="51325" y="168537"/>
                    <a:pt x="73690" y="178751"/>
                    <a:pt x="97972" y="180667"/>
                  </a:cubicBezTo>
                  <a:lnTo>
                    <a:pt x="97972" y="201095"/>
                  </a:lnTo>
                  <a:lnTo>
                    <a:pt x="55159" y="201095"/>
                  </a:lnTo>
                  <a:cubicBezTo>
                    <a:pt x="51325" y="201095"/>
                    <a:pt x="48769" y="203649"/>
                    <a:pt x="48769" y="207479"/>
                  </a:cubicBezTo>
                  <a:cubicBezTo>
                    <a:pt x="48769" y="211310"/>
                    <a:pt x="51325" y="213863"/>
                    <a:pt x="55159" y="213863"/>
                  </a:cubicBezTo>
                  <a:lnTo>
                    <a:pt x="153564" y="213863"/>
                  </a:lnTo>
                  <a:cubicBezTo>
                    <a:pt x="157398" y="213863"/>
                    <a:pt x="159954" y="211310"/>
                    <a:pt x="159954" y="207479"/>
                  </a:cubicBezTo>
                  <a:cubicBezTo>
                    <a:pt x="159954" y="203649"/>
                    <a:pt x="157398" y="201095"/>
                    <a:pt x="153564" y="201095"/>
                  </a:cubicBezTo>
                  <a:lnTo>
                    <a:pt x="110752" y="201095"/>
                  </a:lnTo>
                  <a:lnTo>
                    <a:pt x="110752" y="180667"/>
                  </a:lnTo>
                  <a:cubicBezTo>
                    <a:pt x="136311" y="179390"/>
                    <a:pt x="159954" y="169175"/>
                    <a:pt x="178485" y="151939"/>
                  </a:cubicBezTo>
                  <a:cubicBezTo>
                    <a:pt x="181041" y="149385"/>
                    <a:pt x="181041" y="145555"/>
                    <a:pt x="178485" y="143001"/>
                  </a:cubicBezTo>
                  <a:cubicBezTo>
                    <a:pt x="175929" y="140448"/>
                    <a:pt x="172095" y="140448"/>
                    <a:pt x="169539" y="142363"/>
                  </a:cubicBezTo>
                  <a:close/>
                </a:path>
              </a:pathLst>
            </a:custGeom>
            <a:grpFill/>
            <a:ln w="6390" cap="flat">
              <a:solidFill>
                <a:srgbClr val="86BC25"/>
              </a:solidFill>
              <a:prstDash val="solid"/>
              <a:miter/>
            </a:ln>
          </p:spPr>
          <p:txBody>
            <a:bodyPr rtlCol="0" anchor="ctr"/>
            <a:lstStyle/>
            <a:p>
              <a:pPr defTabSz="1219170" hangingPunct="1"/>
              <a:endParaRPr lang="en-US" sz="24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 name="Graphic 4">
              <a:extLst>
                <a:ext uri="{FF2B5EF4-FFF2-40B4-BE49-F238E27FC236}">
                  <a16:creationId xmlns:a16="http://schemas.microsoft.com/office/drawing/2014/main" id="{C2B10C25-601E-4E19-8728-8E40B0574C07}"/>
                </a:ext>
              </a:extLst>
            </p:cNvPr>
            <p:cNvSpPr/>
            <p:nvPr/>
          </p:nvSpPr>
          <p:spPr>
            <a:xfrm>
              <a:off x="584679" y="3896945"/>
              <a:ext cx="155914" cy="155769"/>
            </a:xfrm>
            <a:custGeom>
              <a:avLst/>
              <a:gdLst>
                <a:gd name="connsiteX0" fmla="*/ 77957 w 155914"/>
                <a:gd name="connsiteY0" fmla="*/ 0 h 155769"/>
                <a:gd name="connsiteX1" fmla="*/ 0 w 155914"/>
                <a:gd name="connsiteY1" fmla="*/ 77885 h 155769"/>
                <a:gd name="connsiteX2" fmla="*/ 77957 w 155914"/>
                <a:gd name="connsiteY2" fmla="*/ 155769 h 155769"/>
                <a:gd name="connsiteX3" fmla="*/ 155914 w 155914"/>
                <a:gd name="connsiteY3" fmla="*/ 77885 h 155769"/>
                <a:gd name="connsiteX4" fmla="*/ 155914 w 155914"/>
                <a:gd name="connsiteY4" fmla="*/ 77885 h 155769"/>
                <a:gd name="connsiteX5" fmla="*/ 77957 w 155914"/>
                <a:gd name="connsiteY5" fmla="*/ 0 h 155769"/>
                <a:gd name="connsiteX6" fmla="*/ 77957 w 155914"/>
                <a:gd name="connsiteY6" fmla="*/ 143001 h 155769"/>
                <a:gd name="connsiteX7" fmla="*/ 12780 w 155914"/>
                <a:gd name="connsiteY7" fmla="*/ 77885 h 155769"/>
                <a:gd name="connsiteX8" fmla="*/ 77957 w 155914"/>
                <a:gd name="connsiteY8" fmla="*/ 12768 h 155769"/>
                <a:gd name="connsiteX9" fmla="*/ 143135 w 155914"/>
                <a:gd name="connsiteY9" fmla="*/ 77885 h 155769"/>
                <a:gd name="connsiteX10" fmla="*/ 143135 w 155914"/>
                <a:gd name="connsiteY10" fmla="*/ 77885 h 155769"/>
                <a:gd name="connsiteX11" fmla="*/ 77957 w 155914"/>
                <a:gd name="connsiteY11" fmla="*/ 143001 h 155769"/>
                <a:gd name="connsiteX12" fmla="*/ 77957 w 155914"/>
                <a:gd name="connsiteY12" fmla="*/ 143001 h 15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914" h="155769">
                  <a:moveTo>
                    <a:pt x="77957" y="0"/>
                  </a:moveTo>
                  <a:cubicBezTo>
                    <a:pt x="35145" y="0"/>
                    <a:pt x="0" y="35112"/>
                    <a:pt x="0" y="77885"/>
                  </a:cubicBezTo>
                  <a:cubicBezTo>
                    <a:pt x="0" y="120657"/>
                    <a:pt x="35145" y="155769"/>
                    <a:pt x="77957" y="155769"/>
                  </a:cubicBezTo>
                  <a:cubicBezTo>
                    <a:pt x="120770" y="155769"/>
                    <a:pt x="155914" y="120657"/>
                    <a:pt x="155914" y="77885"/>
                  </a:cubicBezTo>
                  <a:cubicBezTo>
                    <a:pt x="155914" y="77885"/>
                    <a:pt x="155914" y="77885"/>
                    <a:pt x="155914" y="77885"/>
                  </a:cubicBezTo>
                  <a:cubicBezTo>
                    <a:pt x="155914" y="35112"/>
                    <a:pt x="120770" y="0"/>
                    <a:pt x="77957" y="0"/>
                  </a:cubicBezTo>
                  <a:close/>
                  <a:moveTo>
                    <a:pt x="77957" y="143001"/>
                  </a:moveTo>
                  <a:cubicBezTo>
                    <a:pt x="42174" y="143001"/>
                    <a:pt x="12780" y="113635"/>
                    <a:pt x="12780" y="77885"/>
                  </a:cubicBezTo>
                  <a:cubicBezTo>
                    <a:pt x="12780" y="42135"/>
                    <a:pt x="42174" y="12768"/>
                    <a:pt x="77957" y="12768"/>
                  </a:cubicBezTo>
                  <a:cubicBezTo>
                    <a:pt x="113741" y="12768"/>
                    <a:pt x="143135" y="42135"/>
                    <a:pt x="143135" y="77885"/>
                  </a:cubicBezTo>
                  <a:cubicBezTo>
                    <a:pt x="143135" y="77885"/>
                    <a:pt x="143135" y="77885"/>
                    <a:pt x="143135" y="77885"/>
                  </a:cubicBezTo>
                  <a:cubicBezTo>
                    <a:pt x="143135" y="113635"/>
                    <a:pt x="113741" y="143001"/>
                    <a:pt x="77957" y="143001"/>
                  </a:cubicBezTo>
                  <a:lnTo>
                    <a:pt x="77957" y="143001"/>
                  </a:lnTo>
                  <a:close/>
                </a:path>
              </a:pathLst>
            </a:custGeom>
            <a:grpFill/>
            <a:ln w="6390" cap="flat">
              <a:solidFill>
                <a:srgbClr val="86BC25"/>
              </a:solidFill>
              <a:prstDash val="solid"/>
              <a:miter/>
            </a:ln>
          </p:spPr>
          <p:txBody>
            <a:bodyPr rtlCol="0" anchor="ctr"/>
            <a:lstStyle/>
            <a:p>
              <a:pPr defTabSz="1219170" hangingPunct="1"/>
              <a:endParaRPr lang="en-US" sz="24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spTree>
    <p:extLst>
      <p:ext uri="{BB962C8B-B14F-4D97-AF65-F5344CB8AC3E}">
        <p14:creationId xmlns:p14="http://schemas.microsoft.com/office/powerpoint/2010/main" val="1122217707"/>
      </p:ext>
    </p:extLst>
  </p:cSld>
  <p:clrMapOvr>
    <a:masterClrMapping/>
  </p:clrMapOvr>
  <p:transition spd="med"/>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34625A-4F50-4216-97E9-D8C18D7981AA}"/>
              </a:ext>
            </a:extLst>
          </p:cNvPr>
          <p:cNvSpPr>
            <a:spLocks noGrp="1"/>
          </p:cNvSpPr>
          <p:nvPr>
            <p:ph type="body" sz="quarter" idx="1"/>
          </p:nvPr>
        </p:nvSpPr>
        <p:spPr/>
        <p:txBody>
          <a:bodyPr/>
          <a:lstStyle/>
          <a:p>
            <a:r>
              <a:rPr kumimoji="0" lang="en-US" sz="1400" b="1" i="0" u="none" strike="noStrike" kern="1200" cap="none" spc="0" normalizeH="0" baseline="0" noProof="0" dirty="0">
                <a:ln>
                  <a:noFill/>
                </a:ln>
                <a:solidFill>
                  <a:srgbClr val="575757"/>
                </a:solidFill>
                <a:effectLst/>
                <a:uLnTx/>
                <a:uFillTx/>
                <a:latin typeface="+mn-lt"/>
                <a:ea typeface="Open Sans Light" panose="020B0306030504020204" pitchFamily="34" charset="0"/>
                <a:cs typeface="Open Sans Light" panose="020B0306030504020204" pitchFamily="34" charset="0"/>
              </a:rPr>
              <a:t>Deloitte Middle East is part of NSE</a:t>
            </a:r>
          </a:p>
        </p:txBody>
      </p:sp>
      <p:sp>
        <p:nvSpPr>
          <p:cNvPr id="12" name="Rectangle 11">
            <a:extLst>
              <a:ext uri="{FF2B5EF4-FFF2-40B4-BE49-F238E27FC236}">
                <a16:creationId xmlns:a16="http://schemas.microsoft.com/office/drawing/2014/main" id="{1FBA352F-BA3F-4041-9204-C1BBD7878ABC}"/>
              </a:ext>
            </a:extLst>
          </p:cNvPr>
          <p:cNvSpPr/>
          <p:nvPr/>
        </p:nvSpPr>
        <p:spPr bwMode="gray">
          <a:xfrm>
            <a:off x="8353739" y="3919551"/>
            <a:ext cx="2785344" cy="1456524"/>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 name="Rectangle 12">
            <a:extLst>
              <a:ext uri="{FF2B5EF4-FFF2-40B4-BE49-F238E27FC236}">
                <a16:creationId xmlns:a16="http://schemas.microsoft.com/office/drawing/2014/main" id="{490FE699-D75E-4F16-9CA6-757BB08F52AB}"/>
              </a:ext>
            </a:extLst>
          </p:cNvPr>
          <p:cNvSpPr/>
          <p:nvPr/>
        </p:nvSpPr>
        <p:spPr bwMode="gray">
          <a:xfrm>
            <a:off x="5327746" y="3952397"/>
            <a:ext cx="2785344" cy="1456524"/>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4" name="Picture 3">
            <a:extLst>
              <a:ext uri="{FF2B5EF4-FFF2-40B4-BE49-F238E27FC236}">
                <a16:creationId xmlns:a16="http://schemas.microsoft.com/office/drawing/2014/main" id="{83AB125F-8723-4C8D-9379-6910E3C5D5A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140390" y="3740940"/>
            <a:ext cx="9525" cy="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0">
            <a:extLst>
              <a:ext uri="{FF2B5EF4-FFF2-40B4-BE49-F238E27FC236}">
                <a16:creationId xmlns:a16="http://schemas.microsoft.com/office/drawing/2014/main" id="{865F6F5C-0CEB-485A-B499-2F9922FEDB4E}"/>
              </a:ext>
            </a:extLst>
          </p:cNvPr>
          <p:cNvSpPr txBox="1">
            <a:spLocks noChangeArrowheads="1"/>
          </p:cNvSpPr>
          <p:nvPr/>
        </p:nvSpPr>
        <p:spPr bwMode="auto">
          <a:xfrm>
            <a:off x="1000499" y="1682696"/>
            <a:ext cx="3243004" cy="3785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defTabSz="1219170" hangingPunct="1"/>
            <a:r>
              <a:rPr lang="en-IE" sz="2000"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Deloitte North and South Europe (NSE) is the second largest member firm in the Deloitte network.</a:t>
            </a:r>
            <a:r>
              <a:rPr lang="en-US" sz="2000"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 </a:t>
            </a:r>
          </a:p>
          <a:p>
            <a:pPr defTabSz="1219170" hangingPunct="1"/>
            <a:endParaRPr lang="en-US" altLang="en-US" sz="32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defTabSz="1219170" hangingPunct="1"/>
            <a:r>
              <a:rPr lang="en-US" altLang="en-US" sz="18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Deloitte NSE combines our unmatched breadth and depth of capabilities in audit &amp; assurance, consulting, financial advisory, risk advisory, and tax &amp; legal. </a:t>
            </a:r>
            <a:endParaRPr lang="en-GB" altLang="en-US" sz="18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 name="TextBox 1">
            <a:extLst>
              <a:ext uri="{FF2B5EF4-FFF2-40B4-BE49-F238E27FC236}">
                <a16:creationId xmlns:a16="http://schemas.microsoft.com/office/drawing/2014/main" id="{C36AC361-7CCC-490F-AFF5-02F8A3A76C6C}"/>
              </a:ext>
            </a:extLst>
          </p:cNvPr>
          <p:cNvSpPr txBox="1">
            <a:spLocks/>
          </p:cNvSpPr>
          <p:nvPr/>
        </p:nvSpPr>
        <p:spPr>
          <a:xfrm>
            <a:off x="5337270" y="4083186"/>
            <a:ext cx="2905250" cy="1015663"/>
          </a:xfrm>
          <a:prstGeom prst="rect">
            <a:avLst/>
          </a:prstGeom>
          <a:noFill/>
        </p:spPr>
        <p:txBody>
          <a:bodyPr wrap="square" lIns="91440" tIns="45720" rIns="91440" bIns="45720" rtlCol="0" anchor="t">
            <a:spAutoFit/>
          </a:bodyPr>
          <a:lstStyle/>
          <a:p>
            <a:pPr defTabSz="1219170" hangingPunct="1"/>
            <a:r>
              <a:rPr lang="en-GB" sz="4400"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28</a:t>
            </a:r>
            <a:endParaRPr lang="en-GB" sz="1800"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endParaRPr>
          </a:p>
          <a:p>
            <a:pPr defTabSz="1219170" hangingPunct="1"/>
            <a:r>
              <a:rPr lang="en-GB" sz="1600" kern="1200">
                <a:solidFill>
                  <a:srgbClr val="53565A">
                    <a:lumMod val="25000"/>
                  </a:srgbClr>
                </a:solidFill>
                <a:latin typeface="Open Sans Light" panose="020B0306030504020204" pitchFamily="34" charset="0"/>
                <a:ea typeface="Open Sans Light" panose="020B0306030504020204" pitchFamily="34" charset="0"/>
                <a:cs typeface="Open Sans Light" panose="020B0306030504020204" pitchFamily="34" charset="0"/>
              </a:rPr>
              <a:t>countries all part of one firm</a:t>
            </a:r>
            <a:endParaRPr lang="en-GB" sz="1800" kern="1200">
              <a:solidFill>
                <a:srgbClr val="53565A">
                  <a:lumMod val="25000"/>
                </a:srgb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 name="TextBox 1">
            <a:extLst>
              <a:ext uri="{FF2B5EF4-FFF2-40B4-BE49-F238E27FC236}">
                <a16:creationId xmlns:a16="http://schemas.microsoft.com/office/drawing/2014/main" id="{E328137A-4290-4DB5-87E5-A0F336D39E3B}"/>
              </a:ext>
            </a:extLst>
          </p:cNvPr>
          <p:cNvSpPr txBox="1">
            <a:spLocks/>
          </p:cNvSpPr>
          <p:nvPr/>
        </p:nvSpPr>
        <p:spPr>
          <a:xfrm>
            <a:off x="8312684" y="3982764"/>
            <a:ext cx="2926230" cy="1261884"/>
          </a:xfrm>
          <a:prstGeom prst="rect">
            <a:avLst/>
          </a:prstGeom>
          <a:noFill/>
        </p:spPr>
        <p:txBody>
          <a:bodyPr wrap="square" lIns="91440" tIns="45720" rIns="91440" bIns="45720" rtlCol="0" anchor="t">
            <a:spAutoFit/>
          </a:bodyPr>
          <a:lstStyle/>
          <a:p>
            <a:pPr defTabSz="1219170" hangingPunct="1"/>
            <a:r>
              <a:rPr lang="en-GB" sz="1600" kern="1200">
                <a:solidFill>
                  <a:srgbClr val="53565A">
                    <a:lumMod val="25000"/>
                  </a:srgbClr>
                </a:solidFill>
                <a:latin typeface="Open Sans Light" panose="020B0306030504020204" pitchFamily="34" charset="0"/>
                <a:ea typeface="Open Sans Light" panose="020B0306030504020204" pitchFamily="34" charset="0"/>
                <a:cs typeface="Open Sans Light" panose="020B0306030504020204" pitchFamily="34" charset="0"/>
              </a:rPr>
              <a:t>Over</a:t>
            </a:r>
            <a:r>
              <a:rPr lang="en-GB" sz="4400" kern="1200">
                <a:solidFill>
                  <a:srgbClr val="53565A">
                    <a:lumMod val="25000"/>
                  </a:srgbClr>
                </a:solidFill>
                <a:latin typeface="Open Sans Light" panose="020B0306030504020204" pitchFamily="34" charset="0"/>
                <a:ea typeface="Open Sans Light" panose="020B0306030504020204" pitchFamily="34" charset="0"/>
                <a:cs typeface="Open Sans Light" panose="020B0306030504020204" pitchFamily="34" charset="0"/>
              </a:rPr>
              <a:t> </a:t>
            </a:r>
            <a:r>
              <a:rPr lang="en-GB" sz="4400"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100,000</a:t>
            </a:r>
            <a:endParaRPr lang="en-GB" sz="1800"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endParaRPr>
          </a:p>
          <a:p>
            <a:pPr defTabSz="1219170" hangingPunct="1"/>
            <a:r>
              <a:rPr lang="en-GB" sz="1600" kern="1200">
                <a:solidFill>
                  <a:srgbClr val="53565A">
                    <a:lumMod val="25000"/>
                  </a:srgbClr>
                </a:solidFill>
                <a:latin typeface="Open Sans Light" panose="020B0306030504020204" pitchFamily="34" charset="0"/>
                <a:ea typeface="Open Sans Light" panose="020B0306030504020204" pitchFamily="34" charset="0"/>
                <a:cs typeface="Open Sans Light" panose="020B0306030504020204" pitchFamily="34" charset="0"/>
              </a:rPr>
              <a:t>People working across North and South Europe</a:t>
            </a:r>
            <a:endParaRPr lang="en-GB" sz="1800" kern="1200">
              <a:solidFill>
                <a:srgbClr val="53565A">
                  <a:lumMod val="25000"/>
                </a:srgb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8" name="TextBox 17">
            <a:extLst>
              <a:ext uri="{FF2B5EF4-FFF2-40B4-BE49-F238E27FC236}">
                <a16:creationId xmlns:a16="http://schemas.microsoft.com/office/drawing/2014/main" id="{6BCC6D95-AA20-46C0-B552-3F76E8FED861}"/>
              </a:ext>
            </a:extLst>
          </p:cNvPr>
          <p:cNvSpPr txBox="1"/>
          <p:nvPr/>
        </p:nvSpPr>
        <p:spPr>
          <a:xfrm>
            <a:off x="5238410" y="5507783"/>
            <a:ext cx="6227597" cy="261610"/>
          </a:xfrm>
          <a:prstGeom prst="rect">
            <a:avLst/>
          </a:prstGeom>
          <a:noFill/>
        </p:spPr>
        <p:txBody>
          <a:bodyPr wrap="square">
            <a:spAutoFit/>
          </a:bodyPr>
          <a:lstStyle/>
          <a:p>
            <a:pPr defTabSz="1219170" hangingPunct="1"/>
            <a:r>
              <a:rPr lang="en-US" altLang="en-US" sz="105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hlinkClick r:id="rId3"/>
              </a:rPr>
              <a:t>Read more </a:t>
            </a:r>
            <a:r>
              <a:rPr lang="en-US" altLang="en-US" sz="105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bout how Deloitte NSE makes an impact that matters to clients, people and society. </a:t>
            </a:r>
            <a:endParaRPr lang="en-GB" altLang="en-US" sz="105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 name="TextBox 18">
            <a:extLst>
              <a:ext uri="{FF2B5EF4-FFF2-40B4-BE49-F238E27FC236}">
                <a16:creationId xmlns:a16="http://schemas.microsoft.com/office/drawing/2014/main" id="{8F06CF1B-DBD3-4A9B-A4CF-89C227DD3A7B}"/>
              </a:ext>
            </a:extLst>
          </p:cNvPr>
          <p:cNvSpPr txBox="1"/>
          <p:nvPr/>
        </p:nvSpPr>
        <p:spPr>
          <a:xfrm>
            <a:off x="5258328" y="1618486"/>
            <a:ext cx="5907030" cy="2246769"/>
          </a:xfrm>
          <a:prstGeom prst="rect">
            <a:avLst/>
          </a:prstGeom>
          <a:noFill/>
        </p:spPr>
        <p:txBody>
          <a:bodyPr wrap="square">
            <a:spAutoFit/>
          </a:bodyPr>
          <a:lstStyle/>
          <a:p>
            <a:pPr defTabSz="1219170" hangingPunct="1">
              <a:defRPr/>
            </a:pPr>
            <a:r>
              <a:rPr lang="en-US" altLang="en-US" sz="14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s our clients operate in a more globally connected way than ever before, Deloitte NSE helps us provide a seamless cross-border service. Deloitte NSE brings together 3,000 partners and over 100,000 people, providing us with the scale, and the means, to increase our investment in the innovation our clients need. </a:t>
            </a:r>
          </a:p>
          <a:p>
            <a:pPr defTabSz="1219170" hangingPunct="1">
              <a:defRPr/>
            </a:pPr>
            <a:endParaRPr lang="en-US" altLang="en-US" sz="14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defTabSz="1219170" hangingPunct="1">
              <a:defRPr/>
            </a:pPr>
            <a:r>
              <a:rPr lang="en-US" altLang="en-US" sz="14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t is also creating more opportunity and growth for our people, and playing an important part in helping us to embed quality consistently in all we do. Central to our firm is our commitment to our global purpose: to make an impact that matters for our clients, our people and society. </a:t>
            </a:r>
            <a:endParaRPr lang="en-GB" altLang="en-US" sz="1400" kern="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 name="Title 2">
            <a:extLst>
              <a:ext uri="{FF2B5EF4-FFF2-40B4-BE49-F238E27FC236}">
                <a16:creationId xmlns:a16="http://schemas.microsoft.com/office/drawing/2014/main" id="{6E1B6C76-B698-2766-43B7-A4616E65FA80}"/>
              </a:ext>
            </a:extLst>
          </p:cNvPr>
          <p:cNvSpPr>
            <a:spLocks noGrp="1"/>
          </p:cNvSpPr>
          <p:nvPr>
            <p:ph type="title"/>
          </p:nvPr>
        </p:nvSpPr>
        <p:spPr>
          <a:xfrm>
            <a:off x="469901" y="402587"/>
            <a:ext cx="8242301" cy="379302"/>
          </a:xfrm>
        </p:spPr>
        <p:txBody>
          <a:bodyPr/>
          <a:lstStyle/>
          <a:p>
            <a:r>
              <a:rPr lang="en-US" sz="2000">
                <a:solidFill>
                  <a:schemeClr val="tx2">
                    <a:lumMod val="50000"/>
                  </a:schemeClr>
                </a:solidFill>
                <a:latin typeface="+mn-lt"/>
                <a:ea typeface="Open Sans Semibold" panose="020B0706030804020204" pitchFamily="34" charset="0"/>
                <a:cs typeface="Open Sans Semibold" panose="020B0706030804020204" pitchFamily="34" charset="0"/>
              </a:rPr>
              <a:t>About Deloitte</a:t>
            </a:r>
            <a:endParaRPr lang="en-US">
              <a:solidFill>
                <a:schemeClr val="tx2">
                  <a:lumMod val="50000"/>
                </a:schemeClr>
              </a:solidFill>
              <a:latin typeface="+mn-lt"/>
              <a:ea typeface="Open Sans Semibold" panose="020B0706030804020204" pitchFamily="34" charset="0"/>
              <a:cs typeface="Open Sans Semibold" panose="020B0706030804020204" pitchFamily="34" charset="0"/>
            </a:endParaRPr>
          </a:p>
        </p:txBody>
      </p:sp>
    </p:spTree>
    <p:extLst>
      <p:ext uri="{BB962C8B-B14F-4D97-AF65-F5344CB8AC3E}">
        <p14:creationId xmlns:p14="http://schemas.microsoft.com/office/powerpoint/2010/main" val="70155409"/>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ext Placeholder 20">
            <a:extLst>
              <a:ext uri="{FF2B5EF4-FFF2-40B4-BE49-F238E27FC236}">
                <a16:creationId xmlns:a16="http://schemas.microsoft.com/office/drawing/2014/main" id="{0B00487E-9A8E-46E0-B60F-BB884C23310C}"/>
              </a:ext>
            </a:extLst>
          </p:cNvPr>
          <p:cNvSpPr txBox="1">
            <a:spLocks/>
          </p:cNvSpPr>
          <p:nvPr/>
        </p:nvSpPr>
        <p:spPr>
          <a:xfrm>
            <a:off x="412436"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575757"/>
                </a:solidFill>
                <a:effectLst/>
                <a:uLnTx/>
                <a:uFillTx/>
                <a:latin typeface="+mn-lt"/>
                <a:ea typeface="Open Sans Light" panose="020B0306030504020204" pitchFamily="34" charset="0"/>
                <a:cs typeface="Open Sans Light" panose="020B0306030504020204" pitchFamily="34" charset="0"/>
                <a:sym typeface="Open Sans Light"/>
              </a:rPr>
              <a:t>Our Understanding of Your Needs</a:t>
            </a:r>
          </a:p>
        </p:txBody>
      </p:sp>
      <p:sp>
        <p:nvSpPr>
          <p:cNvPr id="76" name="Title 1">
            <a:extLst>
              <a:ext uri="{FF2B5EF4-FFF2-40B4-BE49-F238E27FC236}">
                <a16:creationId xmlns:a16="http://schemas.microsoft.com/office/drawing/2014/main" id="{11F95CE4-70DC-4FF6-9740-A5C6EC6923E7}"/>
              </a:ext>
            </a:extLst>
          </p:cNvPr>
          <p:cNvSpPr txBox="1">
            <a:spLocks/>
          </p:cNvSpPr>
          <p:nvPr/>
        </p:nvSpPr>
        <p:spPr bwMode="gray">
          <a:xfrm>
            <a:off x="412436"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400" kern="1200">
                <a:solidFill>
                  <a:srgbClr val="86BC25"/>
                </a:solidFill>
                <a:latin typeface="+mj-lt"/>
                <a:ea typeface="Verdana" panose="020B0604030504040204" pitchFamily="34" charset="0"/>
                <a:cs typeface="Calibri" panose="020F0502020204030204" pitchFamily="34"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ysClr val="windowText" lastClr="000000"/>
                </a:solidFill>
                <a:effectLst/>
                <a:uLnTx/>
                <a:uFillTx/>
                <a:latin typeface="+mn-lt"/>
                <a:ea typeface="Open Sans Semibold" panose="020B0706030804020204" pitchFamily="34" charset="0"/>
                <a:cs typeface="Open Sans Semibold" panose="020B0706030804020204" pitchFamily="34" charset="0"/>
                <a:sym typeface="Open Sans Light"/>
              </a:rPr>
              <a:t>Executive Summary</a:t>
            </a:r>
          </a:p>
        </p:txBody>
      </p:sp>
      <p:sp>
        <p:nvSpPr>
          <p:cNvPr id="41" name="Content Placeholder 3">
            <a:extLst>
              <a:ext uri="{FF2B5EF4-FFF2-40B4-BE49-F238E27FC236}">
                <a16:creationId xmlns:a16="http://schemas.microsoft.com/office/drawing/2014/main" id="{759A0B1E-9D78-FFAD-0251-6A24DFE2F99E}"/>
              </a:ext>
            </a:extLst>
          </p:cNvPr>
          <p:cNvSpPr txBox="1">
            <a:spLocks/>
          </p:cNvSpPr>
          <p:nvPr/>
        </p:nvSpPr>
        <p:spPr>
          <a:xfrm>
            <a:off x="412436" y="1020730"/>
            <a:ext cx="11454667" cy="838631"/>
          </a:xfrm>
          <a:prstGeom prst="rect">
            <a:avLst/>
          </a:prstGeom>
        </p:spPr>
        <p:txBody>
          <a:bodyPr vert="horz" lIns="0" tIns="0" rIns="0" bIns="0" rtlCol="0" anchor="t">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just">
              <a:lnSpc>
                <a:spcPct val="150000"/>
              </a:lnSpc>
            </a:pPr>
            <a:r>
              <a:rPr lang="en-US" sz="1200" b="1" dirty="0">
                <a:solidFill>
                  <a:srgbClr val="86BC25"/>
                </a:solidFill>
                <a:ea typeface="Open Sans Light" panose="020B0306030504020204" pitchFamily="34" charset="0"/>
                <a:cs typeface="Open Sans Light" panose="020B0306030504020204" pitchFamily="34" charset="0"/>
              </a:rPr>
              <a:t>Salam </a:t>
            </a:r>
            <a:r>
              <a:rPr lang="en-US" sz="1200" dirty="0">
                <a:solidFill>
                  <a:srgbClr val="3E3E3E"/>
                </a:solidFill>
                <a:ea typeface="Open Sans Light" panose="020B0306030504020204" pitchFamily="34" charset="0"/>
                <a:cs typeface="Open Sans Light" panose="020B0306030504020204" pitchFamily="34" charset="0"/>
              </a:rPr>
              <a:t>aims to enhance resilience and operational excellence by availing resilience support consultancy and Business Continuity Advisor services.</a:t>
            </a:r>
          </a:p>
        </p:txBody>
      </p:sp>
      <p:grpSp>
        <p:nvGrpSpPr>
          <p:cNvPr id="2" name="Group 1">
            <a:extLst>
              <a:ext uri="{FF2B5EF4-FFF2-40B4-BE49-F238E27FC236}">
                <a16:creationId xmlns:a16="http://schemas.microsoft.com/office/drawing/2014/main" id="{99672ED4-D8CF-8CB5-8995-E66D525577B4}"/>
              </a:ext>
            </a:extLst>
          </p:cNvPr>
          <p:cNvGrpSpPr/>
          <p:nvPr/>
        </p:nvGrpSpPr>
        <p:grpSpPr>
          <a:xfrm>
            <a:off x="494198" y="1583802"/>
            <a:ext cx="11252200" cy="4679952"/>
            <a:chOff x="494198" y="1792521"/>
            <a:chExt cx="11252200" cy="4679952"/>
          </a:xfrm>
        </p:grpSpPr>
        <p:grpSp>
          <p:nvGrpSpPr>
            <p:cNvPr id="42" name="Group 41">
              <a:extLst>
                <a:ext uri="{FF2B5EF4-FFF2-40B4-BE49-F238E27FC236}">
                  <a16:creationId xmlns:a16="http://schemas.microsoft.com/office/drawing/2014/main" id="{C78440E1-43F3-6456-D2C6-FB17FB6A82D6}"/>
                </a:ext>
              </a:extLst>
            </p:cNvPr>
            <p:cNvGrpSpPr/>
            <p:nvPr/>
          </p:nvGrpSpPr>
          <p:grpSpPr>
            <a:xfrm>
              <a:off x="4401693" y="2392257"/>
              <a:ext cx="3575585" cy="4080216"/>
              <a:chOff x="603161" y="2265024"/>
              <a:chExt cx="3575585" cy="3775099"/>
            </a:xfrm>
          </p:grpSpPr>
          <p:sp>
            <p:nvSpPr>
              <p:cNvPr id="43" name="Rectangle 42">
                <a:extLst>
                  <a:ext uri="{FF2B5EF4-FFF2-40B4-BE49-F238E27FC236}">
                    <a16:creationId xmlns:a16="http://schemas.microsoft.com/office/drawing/2014/main" id="{B9F0AA43-8096-72D5-0738-F477ED59400D}"/>
                  </a:ext>
                </a:extLst>
              </p:cNvPr>
              <p:cNvSpPr/>
              <p:nvPr/>
            </p:nvSpPr>
            <p:spPr bwMode="gray">
              <a:xfrm>
                <a:off x="627852" y="2282466"/>
                <a:ext cx="3526195" cy="3757655"/>
              </a:xfrm>
              <a:prstGeom prst="rect">
                <a:avLst/>
              </a:prstGeom>
              <a:solidFill>
                <a:schemeClr val="bg1"/>
              </a:solidFill>
              <a:ln w="9525" algn="ctr">
                <a:solidFill>
                  <a:schemeClr val="accent1"/>
                </a:solidFill>
                <a:miter lim="800000"/>
                <a:headEnd/>
                <a:tailEnd/>
              </a:ln>
            </p:spPr>
            <p:txBody>
              <a:bodyPr wrap="square" lIns="365760" tIns="731520" rIns="457200" bIns="88900" rtlCol="0" anchor="t"/>
              <a:lstStyle/>
              <a:p>
                <a:pPr algn="ctr">
                  <a:spcBef>
                    <a:spcPts val="1200"/>
                  </a:spcBef>
                </a:pPr>
                <a:endParaRPr lang="en-US" sz="1100" b="1">
                  <a:solidFill>
                    <a:srgbClr val="00A3E0"/>
                  </a:solidFill>
                </a:endParaRPr>
              </a:p>
            </p:txBody>
          </p:sp>
          <p:grpSp>
            <p:nvGrpSpPr>
              <p:cNvPr id="44" name="Group 43">
                <a:extLst>
                  <a:ext uri="{FF2B5EF4-FFF2-40B4-BE49-F238E27FC236}">
                    <a16:creationId xmlns:a16="http://schemas.microsoft.com/office/drawing/2014/main" id="{554DB754-13C9-802A-68EA-CEBEC31DB09A}"/>
                  </a:ext>
                </a:extLst>
              </p:cNvPr>
              <p:cNvGrpSpPr/>
              <p:nvPr/>
            </p:nvGrpSpPr>
            <p:grpSpPr>
              <a:xfrm>
                <a:off x="603161" y="2265024"/>
                <a:ext cx="3575585" cy="3775099"/>
                <a:chOff x="4662488" y="1709644"/>
                <a:chExt cx="2649800" cy="4672106"/>
              </a:xfrm>
              <a:solidFill>
                <a:srgbClr val="00A3E0"/>
              </a:solidFill>
            </p:grpSpPr>
            <p:sp>
              <p:nvSpPr>
                <p:cNvPr id="45" name="Freeform 106">
                  <a:extLst>
                    <a:ext uri="{FF2B5EF4-FFF2-40B4-BE49-F238E27FC236}">
                      <a16:creationId xmlns:a16="http://schemas.microsoft.com/office/drawing/2014/main" id="{2B843CA5-880C-1276-49BD-2A1E648647DE}"/>
                    </a:ext>
                  </a:extLst>
                </p:cNvPr>
                <p:cNvSpPr/>
                <p:nvPr/>
              </p:nvSpPr>
              <p:spPr bwMode="gray">
                <a:xfrm>
                  <a:off x="4662488" y="1709644"/>
                  <a:ext cx="653090" cy="653090"/>
                </a:xfrm>
                <a:custGeom>
                  <a:avLst/>
                  <a:gdLst>
                    <a:gd name="connsiteX0" fmla="*/ 0 w 653090"/>
                    <a:gd name="connsiteY0" fmla="*/ 0 h 653090"/>
                    <a:gd name="connsiteX1" fmla="*/ 653090 w 653090"/>
                    <a:gd name="connsiteY1" fmla="*/ 0 h 653090"/>
                    <a:gd name="connsiteX2" fmla="*/ 622303 w 653090"/>
                    <a:gd name="connsiteY2" fmla="*/ 30787 h 653090"/>
                    <a:gd name="connsiteX3" fmla="*/ 367736 w 653090"/>
                    <a:gd name="connsiteY3" fmla="*/ 30787 h 653090"/>
                    <a:gd name="connsiteX4" fmla="*/ 359832 w 653090"/>
                    <a:gd name="connsiteY4" fmla="*/ 79753 h 653090"/>
                    <a:gd name="connsiteX5" fmla="*/ 105727 w 653090"/>
                    <a:gd name="connsiteY5" fmla="*/ 356610 h 653090"/>
                    <a:gd name="connsiteX6" fmla="*/ 30774 w 653090"/>
                    <a:gd name="connsiteY6" fmla="*/ 371378 h 653090"/>
                    <a:gd name="connsiteX7" fmla="*/ 30774 w 653090"/>
                    <a:gd name="connsiteY7" fmla="*/ 622316 h 653090"/>
                    <a:gd name="connsiteX8" fmla="*/ 0 w 653090"/>
                    <a:gd name="connsiteY8" fmla="*/ 653090 h 65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090" h="653090">
                      <a:moveTo>
                        <a:pt x="0" y="0"/>
                      </a:moveTo>
                      <a:lnTo>
                        <a:pt x="653090" y="0"/>
                      </a:lnTo>
                      <a:lnTo>
                        <a:pt x="622303" y="30787"/>
                      </a:lnTo>
                      <a:lnTo>
                        <a:pt x="367736" y="30787"/>
                      </a:lnTo>
                      <a:lnTo>
                        <a:pt x="359832" y="79753"/>
                      </a:lnTo>
                      <a:cubicBezTo>
                        <a:pt x="332392" y="202622"/>
                        <a:pt x="259075" y="312321"/>
                        <a:pt x="105727" y="356610"/>
                      </a:cubicBezTo>
                      <a:lnTo>
                        <a:pt x="30774" y="371378"/>
                      </a:lnTo>
                      <a:lnTo>
                        <a:pt x="30774" y="622316"/>
                      </a:lnTo>
                      <a:lnTo>
                        <a:pt x="0" y="65309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46" name="Freeform 107">
                  <a:extLst>
                    <a:ext uri="{FF2B5EF4-FFF2-40B4-BE49-F238E27FC236}">
                      <a16:creationId xmlns:a16="http://schemas.microsoft.com/office/drawing/2014/main" id="{05A51262-E016-4555-EA12-4C8F047E2683}"/>
                    </a:ext>
                  </a:extLst>
                </p:cNvPr>
                <p:cNvSpPr/>
                <p:nvPr/>
              </p:nvSpPr>
              <p:spPr bwMode="gray">
                <a:xfrm flipH="1" flipV="1">
                  <a:off x="6659198" y="5728660"/>
                  <a:ext cx="653090" cy="653090"/>
                </a:xfrm>
                <a:custGeom>
                  <a:avLst/>
                  <a:gdLst>
                    <a:gd name="connsiteX0" fmla="*/ 0 w 653090"/>
                    <a:gd name="connsiteY0" fmla="*/ 0 h 653090"/>
                    <a:gd name="connsiteX1" fmla="*/ 653090 w 653090"/>
                    <a:gd name="connsiteY1" fmla="*/ 0 h 653090"/>
                    <a:gd name="connsiteX2" fmla="*/ 622303 w 653090"/>
                    <a:gd name="connsiteY2" fmla="*/ 30787 h 653090"/>
                    <a:gd name="connsiteX3" fmla="*/ 367736 w 653090"/>
                    <a:gd name="connsiteY3" fmla="*/ 30787 h 653090"/>
                    <a:gd name="connsiteX4" fmla="*/ 359832 w 653090"/>
                    <a:gd name="connsiteY4" fmla="*/ 79753 h 653090"/>
                    <a:gd name="connsiteX5" fmla="*/ 105727 w 653090"/>
                    <a:gd name="connsiteY5" fmla="*/ 356610 h 653090"/>
                    <a:gd name="connsiteX6" fmla="*/ 30774 w 653090"/>
                    <a:gd name="connsiteY6" fmla="*/ 371378 h 653090"/>
                    <a:gd name="connsiteX7" fmla="*/ 30774 w 653090"/>
                    <a:gd name="connsiteY7" fmla="*/ 622316 h 653090"/>
                    <a:gd name="connsiteX8" fmla="*/ 0 w 653090"/>
                    <a:gd name="connsiteY8" fmla="*/ 653090 h 65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090" h="653090">
                      <a:moveTo>
                        <a:pt x="0" y="0"/>
                      </a:moveTo>
                      <a:lnTo>
                        <a:pt x="653090" y="0"/>
                      </a:lnTo>
                      <a:lnTo>
                        <a:pt x="622303" y="30787"/>
                      </a:lnTo>
                      <a:lnTo>
                        <a:pt x="367736" y="30787"/>
                      </a:lnTo>
                      <a:lnTo>
                        <a:pt x="359832" y="79753"/>
                      </a:lnTo>
                      <a:cubicBezTo>
                        <a:pt x="332392" y="202622"/>
                        <a:pt x="259075" y="312321"/>
                        <a:pt x="105727" y="356610"/>
                      </a:cubicBezTo>
                      <a:lnTo>
                        <a:pt x="30774" y="371378"/>
                      </a:lnTo>
                      <a:lnTo>
                        <a:pt x="30774" y="622316"/>
                      </a:lnTo>
                      <a:lnTo>
                        <a:pt x="0" y="65309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grpSp>
        <p:sp>
          <p:nvSpPr>
            <p:cNvPr id="47" name="Text Placeholder 2">
              <a:extLst>
                <a:ext uri="{FF2B5EF4-FFF2-40B4-BE49-F238E27FC236}">
                  <a16:creationId xmlns:a16="http://schemas.microsoft.com/office/drawing/2014/main" id="{913C1CD5-E67E-9DFC-64FE-3B79FC609F8E}"/>
                </a:ext>
              </a:extLst>
            </p:cNvPr>
            <p:cNvSpPr txBox="1">
              <a:spLocks/>
            </p:cNvSpPr>
            <p:nvPr/>
          </p:nvSpPr>
          <p:spPr>
            <a:xfrm>
              <a:off x="4624395" y="3022175"/>
              <a:ext cx="3040454" cy="3242953"/>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9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171450" indent="-171450" defTabSz="914400">
                <a:lnSpc>
                  <a:spcPct val="150000"/>
                </a:lnSpc>
                <a:spcBef>
                  <a:spcPts val="600"/>
                </a:spcBef>
                <a:spcAft>
                  <a:spcPts val="600"/>
                </a:spcAft>
                <a:buClr>
                  <a:srgbClr val="86BC25"/>
                </a:buClr>
                <a:buSzTx/>
                <a:buFont typeface="Arial" panose="020B0604020202020204" pitchFamily="34" charset="0"/>
                <a:buChar char="•"/>
                <a:defRPr/>
              </a:pPr>
              <a:endParaRPr lang="en-US" sz="1000" b="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48" name="Group 47">
              <a:extLst>
                <a:ext uri="{FF2B5EF4-FFF2-40B4-BE49-F238E27FC236}">
                  <a16:creationId xmlns:a16="http://schemas.microsoft.com/office/drawing/2014/main" id="{AAC1933B-ECB2-C48D-E28D-42B8C38BC8CB}"/>
                </a:ext>
              </a:extLst>
            </p:cNvPr>
            <p:cNvGrpSpPr/>
            <p:nvPr/>
          </p:nvGrpSpPr>
          <p:grpSpPr>
            <a:xfrm>
              <a:off x="682973" y="2371224"/>
              <a:ext cx="3575585" cy="4080217"/>
              <a:chOff x="603161" y="2265024"/>
              <a:chExt cx="3575585" cy="3775099"/>
            </a:xfrm>
          </p:grpSpPr>
          <p:sp>
            <p:nvSpPr>
              <p:cNvPr id="49" name="Rectangle 48">
                <a:extLst>
                  <a:ext uri="{FF2B5EF4-FFF2-40B4-BE49-F238E27FC236}">
                    <a16:creationId xmlns:a16="http://schemas.microsoft.com/office/drawing/2014/main" id="{A768A577-3E32-01EC-13AC-7884AAF6019A}"/>
                  </a:ext>
                </a:extLst>
              </p:cNvPr>
              <p:cNvSpPr/>
              <p:nvPr/>
            </p:nvSpPr>
            <p:spPr bwMode="gray">
              <a:xfrm>
                <a:off x="627852" y="2282466"/>
                <a:ext cx="3526195" cy="3757655"/>
              </a:xfrm>
              <a:prstGeom prst="rect">
                <a:avLst/>
              </a:prstGeom>
              <a:solidFill>
                <a:schemeClr val="bg1"/>
              </a:solidFill>
              <a:ln w="9525" algn="ctr">
                <a:solidFill>
                  <a:schemeClr val="accent1"/>
                </a:solidFill>
                <a:miter lim="800000"/>
                <a:headEnd/>
                <a:tailEnd/>
              </a:ln>
            </p:spPr>
            <p:txBody>
              <a:bodyPr wrap="square" lIns="365760" tIns="731520" rIns="457200" bIns="88900" rtlCol="0" anchor="t"/>
              <a:lstStyle/>
              <a:p>
                <a:pPr algn="ctr">
                  <a:spcBef>
                    <a:spcPts val="1200"/>
                  </a:spcBef>
                </a:pPr>
                <a:endParaRPr lang="en-US" sz="1100" b="1">
                  <a:solidFill>
                    <a:srgbClr val="00A3E0"/>
                  </a:solidFill>
                </a:endParaRPr>
              </a:p>
            </p:txBody>
          </p:sp>
          <p:grpSp>
            <p:nvGrpSpPr>
              <p:cNvPr id="50" name="Group 49">
                <a:extLst>
                  <a:ext uri="{FF2B5EF4-FFF2-40B4-BE49-F238E27FC236}">
                    <a16:creationId xmlns:a16="http://schemas.microsoft.com/office/drawing/2014/main" id="{A7C4394C-609F-BD61-12A1-BD5DE7833F07}"/>
                  </a:ext>
                </a:extLst>
              </p:cNvPr>
              <p:cNvGrpSpPr/>
              <p:nvPr/>
            </p:nvGrpSpPr>
            <p:grpSpPr>
              <a:xfrm>
                <a:off x="603161" y="2265024"/>
                <a:ext cx="3575585" cy="3775099"/>
                <a:chOff x="4662488" y="1709644"/>
                <a:chExt cx="2649800" cy="4672106"/>
              </a:xfrm>
              <a:solidFill>
                <a:srgbClr val="00A3E0"/>
              </a:solidFill>
            </p:grpSpPr>
            <p:sp>
              <p:nvSpPr>
                <p:cNvPr id="51" name="Freeform 128">
                  <a:extLst>
                    <a:ext uri="{FF2B5EF4-FFF2-40B4-BE49-F238E27FC236}">
                      <a16:creationId xmlns:a16="http://schemas.microsoft.com/office/drawing/2014/main" id="{03D2DA64-60F7-6C5D-7660-2554F1311E25}"/>
                    </a:ext>
                  </a:extLst>
                </p:cNvPr>
                <p:cNvSpPr/>
                <p:nvPr/>
              </p:nvSpPr>
              <p:spPr bwMode="gray">
                <a:xfrm>
                  <a:off x="4662488" y="1709644"/>
                  <a:ext cx="653090" cy="653090"/>
                </a:xfrm>
                <a:custGeom>
                  <a:avLst/>
                  <a:gdLst>
                    <a:gd name="connsiteX0" fmla="*/ 0 w 653090"/>
                    <a:gd name="connsiteY0" fmla="*/ 0 h 653090"/>
                    <a:gd name="connsiteX1" fmla="*/ 653090 w 653090"/>
                    <a:gd name="connsiteY1" fmla="*/ 0 h 653090"/>
                    <a:gd name="connsiteX2" fmla="*/ 622303 w 653090"/>
                    <a:gd name="connsiteY2" fmla="*/ 30787 h 653090"/>
                    <a:gd name="connsiteX3" fmla="*/ 367736 w 653090"/>
                    <a:gd name="connsiteY3" fmla="*/ 30787 h 653090"/>
                    <a:gd name="connsiteX4" fmla="*/ 359832 w 653090"/>
                    <a:gd name="connsiteY4" fmla="*/ 79753 h 653090"/>
                    <a:gd name="connsiteX5" fmla="*/ 105727 w 653090"/>
                    <a:gd name="connsiteY5" fmla="*/ 356610 h 653090"/>
                    <a:gd name="connsiteX6" fmla="*/ 30774 w 653090"/>
                    <a:gd name="connsiteY6" fmla="*/ 371378 h 653090"/>
                    <a:gd name="connsiteX7" fmla="*/ 30774 w 653090"/>
                    <a:gd name="connsiteY7" fmla="*/ 622316 h 653090"/>
                    <a:gd name="connsiteX8" fmla="*/ 0 w 653090"/>
                    <a:gd name="connsiteY8" fmla="*/ 653090 h 65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090" h="653090">
                      <a:moveTo>
                        <a:pt x="0" y="0"/>
                      </a:moveTo>
                      <a:lnTo>
                        <a:pt x="653090" y="0"/>
                      </a:lnTo>
                      <a:lnTo>
                        <a:pt x="622303" y="30787"/>
                      </a:lnTo>
                      <a:lnTo>
                        <a:pt x="367736" y="30787"/>
                      </a:lnTo>
                      <a:lnTo>
                        <a:pt x="359832" y="79753"/>
                      </a:lnTo>
                      <a:cubicBezTo>
                        <a:pt x="332392" y="202622"/>
                        <a:pt x="259075" y="312321"/>
                        <a:pt x="105727" y="356610"/>
                      </a:cubicBezTo>
                      <a:lnTo>
                        <a:pt x="30774" y="371378"/>
                      </a:lnTo>
                      <a:lnTo>
                        <a:pt x="30774" y="622316"/>
                      </a:lnTo>
                      <a:lnTo>
                        <a:pt x="0" y="65309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2" name="Freeform 129">
                  <a:extLst>
                    <a:ext uri="{FF2B5EF4-FFF2-40B4-BE49-F238E27FC236}">
                      <a16:creationId xmlns:a16="http://schemas.microsoft.com/office/drawing/2014/main" id="{CD210934-5B7C-01CE-AC8E-094B78B2708F}"/>
                    </a:ext>
                  </a:extLst>
                </p:cNvPr>
                <p:cNvSpPr/>
                <p:nvPr/>
              </p:nvSpPr>
              <p:spPr bwMode="gray">
                <a:xfrm flipH="1" flipV="1">
                  <a:off x="6659198" y="5728660"/>
                  <a:ext cx="653090" cy="653090"/>
                </a:xfrm>
                <a:custGeom>
                  <a:avLst/>
                  <a:gdLst>
                    <a:gd name="connsiteX0" fmla="*/ 0 w 653090"/>
                    <a:gd name="connsiteY0" fmla="*/ 0 h 653090"/>
                    <a:gd name="connsiteX1" fmla="*/ 653090 w 653090"/>
                    <a:gd name="connsiteY1" fmla="*/ 0 h 653090"/>
                    <a:gd name="connsiteX2" fmla="*/ 622303 w 653090"/>
                    <a:gd name="connsiteY2" fmla="*/ 30787 h 653090"/>
                    <a:gd name="connsiteX3" fmla="*/ 367736 w 653090"/>
                    <a:gd name="connsiteY3" fmla="*/ 30787 h 653090"/>
                    <a:gd name="connsiteX4" fmla="*/ 359832 w 653090"/>
                    <a:gd name="connsiteY4" fmla="*/ 79753 h 653090"/>
                    <a:gd name="connsiteX5" fmla="*/ 105727 w 653090"/>
                    <a:gd name="connsiteY5" fmla="*/ 356610 h 653090"/>
                    <a:gd name="connsiteX6" fmla="*/ 30774 w 653090"/>
                    <a:gd name="connsiteY6" fmla="*/ 371378 h 653090"/>
                    <a:gd name="connsiteX7" fmla="*/ 30774 w 653090"/>
                    <a:gd name="connsiteY7" fmla="*/ 622316 h 653090"/>
                    <a:gd name="connsiteX8" fmla="*/ 0 w 653090"/>
                    <a:gd name="connsiteY8" fmla="*/ 653090 h 65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090" h="653090">
                      <a:moveTo>
                        <a:pt x="0" y="0"/>
                      </a:moveTo>
                      <a:lnTo>
                        <a:pt x="653090" y="0"/>
                      </a:lnTo>
                      <a:lnTo>
                        <a:pt x="622303" y="30787"/>
                      </a:lnTo>
                      <a:lnTo>
                        <a:pt x="367736" y="30787"/>
                      </a:lnTo>
                      <a:lnTo>
                        <a:pt x="359832" y="79753"/>
                      </a:lnTo>
                      <a:cubicBezTo>
                        <a:pt x="332392" y="202622"/>
                        <a:pt x="259075" y="312321"/>
                        <a:pt x="105727" y="356610"/>
                      </a:cubicBezTo>
                      <a:lnTo>
                        <a:pt x="30774" y="371378"/>
                      </a:lnTo>
                      <a:lnTo>
                        <a:pt x="30774" y="622316"/>
                      </a:lnTo>
                      <a:lnTo>
                        <a:pt x="0" y="65309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grpSp>
        <p:grpSp>
          <p:nvGrpSpPr>
            <p:cNvPr id="53" name="Group 52">
              <a:extLst>
                <a:ext uri="{FF2B5EF4-FFF2-40B4-BE49-F238E27FC236}">
                  <a16:creationId xmlns:a16="http://schemas.microsoft.com/office/drawing/2014/main" id="{E5259E88-8957-F3FF-BEFB-9883799D0404}"/>
                </a:ext>
              </a:extLst>
            </p:cNvPr>
            <p:cNvGrpSpPr/>
            <p:nvPr/>
          </p:nvGrpSpPr>
          <p:grpSpPr>
            <a:xfrm>
              <a:off x="494198" y="1792521"/>
              <a:ext cx="11252200" cy="510272"/>
              <a:chOff x="469900" y="1665288"/>
              <a:chExt cx="11252200" cy="771088"/>
            </a:xfrm>
          </p:grpSpPr>
          <p:sp>
            <p:nvSpPr>
              <p:cNvPr id="54" name="Rounded Rectangle 133">
                <a:extLst>
                  <a:ext uri="{FF2B5EF4-FFF2-40B4-BE49-F238E27FC236}">
                    <a16:creationId xmlns:a16="http://schemas.microsoft.com/office/drawing/2014/main" id="{8721500C-9289-3707-64EB-E7395EB963C9}"/>
                  </a:ext>
                </a:extLst>
              </p:cNvPr>
              <p:cNvSpPr/>
              <p:nvPr/>
            </p:nvSpPr>
            <p:spPr bwMode="gray">
              <a:xfrm>
                <a:off x="469907" y="1666697"/>
                <a:ext cx="11252193" cy="769679"/>
              </a:xfrm>
              <a:prstGeom prst="roundRect">
                <a:avLst>
                  <a:gd name="adj" fmla="val 18343"/>
                </a:avLst>
              </a:prstGeom>
              <a:solidFill>
                <a:schemeClr val="accent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5" name="Rectangle 54">
                <a:extLst>
                  <a:ext uri="{FF2B5EF4-FFF2-40B4-BE49-F238E27FC236}">
                    <a16:creationId xmlns:a16="http://schemas.microsoft.com/office/drawing/2014/main" id="{F2FC10E6-29C6-905C-7BB6-6B86CB39A150}"/>
                  </a:ext>
                </a:extLst>
              </p:cNvPr>
              <p:cNvSpPr/>
              <p:nvPr/>
            </p:nvSpPr>
            <p:spPr bwMode="gray">
              <a:xfrm>
                <a:off x="469900" y="1665288"/>
                <a:ext cx="11252193" cy="529880"/>
              </a:xfrm>
              <a:prstGeom prst="rect">
                <a:avLst/>
              </a:prstGeom>
              <a:solidFill>
                <a:schemeClr val="accent1"/>
              </a:solidFill>
              <a:ln w="19050" algn="ctr">
                <a:noFill/>
                <a:miter lim="800000"/>
                <a:headEnd/>
                <a:tailEnd/>
              </a:ln>
            </p:spPr>
            <p:txBody>
              <a:bodyPr wrap="square" lIns="0" tIns="88900" rIns="0" bIns="88900" rtlCol="0" anchor="ctr"/>
              <a:lstStyle/>
              <a:p>
                <a:pPr algn="ctr"/>
                <a:endParaRPr lang="en-US" sz="1100" b="1">
                  <a:solidFill>
                    <a:schemeClr val="bg1"/>
                  </a:solidFill>
                </a:endParaRPr>
              </a:p>
            </p:txBody>
          </p:sp>
        </p:grpSp>
        <p:sp>
          <p:nvSpPr>
            <p:cNvPr id="56" name="Line 7">
              <a:extLst>
                <a:ext uri="{FF2B5EF4-FFF2-40B4-BE49-F238E27FC236}">
                  <a16:creationId xmlns:a16="http://schemas.microsoft.com/office/drawing/2014/main" id="{F74B56BA-5B4D-4044-4CF6-C2AEE2713B84}"/>
                </a:ext>
              </a:extLst>
            </p:cNvPr>
            <p:cNvSpPr>
              <a:spLocks noChangeShapeType="1"/>
            </p:cNvSpPr>
            <p:nvPr/>
          </p:nvSpPr>
          <p:spPr bwMode="auto">
            <a:xfrm>
              <a:off x="1510719" y="222249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Line 8">
              <a:extLst>
                <a:ext uri="{FF2B5EF4-FFF2-40B4-BE49-F238E27FC236}">
                  <a16:creationId xmlns:a16="http://schemas.microsoft.com/office/drawing/2014/main" id="{5154731E-B7B7-B15F-74AE-6F294F54B971}"/>
                </a:ext>
              </a:extLst>
            </p:cNvPr>
            <p:cNvSpPr>
              <a:spLocks noChangeShapeType="1"/>
            </p:cNvSpPr>
            <p:nvPr/>
          </p:nvSpPr>
          <p:spPr bwMode="auto">
            <a:xfrm>
              <a:off x="1510719" y="222249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8" name="Group 57">
              <a:extLst>
                <a:ext uri="{FF2B5EF4-FFF2-40B4-BE49-F238E27FC236}">
                  <a16:creationId xmlns:a16="http://schemas.microsoft.com/office/drawing/2014/main" id="{D01B58F9-BCB6-79E6-EBA8-52E3822509BC}"/>
                </a:ext>
              </a:extLst>
            </p:cNvPr>
            <p:cNvGrpSpPr/>
            <p:nvPr/>
          </p:nvGrpSpPr>
          <p:grpSpPr>
            <a:xfrm>
              <a:off x="1187906" y="2203587"/>
              <a:ext cx="171478" cy="363554"/>
              <a:chOff x="719343" y="1993661"/>
              <a:chExt cx="83284" cy="334885"/>
            </a:xfrm>
          </p:grpSpPr>
          <p:sp>
            <p:nvSpPr>
              <p:cNvPr id="59" name="Oval 58">
                <a:extLst>
                  <a:ext uri="{FF2B5EF4-FFF2-40B4-BE49-F238E27FC236}">
                    <a16:creationId xmlns:a16="http://schemas.microsoft.com/office/drawing/2014/main" id="{9CA2E5D0-3B48-5061-760B-74C7A0ACB827}"/>
                  </a:ext>
                </a:extLst>
              </p:cNvPr>
              <p:cNvSpPr/>
              <p:nvPr/>
            </p:nvSpPr>
            <p:spPr bwMode="gray">
              <a:xfrm>
                <a:off x="719343"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0" name="Oval 59">
                <a:extLst>
                  <a:ext uri="{FF2B5EF4-FFF2-40B4-BE49-F238E27FC236}">
                    <a16:creationId xmlns:a16="http://schemas.microsoft.com/office/drawing/2014/main" id="{AF4D9B9A-FD21-858A-A783-9C601DC930D3}"/>
                  </a:ext>
                </a:extLst>
              </p:cNvPr>
              <p:cNvSpPr/>
              <p:nvPr/>
            </p:nvSpPr>
            <p:spPr bwMode="gray">
              <a:xfrm>
                <a:off x="719343"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61" name="Group 60">
                <a:extLst>
                  <a:ext uri="{FF2B5EF4-FFF2-40B4-BE49-F238E27FC236}">
                    <a16:creationId xmlns:a16="http://schemas.microsoft.com/office/drawing/2014/main" id="{82FCF2E9-5230-9E09-47B0-49772A5FADA8}"/>
                  </a:ext>
                </a:extLst>
              </p:cNvPr>
              <p:cNvGrpSpPr/>
              <p:nvPr/>
            </p:nvGrpSpPr>
            <p:grpSpPr>
              <a:xfrm>
                <a:off x="735791" y="2037149"/>
                <a:ext cx="50387" cy="250454"/>
                <a:chOff x="2400750" y="4703107"/>
                <a:chExt cx="61012" cy="298800"/>
              </a:xfrm>
            </p:grpSpPr>
            <p:sp>
              <p:nvSpPr>
                <p:cNvPr id="62" name="Rounded Rectangle 177">
                  <a:extLst>
                    <a:ext uri="{FF2B5EF4-FFF2-40B4-BE49-F238E27FC236}">
                      <a16:creationId xmlns:a16="http://schemas.microsoft.com/office/drawing/2014/main" id="{1EB111C4-1793-9447-F283-BDCA2991DE0A}"/>
                    </a:ext>
                  </a:extLst>
                </p:cNvPr>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3" name="Rounded Rectangle 178">
                  <a:extLst>
                    <a:ext uri="{FF2B5EF4-FFF2-40B4-BE49-F238E27FC236}">
                      <a16:creationId xmlns:a16="http://schemas.microsoft.com/office/drawing/2014/main" id="{8D1EA180-23D7-8F6A-BAB1-3C8D70A77A53}"/>
                    </a:ext>
                  </a:extLst>
                </p:cNvPr>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55" name="Rounded Rectangle 179">
                  <a:extLst>
                    <a:ext uri="{FF2B5EF4-FFF2-40B4-BE49-F238E27FC236}">
                      <a16:creationId xmlns:a16="http://schemas.microsoft.com/office/drawing/2014/main" id="{D9785F65-3874-E2D3-CA63-CC7AF502FD2E}"/>
                    </a:ext>
                  </a:extLst>
                </p:cNvPr>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grpSp>
          <p:nvGrpSpPr>
            <p:cNvPr id="456" name="Group 455">
              <a:extLst>
                <a:ext uri="{FF2B5EF4-FFF2-40B4-BE49-F238E27FC236}">
                  <a16:creationId xmlns:a16="http://schemas.microsoft.com/office/drawing/2014/main" id="{BED901E3-E7F5-BC1B-1DAE-339CA81CA31E}"/>
                </a:ext>
              </a:extLst>
            </p:cNvPr>
            <p:cNvGrpSpPr/>
            <p:nvPr/>
          </p:nvGrpSpPr>
          <p:grpSpPr>
            <a:xfrm>
              <a:off x="2488015" y="2203587"/>
              <a:ext cx="171478" cy="363554"/>
              <a:chOff x="1401091" y="1993661"/>
              <a:chExt cx="83284" cy="334885"/>
            </a:xfrm>
          </p:grpSpPr>
          <p:sp>
            <p:nvSpPr>
              <p:cNvPr id="457" name="Oval 456">
                <a:extLst>
                  <a:ext uri="{FF2B5EF4-FFF2-40B4-BE49-F238E27FC236}">
                    <a16:creationId xmlns:a16="http://schemas.microsoft.com/office/drawing/2014/main" id="{373C3A18-37D7-CF8B-EF30-40B06523707E}"/>
                  </a:ext>
                </a:extLst>
              </p:cNvPr>
              <p:cNvSpPr/>
              <p:nvPr/>
            </p:nvSpPr>
            <p:spPr bwMode="gray">
              <a:xfrm>
                <a:off x="1401091"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58" name="Oval 457">
                <a:extLst>
                  <a:ext uri="{FF2B5EF4-FFF2-40B4-BE49-F238E27FC236}">
                    <a16:creationId xmlns:a16="http://schemas.microsoft.com/office/drawing/2014/main" id="{AD22BE74-585C-2B25-0DD7-C36DBC9493C0}"/>
                  </a:ext>
                </a:extLst>
              </p:cNvPr>
              <p:cNvSpPr/>
              <p:nvPr/>
            </p:nvSpPr>
            <p:spPr bwMode="gray">
              <a:xfrm>
                <a:off x="1401091"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459" name="Group 458">
                <a:extLst>
                  <a:ext uri="{FF2B5EF4-FFF2-40B4-BE49-F238E27FC236}">
                    <a16:creationId xmlns:a16="http://schemas.microsoft.com/office/drawing/2014/main" id="{0CFC0D1C-A496-9C5A-63BC-34D4B98AE9E4}"/>
                  </a:ext>
                </a:extLst>
              </p:cNvPr>
              <p:cNvGrpSpPr/>
              <p:nvPr/>
            </p:nvGrpSpPr>
            <p:grpSpPr>
              <a:xfrm>
                <a:off x="1417538" y="2037149"/>
                <a:ext cx="50387" cy="250454"/>
                <a:chOff x="2400750" y="4703107"/>
                <a:chExt cx="61012" cy="298800"/>
              </a:xfrm>
            </p:grpSpPr>
            <p:sp>
              <p:nvSpPr>
                <p:cNvPr id="460" name="Rounded Rectangle 171">
                  <a:extLst>
                    <a:ext uri="{FF2B5EF4-FFF2-40B4-BE49-F238E27FC236}">
                      <a16:creationId xmlns:a16="http://schemas.microsoft.com/office/drawing/2014/main" id="{85263F45-5962-DA52-CC70-3AEFCAF0E0D3}"/>
                    </a:ext>
                  </a:extLst>
                </p:cNvPr>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61" name="Rounded Rectangle 172">
                  <a:extLst>
                    <a:ext uri="{FF2B5EF4-FFF2-40B4-BE49-F238E27FC236}">
                      <a16:creationId xmlns:a16="http://schemas.microsoft.com/office/drawing/2014/main" id="{10562E6E-A3D8-7273-A09E-8A3DB3B13A76}"/>
                    </a:ext>
                  </a:extLst>
                </p:cNvPr>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62" name="Rounded Rectangle 173">
                  <a:extLst>
                    <a:ext uri="{FF2B5EF4-FFF2-40B4-BE49-F238E27FC236}">
                      <a16:creationId xmlns:a16="http://schemas.microsoft.com/office/drawing/2014/main" id="{88C371E6-843A-E557-E8AE-9F9D2F18945E}"/>
                    </a:ext>
                  </a:extLst>
                </p:cNvPr>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grpSp>
          <p:nvGrpSpPr>
            <p:cNvPr id="463" name="Group 462">
              <a:extLst>
                <a:ext uri="{FF2B5EF4-FFF2-40B4-BE49-F238E27FC236}">
                  <a16:creationId xmlns:a16="http://schemas.microsoft.com/office/drawing/2014/main" id="{56926467-A1F0-9575-5F4D-E78460C65997}"/>
                </a:ext>
              </a:extLst>
            </p:cNvPr>
            <p:cNvGrpSpPr/>
            <p:nvPr/>
          </p:nvGrpSpPr>
          <p:grpSpPr>
            <a:xfrm>
              <a:off x="3788124" y="2203587"/>
              <a:ext cx="171478" cy="363554"/>
              <a:chOff x="2131784" y="1993661"/>
              <a:chExt cx="83284" cy="334885"/>
            </a:xfrm>
          </p:grpSpPr>
          <p:sp>
            <p:nvSpPr>
              <p:cNvPr id="464" name="Oval 463">
                <a:extLst>
                  <a:ext uri="{FF2B5EF4-FFF2-40B4-BE49-F238E27FC236}">
                    <a16:creationId xmlns:a16="http://schemas.microsoft.com/office/drawing/2014/main" id="{9CD1A5D6-6A18-ECC3-D84E-F34B0046BBB2}"/>
                  </a:ext>
                </a:extLst>
              </p:cNvPr>
              <p:cNvSpPr/>
              <p:nvPr/>
            </p:nvSpPr>
            <p:spPr bwMode="gray">
              <a:xfrm>
                <a:off x="2131784"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65" name="Oval 464">
                <a:extLst>
                  <a:ext uri="{FF2B5EF4-FFF2-40B4-BE49-F238E27FC236}">
                    <a16:creationId xmlns:a16="http://schemas.microsoft.com/office/drawing/2014/main" id="{50C69615-B54B-04AF-C0DB-6DA1EDC95301}"/>
                  </a:ext>
                </a:extLst>
              </p:cNvPr>
              <p:cNvSpPr/>
              <p:nvPr/>
            </p:nvSpPr>
            <p:spPr bwMode="gray">
              <a:xfrm>
                <a:off x="2131784"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466" name="Group 465">
                <a:extLst>
                  <a:ext uri="{FF2B5EF4-FFF2-40B4-BE49-F238E27FC236}">
                    <a16:creationId xmlns:a16="http://schemas.microsoft.com/office/drawing/2014/main" id="{B6DBD3AF-3F30-1936-D829-E23DD80D31FD}"/>
                  </a:ext>
                </a:extLst>
              </p:cNvPr>
              <p:cNvGrpSpPr/>
              <p:nvPr/>
            </p:nvGrpSpPr>
            <p:grpSpPr>
              <a:xfrm>
                <a:off x="2148232" y="2037149"/>
                <a:ext cx="50387" cy="250454"/>
                <a:chOff x="2400750" y="4703107"/>
                <a:chExt cx="61012" cy="298800"/>
              </a:xfrm>
            </p:grpSpPr>
            <p:sp>
              <p:nvSpPr>
                <p:cNvPr id="467" name="Rounded Rectangle 165">
                  <a:extLst>
                    <a:ext uri="{FF2B5EF4-FFF2-40B4-BE49-F238E27FC236}">
                      <a16:creationId xmlns:a16="http://schemas.microsoft.com/office/drawing/2014/main" id="{53566281-DEA7-474D-CAFD-982E77DE6AB9}"/>
                    </a:ext>
                  </a:extLst>
                </p:cNvPr>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68" name="Rounded Rectangle 166">
                  <a:extLst>
                    <a:ext uri="{FF2B5EF4-FFF2-40B4-BE49-F238E27FC236}">
                      <a16:creationId xmlns:a16="http://schemas.microsoft.com/office/drawing/2014/main" id="{C954C043-72BD-E161-E7C2-BC322BC61ECD}"/>
                    </a:ext>
                  </a:extLst>
                </p:cNvPr>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69" name="Rounded Rectangle 167">
                  <a:extLst>
                    <a:ext uri="{FF2B5EF4-FFF2-40B4-BE49-F238E27FC236}">
                      <a16:creationId xmlns:a16="http://schemas.microsoft.com/office/drawing/2014/main" id="{8D3E485A-1A9E-6A2D-E175-34415DB32514}"/>
                    </a:ext>
                  </a:extLst>
                </p:cNvPr>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grpSp>
          <p:nvGrpSpPr>
            <p:cNvPr id="470" name="Group 469">
              <a:extLst>
                <a:ext uri="{FF2B5EF4-FFF2-40B4-BE49-F238E27FC236}">
                  <a16:creationId xmlns:a16="http://schemas.microsoft.com/office/drawing/2014/main" id="{1E6E2BAE-0072-0DC9-F12A-4D9EDDDB877C}"/>
                </a:ext>
              </a:extLst>
            </p:cNvPr>
            <p:cNvGrpSpPr/>
            <p:nvPr/>
          </p:nvGrpSpPr>
          <p:grpSpPr>
            <a:xfrm>
              <a:off x="5088233" y="2203587"/>
              <a:ext cx="171478" cy="363554"/>
              <a:chOff x="2813532" y="1993661"/>
              <a:chExt cx="83284" cy="334885"/>
            </a:xfrm>
          </p:grpSpPr>
          <p:sp>
            <p:nvSpPr>
              <p:cNvPr id="471" name="Oval 470">
                <a:extLst>
                  <a:ext uri="{FF2B5EF4-FFF2-40B4-BE49-F238E27FC236}">
                    <a16:creationId xmlns:a16="http://schemas.microsoft.com/office/drawing/2014/main" id="{CF4880AE-D6CE-F70F-F3B3-D08E3391330F}"/>
                  </a:ext>
                </a:extLst>
              </p:cNvPr>
              <p:cNvSpPr/>
              <p:nvPr/>
            </p:nvSpPr>
            <p:spPr bwMode="gray">
              <a:xfrm>
                <a:off x="2813532"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72" name="Oval 471">
                <a:extLst>
                  <a:ext uri="{FF2B5EF4-FFF2-40B4-BE49-F238E27FC236}">
                    <a16:creationId xmlns:a16="http://schemas.microsoft.com/office/drawing/2014/main" id="{5C35BC3A-2FA9-D779-DA17-7C0275114FE0}"/>
                  </a:ext>
                </a:extLst>
              </p:cNvPr>
              <p:cNvSpPr/>
              <p:nvPr/>
            </p:nvSpPr>
            <p:spPr bwMode="gray">
              <a:xfrm>
                <a:off x="2813532"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473" name="Group 472">
                <a:extLst>
                  <a:ext uri="{FF2B5EF4-FFF2-40B4-BE49-F238E27FC236}">
                    <a16:creationId xmlns:a16="http://schemas.microsoft.com/office/drawing/2014/main" id="{03B54A80-6972-7C4C-1A63-D0A05BC7C32D}"/>
                  </a:ext>
                </a:extLst>
              </p:cNvPr>
              <p:cNvGrpSpPr/>
              <p:nvPr/>
            </p:nvGrpSpPr>
            <p:grpSpPr>
              <a:xfrm>
                <a:off x="2829979" y="2037149"/>
                <a:ext cx="50387" cy="250454"/>
                <a:chOff x="2400750" y="4703107"/>
                <a:chExt cx="61012" cy="298800"/>
              </a:xfrm>
            </p:grpSpPr>
            <p:sp>
              <p:nvSpPr>
                <p:cNvPr id="474" name="Rounded Rectangle 159">
                  <a:extLst>
                    <a:ext uri="{FF2B5EF4-FFF2-40B4-BE49-F238E27FC236}">
                      <a16:creationId xmlns:a16="http://schemas.microsoft.com/office/drawing/2014/main" id="{1E3617D1-C96A-30B3-421C-8028406B5FF3}"/>
                    </a:ext>
                  </a:extLst>
                </p:cNvPr>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75" name="Rounded Rectangle 160">
                  <a:extLst>
                    <a:ext uri="{FF2B5EF4-FFF2-40B4-BE49-F238E27FC236}">
                      <a16:creationId xmlns:a16="http://schemas.microsoft.com/office/drawing/2014/main" id="{F5B82F7E-53D9-DD95-FBF1-43211C027691}"/>
                    </a:ext>
                  </a:extLst>
                </p:cNvPr>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76" name="Rounded Rectangle 161">
                  <a:extLst>
                    <a:ext uri="{FF2B5EF4-FFF2-40B4-BE49-F238E27FC236}">
                      <a16:creationId xmlns:a16="http://schemas.microsoft.com/office/drawing/2014/main" id="{D63300D7-0231-0043-7427-223C2839D69F}"/>
                    </a:ext>
                  </a:extLst>
                </p:cNvPr>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grpSp>
          <p:nvGrpSpPr>
            <p:cNvPr id="477" name="Group 476">
              <a:extLst>
                <a:ext uri="{FF2B5EF4-FFF2-40B4-BE49-F238E27FC236}">
                  <a16:creationId xmlns:a16="http://schemas.microsoft.com/office/drawing/2014/main" id="{71A8721D-77FA-F822-EC13-91DF48E3BE0C}"/>
                </a:ext>
              </a:extLst>
            </p:cNvPr>
            <p:cNvGrpSpPr/>
            <p:nvPr/>
          </p:nvGrpSpPr>
          <p:grpSpPr>
            <a:xfrm>
              <a:off x="6388343" y="2203587"/>
              <a:ext cx="171478" cy="363554"/>
              <a:chOff x="2813532" y="1993661"/>
              <a:chExt cx="83284" cy="334885"/>
            </a:xfrm>
          </p:grpSpPr>
          <p:sp>
            <p:nvSpPr>
              <p:cNvPr id="478" name="Oval 477">
                <a:extLst>
                  <a:ext uri="{FF2B5EF4-FFF2-40B4-BE49-F238E27FC236}">
                    <a16:creationId xmlns:a16="http://schemas.microsoft.com/office/drawing/2014/main" id="{00D131DE-9191-2371-FF6D-D21C4326FD16}"/>
                  </a:ext>
                </a:extLst>
              </p:cNvPr>
              <p:cNvSpPr/>
              <p:nvPr/>
            </p:nvSpPr>
            <p:spPr bwMode="gray">
              <a:xfrm>
                <a:off x="2813532"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79" name="Oval 478">
                <a:extLst>
                  <a:ext uri="{FF2B5EF4-FFF2-40B4-BE49-F238E27FC236}">
                    <a16:creationId xmlns:a16="http://schemas.microsoft.com/office/drawing/2014/main" id="{11E47715-296D-DAF7-17BC-C9B9B51385EF}"/>
                  </a:ext>
                </a:extLst>
              </p:cNvPr>
              <p:cNvSpPr/>
              <p:nvPr/>
            </p:nvSpPr>
            <p:spPr bwMode="gray">
              <a:xfrm>
                <a:off x="2813532"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480" name="Group 479">
                <a:extLst>
                  <a:ext uri="{FF2B5EF4-FFF2-40B4-BE49-F238E27FC236}">
                    <a16:creationId xmlns:a16="http://schemas.microsoft.com/office/drawing/2014/main" id="{7988C998-F07F-78DD-7DAE-11EA86A60E45}"/>
                  </a:ext>
                </a:extLst>
              </p:cNvPr>
              <p:cNvGrpSpPr/>
              <p:nvPr/>
            </p:nvGrpSpPr>
            <p:grpSpPr>
              <a:xfrm>
                <a:off x="2829979" y="2037149"/>
                <a:ext cx="50387" cy="250454"/>
                <a:chOff x="2400750" y="4703107"/>
                <a:chExt cx="61012" cy="298800"/>
              </a:xfrm>
            </p:grpSpPr>
            <p:sp>
              <p:nvSpPr>
                <p:cNvPr id="481" name="Rounded Rectangle 153">
                  <a:extLst>
                    <a:ext uri="{FF2B5EF4-FFF2-40B4-BE49-F238E27FC236}">
                      <a16:creationId xmlns:a16="http://schemas.microsoft.com/office/drawing/2014/main" id="{7D4BEA86-86CA-A7C8-0911-CC2332B30E99}"/>
                    </a:ext>
                  </a:extLst>
                </p:cNvPr>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82" name="Rounded Rectangle 154">
                  <a:extLst>
                    <a:ext uri="{FF2B5EF4-FFF2-40B4-BE49-F238E27FC236}">
                      <a16:creationId xmlns:a16="http://schemas.microsoft.com/office/drawing/2014/main" id="{39059789-6509-288E-1E49-732381F61B46}"/>
                    </a:ext>
                  </a:extLst>
                </p:cNvPr>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83" name="Rounded Rectangle 155">
                  <a:extLst>
                    <a:ext uri="{FF2B5EF4-FFF2-40B4-BE49-F238E27FC236}">
                      <a16:creationId xmlns:a16="http://schemas.microsoft.com/office/drawing/2014/main" id="{839E64F6-6AEC-AF27-E32C-423D5A97AD62}"/>
                    </a:ext>
                  </a:extLst>
                </p:cNvPr>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grpSp>
          <p:nvGrpSpPr>
            <p:cNvPr id="484" name="Group 483">
              <a:extLst>
                <a:ext uri="{FF2B5EF4-FFF2-40B4-BE49-F238E27FC236}">
                  <a16:creationId xmlns:a16="http://schemas.microsoft.com/office/drawing/2014/main" id="{4523E3D3-8ED0-8DC3-58EB-B446D84A650D}"/>
                </a:ext>
              </a:extLst>
            </p:cNvPr>
            <p:cNvGrpSpPr/>
            <p:nvPr/>
          </p:nvGrpSpPr>
          <p:grpSpPr>
            <a:xfrm>
              <a:off x="7514452" y="2231419"/>
              <a:ext cx="171478" cy="363554"/>
              <a:chOff x="2813532" y="1993661"/>
              <a:chExt cx="83284" cy="334885"/>
            </a:xfrm>
          </p:grpSpPr>
          <p:sp>
            <p:nvSpPr>
              <p:cNvPr id="485" name="Oval 484">
                <a:extLst>
                  <a:ext uri="{FF2B5EF4-FFF2-40B4-BE49-F238E27FC236}">
                    <a16:creationId xmlns:a16="http://schemas.microsoft.com/office/drawing/2014/main" id="{13268297-5D62-A418-DA18-51D3357C8831}"/>
                  </a:ext>
                </a:extLst>
              </p:cNvPr>
              <p:cNvSpPr/>
              <p:nvPr/>
            </p:nvSpPr>
            <p:spPr bwMode="gray">
              <a:xfrm>
                <a:off x="2813532"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86" name="Oval 485">
                <a:extLst>
                  <a:ext uri="{FF2B5EF4-FFF2-40B4-BE49-F238E27FC236}">
                    <a16:creationId xmlns:a16="http://schemas.microsoft.com/office/drawing/2014/main" id="{4367D556-5D24-F7D1-CD4A-B86836F8E7B8}"/>
                  </a:ext>
                </a:extLst>
              </p:cNvPr>
              <p:cNvSpPr/>
              <p:nvPr/>
            </p:nvSpPr>
            <p:spPr bwMode="gray">
              <a:xfrm>
                <a:off x="2813532"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487" name="Group 486">
                <a:extLst>
                  <a:ext uri="{FF2B5EF4-FFF2-40B4-BE49-F238E27FC236}">
                    <a16:creationId xmlns:a16="http://schemas.microsoft.com/office/drawing/2014/main" id="{159EA030-A319-4F90-4E4F-396BBFCB8DEB}"/>
                  </a:ext>
                </a:extLst>
              </p:cNvPr>
              <p:cNvGrpSpPr/>
              <p:nvPr/>
            </p:nvGrpSpPr>
            <p:grpSpPr>
              <a:xfrm>
                <a:off x="2829979" y="2037149"/>
                <a:ext cx="50387" cy="250454"/>
                <a:chOff x="2400750" y="4703107"/>
                <a:chExt cx="61012" cy="298800"/>
              </a:xfrm>
            </p:grpSpPr>
            <p:sp>
              <p:nvSpPr>
                <p:cNvPr id="488" name="Rounded Rectangle 147">
                  <a:extLst>
                    <a:ext uri="{FF2B5EF4-FFF2-40B4-BE49-F238E27FC236}">
                      <a16:creationId xmlns:a16="http://schemas.microsoft.com/office/drawing/2014/main" id="{9B36D44A-5613-82CB-8BE8-1DA6B9DD4D1A}"/>
                    </a:ext>
                  </a:extLst>
                </p:cNvPr>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89" name="Rounded Rectangle 148">
                  <a:extLst>
                    <a:ext uri="{FF2B5EF4-FFF2-40B4-BE49-F238E27FC236}">
                      <a16:creationId xmlns:a16="http://schemas.microsoft.com/office/drawing/2014/main" id="{D2762FAF-E63C-D057-4AEE-38D46189B3B9}"/>
                    </a:ext>
                  </a:extLst>
                </p:cNvPr>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90" name="Rounded Rectangle 149">
                  <a:extLst>
                    <a:ext uri="{FF2B5EF4-FFF2-40B4-BE49-F238E27FC236}">
                      <a16:creationId xmlns:a16="http://schemas.microsoft.com/office/drawing/2014/main" id="{D8C6714E-9DCB-0D56-1CA6-DC613AE1AA00}"/>
                    </a:ext>
                  </a:extLst>
                </p:cNvPr>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
          <p:nvSpPr>
            <p:cNvPr id="491" name="Text Placeholder 2">
              <a:extLst>
                <a:ext uri="{FF2B5EF4-FFF2-40B4-BE49-F238E27FC236}">
                  <a16:creationId xmlns:a16="http://schemas.microsoft.com/office/drawing/2014/main" id="{CA9AAFF8-8DB6-CF8E-5C68-BFAC90CC55B0}"/>
                </a:ext>
              </a:extLst>
            </p:cNvPr>
            <p:cNvSpPr txBox="1">
              <a:spLocks/>
            </p:cNvSpPr>
            <p:nvPr/>
          </p:nvSpPr>
          <p:spPr>
            <a:xfrm>
              <a:off x="924966" y="3022175"/>
              <a:ext cx="3040455" cy="3242953"/>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9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lgn="justLow"/>
              <a:endParaRPr lang="ar-SA" sz="1200" b="0">
                <a:solidFill>
                  <a:schemeClr val="tx2"/>
                </a:solidFill>
                <a:ea typeface="Verdana" panose="020B0604030504040204" pitchFamily="34" charset="0"/>
                <a:cs typeface="Times New Roman" panose="02020603050405020304" pitchFamily="18" charset="0"/>
              </a:endParaRPr>
            </a:p>
          </p:txBody>
        </p:sp>
        <p:grpSp>
          <p:nvGrpSpPr>
            <p:cNvPr id="492" name="Group 491">
              <a:extLst>
                <a:ext uri="{FF2B5EF4-FFF2-40B4-BE49-F238E27FC236}">
                  <a16:creationId xmlns:a16="http://schemas.microsoft.com/office/drawing/2014/main" id="{D2C6DE31-8AB8-23BB-FAA3-2D96C8FFD426}"/>
                </a:ext>
              </a:extLst>
            </p:cNvPr>
            <p:cNvGrpSpPr/>
            <p:nvPr/>
          </p:nvGrpSpPr>
          <p:grpSpPr>
            <a:xfrm>
              <a:off x="8120413" y="2392257"/>
              <a:ext cx="3575585" cy="4080216"/>
              <a:chOff x="603161" y="2265024"/>
              <a:chExt cx="3575585" cy="3775099"/>
            </a:xfrm>
          </p:grpSpPr>
          <p:sp>
            <p:nvSpPr>
              <p:cNvPr id="493" name="Rectangle 492">
                <a:extLst>
                  <a:ext uri="{FF2B5EF4-FFF2-40B4-BE49-F238E27FC236}">
                    <a16:creationId xmlns:a16="http://schemas.microsoft.com/office/drawing/2014/main" id="{7411FB6D-5C59-D5DF-F583-7D1C0B0566A1}"/>
                  </a:ext>
                </a:extLst>
              </p:cNvPr>
              <p:cNvSpPr/>
              <p:nvPr/>
            </p:nvSpPr>
            <p:spPr bwMode="gray">
              <a:xfrm>
                <a:off x="627852" y="2282466"/>
                <a:ext cx="3526195" cy="3757655"/>
              </a:xfrm>
              <a:prstGeom prst="rect">
                <a:avLst/>
              </a:prstGeom>
              <a:solidFill>
                <a:schemeClr val="bg1"/>
              </a:solidFill>
              <a:ln w="9525" algn="ctr">
                <a:solidFill>
                  <a:schemeClr val="accent1"/>
                </a:solidFill>
                <a:miter lim="800000"/>
                <a:headEnd/>
                <a:tailEnd/>
              </a:ln>
            </p:spPr>
            <p:txBody>
              <a:bodyPr wrap="square" lIns="365760" tIns="731520" rIns="457200" bIns="88900" rtlCol="0" anchor="t"/>
              <a:lstStyle/>
              <a:p>
                <a:pPr algn="ctr">
                  <a:spcBef>
                    <a:spcPts val="1200"/>
                  </a:spcBef>
                </a:pPr>
                <a:endParaRPr lang="en-US" sz="1100" b="1">
                  <a:solidFill>
                    <a:srgbClr val="00A3E0"/>
                  </a:solidFill>
                </a:endParaRPr>
              </a:p>
            </p:txBody>
          </p:sp>
          <p:grpSp>
            <p:nvGrpSpPr>
              <p:cNvPr id="494" name="Group 493">
                <a:extLst>
                  <a:ext uri="{FF2B5EF4-FFF2-40B4-BE49-F238E27FC236}">
                    <a16:creationId xmlns:a16="http://schemas.microsoft.com/office/drawing/2014/main" id="{4DDB7972-1EAE-CA62-8A82-24AAA25DD1D1}"/>
                  </a:ext>
                </a:extLst>
              </p:cNvPr>
              <p:cNvGrpSpPr/>
              <p:nvPr/>
            </p:nvGrpSpPr>
            <p:grpSpPr>
              <a:xfrm>
                <a:off x="603161" y="2265024"/>
                <a:ext cx="3575585" cy="3775099"/>
                <a:chOff x="4662488" y="1709644"/>
                <a:chExt cx="2649800" cy="4672106"/>
              </a:xfrm>
              <a:solidFill>
                <a:srgbClr val="00A3E0"/>
              </a:solidFill>
            </p:grpSpPr>
            <p:sp>
              <p:nvSpPr>
                <p:cNvPr id="495" name="Freeform 106">
                  <a:extLst>
                    <a:ext uri="{FF2B5EF4-FFF2-40B4-BE49-F238E27FC236}">
                      <a16:creationId xmlns:a16="http://schemas.microsoft.com/office/drawing/2014/main" id="{31AA36B1-3EF2-1F09-4ADC-48EFD2F08102}"/>
                    </a:ext>
                  </a:extLst>
                </p:cNvPr>
                <p:cNvSpPr/>
                <p:nvPr/>
              </p:nvSpPr>
              <p:spPr bwMode="gray">
                <a:xfrm>
                  <a:off x="4662488" y="1709644"/>
                  <a:ext cx="653090" cy="653090"/>
                </a:xfrm>
                <a:custGeom>
                  <a:avLst/>
                  <a:gdLst>
                    <a:gd name="connsiteX0" fmla="*/ 0 w 653090"/>
                    <a:gd name="connsiteY0" fmla="*/ 0 h 653090"/>
                    <a:gd name="connsiteX1" fmla="*/ 653090 w 653090"/>
                    <a:gd name="connsiteY1" fmla="*/ 0 h 653090"/>
                    <a:gd name="connsiteX2" fmla="*/ 622303 w 653090"/>
                    <a:gd name="connsiteY2" fmla="*/ 30787 h 653090"/>
                    <a:gd name="connsiteX3" fmla="*/ 367736 w 653090"/>
                    <a:gd name="connsiteY3" fmla="*/ 30787 h 653090"/>
                    <a:gd name="connsiteX4" fmla="*/ 359832 w 653090"/>
                    <a:gd name="connsiteY4" fmla="*/ 79753 h 653090"/>
                    <a:gd name="connsiteX5" fmla="*/ 105727 w 653090"/>
                    <a:gd name="connsiteY5" fmla="*/ 356610 h 653090"/>
                    <a:gd name="connsiteX6" fmla="*/ 30774 w 653090"/>
                    <a:gd name="connsiteY6" fmla="*/ 371378 h 653090"/>
                    <a:gd name="connsiteX7" fmla="*/ 30774 w 653090"/>
                    <a:gd name="connsiteY7" fmla="*/ 622316 h 653090"/>
                    <a:gd name="connsiteX8" fmla="*/ 0 w 653090"/>
                    <a:gd name="connsiteY8" fmla="*/ 653090 h 65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090" h="653090">
                      <a:moveTo>
                        <a:pt x="0" y="0"/>
                      </a:moveTo>
                      <a:lnTo>
                        <a:pt x="653090" y="0"/>
                      </a:lnTo>
                      <a:lnTo>
                        <a:pt x="622303" y="30787"/>
                      </a:lnTo>
                      <a:lnTo>
                        <a:pt x="367736" y="30787"/>
                      </a:lnTo>
                      <a:lnTo>
                        <a:pt x="359832" y="79753"/>
                      </a:lnTo>
                      <a:cubicBezTo>
                        <a:pt x="332392" y="202622"/>
                        <a:pt x="259075" y="312321"/>
                        <a:pt x="105727" y="356610"/>
                      </a:cubicBezTo>
                      <a:lnTo>
                        <a:pt x="30774" y="371378"/>
                      </a:lnTo>
                      <a:lnTo>
                        <a:pt x="30774" y="622316"/>
                      </a:lnTo>
                      <a:lnTo>
                        <a:pt x="0" y="65309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496" name="Freeform 107">
                  <a:extLst>
                    <a:ext uri="{FF2B5EF4-FFF2-40B4-BE49-F238E27FC236}">
                      <a16:creationId xmlns:a16="http://schemas.microsoft.com/office/drawing/2014/main" id="{5346809F-2BAB-1ED0-1925-7BFF060D1C5F}"/>
                    </a:ext>
                  </a:extLst>
                </p:cNvPr>
                <p:cNvSpPr/>
                <p:nvPr/>
              </p:nvSpPr>
              <p:spPr bwMode="gray">
                <a:xfrm flipH="1" flipV="1">
                  <a:off x="6659198" y="5728660"/>
                  <a:ext cx="653090" cy="653090"/>
                </a:xfrm>
                <a:custGeom>
                  <a:avLst/>
                  <a:gdLst>
                    <a:gd name="connsiteX0" fmla="*/ 0 w 653090"/>
                    <a:gd name="connsiteY0" fmla="*/ 0 h 653090"/>
                    <a:gd name="connsiteX1" fmla="*/ 653090 w 653090"/>
                    <a:gd name="connsiteY1" fmla="*/ 0 h 653090"/>
                    <a:gd name="connsiteX2" fmla="*/ 622303 w 653090"/>
                    <a:gd name="connsiteY2" fmla="*/ 30787 h 653090"/>
                    <a:gd name="connsiteX3" fmla="*/ 367736 w 653090"/>
                    <a:gd name="connsiteY3" fmla="*/ 30787 h 653090"/>
                    <a:gd name="connsiteX4" fmla="*/ 359832 w 653090"/>
                    <a:gd name="connsiteY4" fmla="*/ 79753 h 653090"/>
                    <a:gd name="connsiteX5" fmla="*/ 105727 w 653090"/>
                    <a:gd name="connsiteY5" fmla="*/ 356610 h 653090"/>
                    <a:gd name="connsiteX6" fmla="*/ 30774 w 653090"/>
                    <a:gd name="connsiteY6" fmla="*/ 371378 h 653090"/>
                    <a:gd name="connsiteX7" fmla="*/ 30774 w 653090"/>
                    <a:gd name="connsiteY7" fmla="*/ 622316 h 653090"/>
                    <a:gd name="connsiteX8" fmla="*/ 0 w 653090"/>
                    <a:gd name="connsiteY8" fmla="*/ 653090 h 65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090" h="653090">
                      <a:moveTo>
                        <a:pt x="0" y="0"/>
                      </a:moveTo>
                      <a:lnTo>
                        <a:pt x="653090" y="0"/>
                      </a:lnTo>
                      <a:lnTo>
                        <a:pt x="622303" y="30787"/>
                      </a:lnTo>
                      <a:lnTo>
                        <a:pt x="367736" y="30787"/>
                      </a:lnTo>
                      <a:lnTo>
                        <a:pt x="359832" y="79753"/>
                      </a:lnTo>
                      <a:cubicBezTo>
                        <a:pt x="332392" y="202622"/>
                        <a:pt x="259075" y="312321"/>
                        <a:pt x="105727" y="356610"/>
                      </a:cubicBezTo>
                      <a:lnTo>
                        <a:pt x="30774" y="371378"/>
                      </a:lnTo>
                      <a:lnTo>
                        <a:pt x="30774" y="622316"/>
                      </a:lnTo>
                      <a:lnTo>
                        <a:pt x="0" y="65309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grpSp>
        <p:sp>
          <p:nvSpPr>
            <p:cNvPr id="497" name="Text Placeholder 2">
              <a:extLst>
                <a:ext uri="{FF2B5EF4-FFF2-40B4-BE49-F238E27FC236}">
                  <a16:creationId xmlns:a16="http://schemas.microsoft.com/office/drawing/2014/main" id="{0055CAA0-7D74-C379-3D6D-52DD282B5F7D}"/>
                </a:ext>
              </a:extLst>
            </p:cNvPr>
            <p:cNvSpPr txBox="1">
              <a:spLocks/>
            </p:cNvSpPr>
            <p:nvPr/>
          </p:nvSpPr>
          <p:spPr>
            <a:xfrm>
              <a:off x="8370873" y="3022175"/>
              <a:ext cx="3040454" cy="3242953"/>
            </a:xfrm>
            <a:prstGeom prst="rect">
              <a:avLst/>
            </a:prstGeom>
          </p:spPr>
          <p:txBody>
            <a:bodyPr vert="horz" lIns="0" tIns="0" rIns="0" bIns="0" rtlCol="0">
              <a:normAutofit/>
            </a:bodyPr>
            <a:lstStyle>
              <a:lvl1pPr marL="0" indent="0" algn="l" defTabSz="685800" rtl="0" eaLnBrk="1" latinLnBrk="0" hangingPunct="1">
                <a:spcBef>
                  <a:spcPts val="0"/>
                </a:spcBef>
                <a:spcAft>
                  <a:spcPts val="750"/>
                </a:spcAft>
                <a:buSzPct val="100000"/>
                <a:buFontTx/>
                <a:buNone/>
                <a:defRPr sz="9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285750" indent="-285750" algn="just">
                <a:lnSpc>
                  <a:spcPct val="120000"/>
                </a:lnSpc>
                <a:buFont typeface="Arial" panose="020B0604020202020204" pitchFamily="34" charset="0"/>
                <a:buChar char="•"/>
              </a:pPr>
              <a:endParaRPr lang="en-US" sz="1200" b="0" i="0" u="none" strike="noStrike" baseline="0">
                <a:solidFill>
                  <a:srgbClr val="000000"/>
                </a:solidFill>
                <a:cs typeface="Sakkal Majalla" panose="02000000000000000000" pitchFamily="2" charset="-78"/>
              </a:endParaRPr>
            </a:p>
          </p:txBody>
        </p:sp>
        <p:grpSp>
          <p:nvGrpSpPr>
            <p:cNvPr id="498" name="Group 497">
              <a:extLst>
                <a:ext uri="{FF2B5EF4-FFF2-40B4-BE49-F238E27FC236}">
                  <a16:creationId xmlns:a16="http://schemas.microsoft.com/office/drawing/2014/main" id="{44C14E94-46A2-2868-F2F9-B11AF79F4EE1}"/>
                </a:ext>
              </a:extLst>
            </p:cNvPr>
            <p:cNvGrpSpPr/>
            <p:nvPr/>
          </p:nvGrpSpPr>
          <p:grpSpPr>
            <a:xfrm>
              <a:off x="8847499" y="2203587"/>
              <a:ext cx="171478" cy="363554"/>
              <a:chOff x="2813532" y="1993661"/>
              <a:chExt cx="83284" cy="334885"/>
            </a:xfrm>
          </p:grpSpPr>
          <p:sp>
            <p:nvSpPr>
              <p:cNvPr id="499" name="Oval 498">
                <a:extLst>
                  <a:ext uri="{FF2B5EF4-FFF2-40B4-BE49-F238E27FC236}">
                    <a16:creationId xmlns:a16="http://schemas.microsoft.com/office/drawing/2014/main" id="{8B059197-9C61-132F-A435-F3635BB29EB0}"/>
                  </a:ext>
                </a:extLst>
              </p:cNvPr>
              <p:cNvSpPr/>
              <p:nvPr/>
            </p:nvSpPr>
            <p:spPr bwMode="gray">
              <a:xfrm>
                <a:off x="2813532"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00" name="Oval 499">
                <a:extLst>
                  <a:ext uri="{FF2B5EF4-FFF2-40B4-BE49-F238E27FC236}">
                    <a16:creationId xmlns:a16="http://schemas.microsoft.com/office/drawing/2014/main" id="{924056F2-8B99-F2D2-813B-991570DFDDB3}"/>
                  </a:ext>
                </a:extLst>
              </p:cNvPr>
              <p:cNvSpPr/>
              <p:nvPr/>
            </p:nvSpPr>
            <p:spPr bwMode="gray">
              <a:xfrm>
                <a:off x="2813532"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501" name="Group 500">
                <a:extLst>
                  <a:ext uri="{FF2B5EF4-FFF2-40B4-BE49-F238E27FC236}">
                    <a16:creationId xmlns:a16="http://schemas.microsoft.com/office/drawing/2014/main" id="{F71E7B35-27E8-1920-BE09-1DC1838800BC}"/>
                  </a:ext>
                </a:extLst>
              </p:cNvPr>
              <p:cNvGrpSpPr/>
              <p:nvPr/>
            </p:nvGrpSpPr>
            <p:grpSpPr>
              <a:xfrm>
                <a:off x="2829979" y="2037149"/>
                <a:ext cx="50387" cy="250454"/>
                <a:chOff x="2400750" y="4703107"/>
                <a:chExt cx="61012" cy="298800"/>
              </a:xfrm>
            </p:grpSpPr>
            <p:sp>
              <p:nvSpPr>
                <p:cNvPr id="502" name="Rounded Rectangle 159">
                  <a:extLst>
                    <a:ext uri="{FF2B5EF4-FFF2-40B4-BE49-F238E27FC236}">
                      <a16:creationId xmlns:a16="http://schemas.microsoft.com/office/drawing/2014/main" id="{105381C5-62B1-0128-744D-AAC5CFF903DD}"/>
                    </a:ext>
                  </a:extLst>
                </p:cNvPr>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03" name="Rounded Rectangle 160">
                  <a:extLst>
                    <a:ext uri="{FF2B5EF4-FFF2-40B4-BE49-F238E27FC236}">
                      <a16:creationId xmlns:a16="http://schemas.microsoft.com/office/drawing/2014/main" id="{D078378A-108E-A7F1-4FD3-5ED2CCDF2EB6}"/>
                    </a:ext>
                  </a:extLst>
                </p:cNvPr>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04" name="Rounded Rectangle 161">
                  <a:extLst>
                    <a:ext uri="{FF2B5EF4-FFF2-40B4-BE49-F238E27FC236}">
                      <a16:creationId xmlns:a16="http://schemas.microsoft.com/office/drawing/2014/main" id="{DBF49B21-EB87-14E0-8EA5-8EDBB0DB2ED0}"/>
                    </a:ext>
                  </a:extLst>
                </p:cNvPr>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grpSp>
          <p:nvGrpSpPr>
            <p:cNvPr id="505" name="Group 504">
              <a:extLst>
                <a:ext uri="{FF2B5EF4-FFF2-40B4-BE49-F238E27FC236}">
                  <a16:creationId xmlns:a16="http://schemas.microsoft.com/office/drawing/2014/main" id="{74810D33-0356-80E1-6E9D-175DE76419D8}"/>
                </a:ext>
              </a:extLst>
            </p:cNvPr>
            <p:cNvGrpSpPr/>
            <p:nvPr/>
          </p:nvGrpSpPr>
          <p:grpSpPr>
            <a:xfrm>
              <a:off x="10147609" y="2203587"/>
              <a:ext cx="171478" cy="363554"/>
              <a:chOff x="2813532" y="1993661"/>
              <a:chExt cx="83284" cy="334885"/>
            </a:xfrm>
          </p:grpSpPr>
          <p:sp>
            <p:nvSpPr>
              <p:cNvPr id="506" name="Oval 505">
                <a:extLst>
                  <a:ext uri="{FF2B5EF4-FFF2-40B4-BE49-F238E27FC236}">
                    <a16:creationId xmlns:a16="http://schemas.microsoft.com/office/drawing/2014/main" id="{92D0D7C1-EA69-6BE9-53B8-55B6D0093CC3}"/>
                  </a:ext>
                </a:extLst>
              </p:cNvPr>
              <p:cNvSpPr/>
              <p:nvPr/>
            </p:nvSpPr>
            <p:spPr bwMode="gray">
              <a:xfrm>
                <a:off x="2813532"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07" name="Oval 506">
                <a:extLst>
                  <a:ext uri="{FF2B5EF4-FFF2-40B4-BE49-F238E27FC236}">
                    <a16:creationId xmlns:a16="http://schemas.microsoft.com/office/drawing/2014/main" id="{5AF20D34-E69C-BE10-C2F0-0D22A0A52F88}"/>
                  </a:ext>
                </a:extLst>
              </p:cNvPr>
              <p:cNvSpPr/>
              <p:nvPr/>
            </p:nvSpPr>
            <p:spPr bwMode="gray">
              <a:xfrm>
                <a:off x="2813532"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508" name="Group 507">
                <a:extLst>
                  <a:ext uri="{FF2B5EF4-FFF2-40B4-BE49-F238E27FC236}">
                    <a16:creationId xmlns:a16="http://schemas.microsoft.com/office/drawing/2014/main" id="{E0BF4461-FA9D-EADD-249E-5887C412901B}"/>
                  </a:ext>
                </a:extLst>
              </p:cNvPr>
              <p:cNvGrpSpPr/>
              <p:nvPr/>
            </p:nvGrpSpPr>
            <p:grpSpPr>
              <a:xfrm>
                <a:off x="2829979" y="2037149"/>
                <a:ext cx="50387" cy="250454"/>
                <a:chOff x="2400750" y="4703107"/>
                <a:chExt cx="61012" cy="298800"/>
              </a:xfrm>
            </p:grpSpPr>
            <p:sp>
              <p:nvSpPr>
                <p:cNvPr id="509" name="Rounded Rectangle 153">
                  <a:extLst>
                    <a:ext uri="{FF2B5EF4-FFF2-40B4-BE49-F238E27FC236}">
                      <a16:creationId xmlns:a16="http://schemas.microsoft.com/office/drawing/2014/main" id="{6F0B436E-F1E3-C994-8EF0-2AC2C7D24498}"/>
                    </a:ext>
                  </a:extLst>
                </p:cNvPr>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10" name="Rounded Rectangle 154">
                  <a:extLst>
                    <a:ext uri="{FF2B5EF4-FFF2-40B4-BE49-F238E27FC236}">
                      <a16:creationId xmlns:a16="http://schemas.microsoft.com/office/drawing/2014/main" id="{65F905FD-DAF3-BCA1-4CCC-13A283011C0B}"/>
                    </a:ext>
                  </a:extLst>
                </p:cNvPr>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11" name="Rounded Rectangle 155">
                  <a:extLst>
                    <a:ext uri="{FF2B5EF4-FFF2-40B4-BE49-F238E27FC236}">
                      <a16:creationId xmlns:a16="http://schemas.microsoft.com/office/drawing/2014/main" id="{D6FAF2F4-FC9B-9FA1-5F34-7EE565437063}"/>
                    </a:ext>
                  </a:extLst>
                </p:cNvPr>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grpSp>
          <p:nvGrpSpPr>
            <p:cNvPr id="64" name="Group 63">
              <a:extLst>
                <a:ext uri="{FF2B5EF4-FFF2-40B4-BE49-F238E27FC236}">
                  <a16:creationId xmlns:a16="http://schemas.microsoft.com/office/drawing/2014/main" id="{37BB78CB-55A2-65E9-8FCB-CD19F21238A6}"/>
                </a:ext>
              </a:extLst>
            </p:cNvPr>
            <p:cNvGrpSpPr/>
            <p:nvPr/>
          </p:nvGrpSpPr>
          <p:grpSpPr>
            <a:xfrm>
              <a:off x="11273718" y="2231419"/>
              <a:ext cx="171478" cy="363554"/>
              <a:chOff x="2813532" y="1993661"/>
              <a:chExt cx="83284" cy="334885"/>
            </a:xfrm>
          </p:grpSpPr>
          <p:sp>
            <p:nvSpPr>
              <p:cNvPr id="65" name="Oval 64">
                <a:extLst>
                  <a:ext uri="{FF2B5EF4-FFF2-40B4-BE49-F238E27FC236}">
                    <a16:creationId xmlns:a16="http://schemas.microsoft.com/office/drawing/2014/main" id="{331B27EF-5FE4-19D0-6D9D-538B3E9E9F04}"/>
                  </a:ext>
                </a:extLst>
              </p:cNvPr>
              <p:cNvSpPr/>
              <p:nvPr/>
            </p:nvSpPr>
            <p:spPr bwMode="gray">
              <a:xfrm>
                <a:off x="2813532"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6" name="Oval 65">
                <a:extLst>
                  <a:ext uri="{FF2B5EF4-FFF2-40B4-BE49-F238E27FC236}">
                    <a16:creationId xmlns:a16="http://schemas.microsoft.com/office/drawing/2014/main" id="{27437A9F-1E6E-C5BA-73DB-1FD61D25ABFD}"/>
                  </a:ext>
                </a:extLst>
              </p:cNvPr>
              <p:cNvSpPr/>
              <p:nvPr/>
            </p:nvSpPr>
            <p:spPr bwMode="gray">
              <a:xfrm>
                <a:off x="2813532"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67" name="Group 66">
                <a:extLst>
                  <a:ext uri="{FF2B5EF4-FFF2-40B4-BE49-F238E27FC236}">
                    <a16:creationId xmlns:a16="http://schemas.microsoft.com/office/drawing/2014/main" id="{78E1C241-399E-F2D0-87BD-4AA3C2125F6F}"/>
                  </a:ext>
                </a:extLst>
              </p:cNvPr>
              <p:cNvGrpSpPr/>
              <p:nvPr/>
            </p:nvGrpSpPr>
            <p:grpSpPr>
              <a:xfrm>
                <a:off x="2829979" y="2037149"/>
                <a:ext cx="50387" cy="250454"/>
                <a:chOff x="2400750" y="4703107"/>
                <a:chExt cx="61012" cy="298800"/>
              </a:xfrm>
            </p:grpSpPr>
            <p:sp>
              <p:nvSpPr>
                <p:cNvPr id="68" name="Rounded Rectangle 147">
                  <a:extLst>
                    <a:ext uri="{FF2B5EF4-FFF2-40B4-BE49-F238E27FC236}">
                      <a16:creationId xmlns:a16="http://schemas.microsoft.com/office/drawing/2014/main" id="{15A5B434-BE25-ED22-1F73-7A685ADC33C9}"/>
                    </a:ext>
                  </a:extLst>
                </p:cNvPr>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9" name="Rounded Rectangle 148">
                  <a:extLst>
                    <a:ext uri="{FF2B5EF4-FFF2-40B4-BE49-F238E27FC236}">
                      <a16:creationId xmlns:a16="http://schemas.microsoft.com/office/drawing/2014/main" id="{928ACA19-A65D-C4B9-69B1-A9D28E1CDC14}"/>
                    </a:ext>
                  </a:extLst>
                </p:cNvPr>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0" name="Rounded Rectangle 149">
                  <a:extLst>
                    <a:ext uri="{FF2B5EF4-FFF2-40B4-BE49-F238E27FC236}">
                      <a16:creationId xmlns:a16="http://schemas.microsoft.com/office/drawing/2014/main" id="{F89022CF-44AD-02D1-C38F-D5BC1D7C2E29}"/>
                    </a:ext>
                  </a:extLst>
                </p:cNvPr>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
          <p:nvSpPr>
            <p:cNvPr id="71" name="Freeform 728">
              <a:extLst>
                <a:ext uri="{FF2B5EF4-FFF2-40B4-BE49-F238E27FC236}">
                  <a16:creationId xmlns:a16="http://schemas.microsoft.com/office/drawing/2014/main" id="{C672E7FB-0D2E-464A-BDC4-796FBAC3697A}"/>
                </a:ext>
              </a:extLst>
            </p:cNvPr>
            <p:cNvSpPr>
              <a:spLocks noEditPoints="1"/>
            </p:cNvSpPr>
            <p:nvPr/>
          </p:nvSpPr>
          <p:spPr bwMode="auto">
            <a:xfrm>
              <a:off x="8370873" y="2684543"/>
              <a:ext cx="274320" cy="274320"/>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Sakkal Majalla" panose="02000000000000000000" pitchFamily="2" charset="-78"/>
                <a:cs typeface="Sakkal Majalla" panose="02000000000000000000" pitchFamily="2" charset="-78"/>
              </a:endParaRPr>
            </a:p>
          </p:txBody>
        </p:sp>
        <p:sp>
          <p:nvSpPr>
            <p:cNvPr id="72" name="Text Placeholder 8">
              <a:extLst>
                <a:ext uri="{FF2B5EF4-FFF2-40B4-BE49-F238E27FC236}">
                  <a16:creationId xmlns:a16="http://schemas.microsoft.com/office/drawing/2014/main" id="{A2ECF02C-7CB5-F8E4-575D-EC9E116749F7}"/>
                </a:ext>
              </a:extLst>
            </p:cNvPr>
            <p:cNvSpPr txBox="1">
              <a:spLocks/>
            </p:cNvSpPr>
            <p:nvPr/>
          </p:nvSpPr>
          <p:spPr>
            <a:xfrm>
              <a:off x="4762948" y="2702994"/>
              <a:ext cx="3017520" cy="341538"/>
            </a:xfrm>
            <a:prstGeom prst="rect">
              <a:avLst/>
            </a:prstGeom>
          </p:spPr>
          <p:txBody>
            <a:bodyPr vert="horz" lIns="0" tIns="0" rIns="0" bIns="0" rtlCol="0">
              <a:noAutofit/>
            </a:bodyPr>
            <a:lstStyle>
              <a:lvl1pPr marL="0" indent="0" algn="l" defTabSz="1216000" rtl="0" eaLnBrk="1" latinLnBrk="0" hangingPunct="1">
                <a:lnSpc>
                  <a:spcPct val="120000"/>
                </a:lnSpc>
                <a:spcBef>
                  <a:spcPts val="0"/>
                </a:spcBef>
                <a:spcAft>
                  <a:spcPts val="1197"/>
                </a:spcAft>
                <a:buSzPct val="100000"/>
                <a:buFont typeface="Arial" panose="020B0604020202020204" pitchFamily="34" charset="0"/>
                <a:buNone/>
                <a:defRPr sz="1396" b="1" kern="1200">
                  <a:solidFill>
                    <a:schemeClr val="accent1"/>
                  </a:solidFill>
                  <a:latin typeface="+mn-lt"/>
                  <a:ea typeface="+mn-ea"/>
                  <a:cs typeface="+mn-cs"/>
                </a:defRPr>
              </a:lvl1pPr>
              <a:lvl2pPr marL="0" indent="0" algn="l" defTabSz="1216000" rtl="0" eaLnBrk="1" latinLnBrk="0" hangingPunct="1">
                <a:spcBef>
                  <a:spcPts val="0"/>
                </a:spcBef>
                <a:spcAft>
                  <a:spcPts val="1330"/>
                </a:spcAft>
                <a:buClrTx/>
                <a:buSzPct val="100000"/>
                <a:buFont typeface="Arial"/>
                <a:buNone/>
                <a:defRPr lang="en-US" sz="1197" b="1" kern="1200" dirty="0" smtClean="0">
                  <a:solidFill>
                    <a:schemeClr val="tx1"/>
                  </a:solidFill>
                  <a:latin typeface="+mn-lt"/>
                  <a:ea typeface="+mn-ea"/>
                  <a:cs typeface="+mn-cs"/>
                </a:defRPr>
              </a:lvl2pPr>
              <a:lvl3pPr marL="234582" indent="-234582" algn="l" defTabSz="1216000" rtl="0" eaLnBrk="1" latinLnBrk="0" hangingPunct="1">
                <a:spcBef>
                  <a:spcPts val="0"/>
                </a:spcBef>
                <a:spcAft>
                  <a:spcPts val="1330"/>
                </a:spcAft>
                <a:buClrTx/>
                <a:buSzPct val="100000"/>
                <a:buFont typeface="Arial" panose="020B0604020202020204" pitchFamily="34" charset="0"/>
                <a:buChar char="•"/>
                <a:defRPr lang="en-US" sz="1197" kern="1200" dirty="0" smtClean="0">
                  <a:solidFill>
                    <a:schemeClr val="tx1"/>
                  </a:solidFill>
                  <a:latin typeface="+mn-lt"/>
                  <a:ea typeface="+mn-ea"/>
                  <a:cs typeface="+mn-cs"/>
                </a:defRPr>
              </a:lvl3pPr>
              <a:lvl4pPr marL="473953" indent="-234582" algn="l" defTabSz="1216000" rtl="0" eaLnBrk="1" latinLnBrk="0" hangingPunct="1">
                <a:spcBef>
                  <a:spcPts val="0"/>
                </a:spcBef>
                <a:spcAft>
                  <a:spcPts val="1330"/>
                </a:spcAft>
                <a:buClrTx/>
                <a:buSzPct val="100000"/>
                <a:buFont typeface="Verdana" panose="020B0604030504040204" pitchFamily="34" charset="0"/>
                <a:buChar char="−"/>
                <a:defRPr lang="en-US" sz="1197" kern="1200" baseline="0" dirty="0" smtClean="0">
                  <a:solidFill>
                    <a:schemeClr val="tx1"/>
                  </a:solidFill>
                  <a:latin typeface="+mn-lt"/>
                  <a:ea typeface="+mn-ea"/>
                  <a:cs typeface="+mn-cs"/>
                </a:defRPr>
              </a:lvl4pPr>
              <a:lvl5pPr marL="708535" indent="-234582" algn="l" defTabSz="1061889" rtl="0" eaLnBrk="1" latinLnBrk="0" hangingPunct="1">
                <a:spcBef>
                  <a:spcPts val="0"/>
                </a:spcBef>
                <a:spcAft>
                  <a:spcPts val="1330"/>
                </a:spcAft>
                <a:buClrTx/>
                <a:buSzPct val="100000"/>
                <a:buFont typeface="Verdana" panose="020B0604030504040204" pitchFamily="34" charset="0"/>
                <a:buChar char="−"/>
                <a:tabLst/>
                <a:defRPr lang="en-US" sz="1197" kern="1200" baseline="0" dirty="0" smtClean="0">
                  <a:solidFill>
                    <a:schemeClr val="tx1"/>
                  </a:solidFill>
                  <a:latin typeface="+mn-lt"/>
                  <a:ea typeface="+mn-ea"/>
                  <a:cs typeface="+mn-cs"/>
                </a:defRPr>
              </a:lvl5pPr>
              <a:lvl6pPr marL="708535" indent="-234582" algn="l" defTabSz="1216000" rtl="0" eaLnBrk="1" latinLnBrk="0" hangingPunct="1">
                <a:spcBef>
                  <a:spcPts val="0"/>
                </a:spcBef>
                <a:spcAft>
                  <a:spcPts val="1330"/>
                </a:spcAft>
                <a:buFont typeface="Verdana" panose="020B0604030504040204" pitchFamily="34" charset="0"/>
                <a:buChar char="−"/>
                <a:defRPr sz="1596" kern="1200" baseline="0">
                  <a:solidFill>
                    <a:schemeClr val="tx1"/>
                  </a:solidFill>
                  <a:latin typeface="+mn-lt"/>
                  <a:ea typeface="+mn-ea"/>
                  <a:cs typeface="+mn-cs"/>
                </a:defRPr>
              </a:lvl6pPr>
              <a:lvl7pPr marL="708535" indent="-234582" algn="l" defTabSz="1216000" rtl="0" eaLnBrk="1" latinLnBrk="0" hangingPunct="1">
                <a:spcBef>
                  <a:spcPts val="0"/>
                </a:spcBef>
                <a:spcAft>
                  <a:spcPts val="1330"/>
                </a:spcAft>
                <a:buFont typeface="Verdana" panose="020B0604030504040204" pitchFamily="34" charset="0"/>
                <a:buChar char="−"/>
                <a:defRPr sz="1596" kern="1200">
                  <a:solidFill>
                    <a:schemeClr val="tx1"/>
                  </a:solidFill>
                  <a:latin typeface="+mn-lt"/>
                  <a:ea typeface="+mn-ea"/>
                  <a:cs typeface="+mn-cs"/>
                </a:defRPr>
              </a:lvl7pPr>
              <a:lvl8pPr marL="708535" indent="-234582" algn="l" defTabSz="1216000" rtl="0" eaLnBrk="1" latinLnBrk="0" hangingPunct="1">
                <a:spcBef>
                  <a:spcPts val="0"/>
                </a:spcBef>
                <a:spcAft>
                  <a:spcPts val="1330"/>
                </a:spcAft>
                <a:buFont typeface="Verdana" panose="020B0604030504040204" pitchFamily="34" charset="0"/>
                <a:buChar char="−"/>
                <a:defRPr sz="1596" kern="1200" baseline="0">
                  <a:solidFill>
                    <a:schemeClr val="tx1"/>
                  </a:solidFill>
                  <a:latin typeface="+mn-lt"/>
                  <a:ea typeface="+mn-ea"/>
                  <a:cs typeface="+mn-cs"/>
                </a:defRPr>
              </a:lvl8pPr>
              <a:lvl9pPr marL="708535" indent="-234582" algn="l" defTabSz="1216000" rtl="0" eaLnBrk="1" latinLnBrk="0" hangingPunct="1">
                <a:spcBef>
                  <a:spcPts val="0"/>
                </a:spcBef>
                <a:spcAft>
                  <a:spcPts val="1330"/>
                </a:spcAft>
                <a:buFont typeface="Verdana" panose="020B0604030504040204" pitchFamily="34" charset="0"/>
                <a:buChar char="−"/>
                <a:defRPr sz="1596" kern="1200" baseline="0">
                  <a:solidFill>
                    <a:schemeClr val="tx1"/>
                  </a:solidFill>
                  <a:latin typeface="+mn-lt"/>
                  <a:ea typeface="+mn-ea"/>
                  <a:cs typeface="+mn-cs"/>
                </a:defRPr>
              </a:lvl9pPr>
            </a:lstStyle>
            <a:p>
              <a:pPr algn="l">
                <a:spcAft>
                  <a:spcPts val="900"/>
                </a:spcAft>
              </a:pPr>
              <a:r>
                <a:rPr lang="en-US" sz="1600">
                  <a:solidFill>
                    <a:sysClr val="windowText" lastClr="000000"/>
                  </a:solidFill>
                  <a:ea typeface="Verdana" panose="020B0604030504040204" pitchFamily="34" charset="0"/>
                  <a:cs typeface="Times New Roman" panose="02020603050405020304" pitchFamily="18" charset="0"/>
                </a:rPr>
                <a:t>Project Goal</a:t>
              </a:r>
              <a:endParaRPr lang="en-US" sz="1600" b="0">
                <a:solidFill>
                  <a:sysClr val="windowText" lastClr="000000"/>
                </a:solidFill>
                <a:ea typeface="Verdana" panose="020B0604030504040204" pitchFamily="34" charset="0"/>
                <a:cs typeface="Times New Roman" panose="02020603050405020304" pitchFamily="18" charset="0"/>
              </a:endParaRPr>
            </a:p>
          </p:txBody>
        </p:sp>
        <p:sp>
          <p:nvSpPr>
            <p:cNvPr id="73" name="Freeform 54">
              <a:extLst>
                <a:ext uri="{FF2B5EF4-FFF2-40B4-BE49-F238E27FC236}">
                  <a16:creationId xmlns:a16="http://schemas.microsoft.com/office/drawing/2014/main" id="{838D9131-FBC8-92A4-5FA9-6C0451E1FDC1}"/>
                </a:ext>
              </a:extLst>
            </p:cNvPr>
            <p:cNvSpPr>
              <a:spLocks noEditPoints="1"/>
            </p:cNvSpPr>
            <p:nvPr/>
          </p:nvSpPr>
          <p:spPr bwMode="auto">
            <a:xfrm>
              <a:off x="924966" y="2684543"/>
              <a:ext cx="274320" cy="274320"/>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Sakkal Majalla" panose="02000000000000000000" pitchFamily="2" charset="-78"/>
                <a:cs typeface="Sakkal Majalla" panose="02000000000000000000" pitchFamily="2" charset="-78"/>
              </a:endParaRPr>
            </a:p>
          </p:txBody>
        </p:sp>
        <p:sp>
          <p:nvSpPr>
            <p:cNvPr id="74" name="Text Placeholder 2">
              <a:extLst>
                <a:ext uri="{FF2B5EF4-FFF2-40B4-BE49-F238E27FC236}">
                  <a16:creationId xmlns:a16="http://schemas.microsoft.com/office/drawing/2014/main" id="{CA5C8E26-840E-4FBA-1B65-16254EB09359}"/>
                </a:ext>
              </a:extLst>
            </p:cNvPr>
            <p:cNvSpPr txBox="1">
              <a:spLocks/>
            </p:cNvSpPr>
            <p:nvPr/>
          </p:nvSpPr>
          <p:spPr>
            <a:xfrm>
              <a:off x="1055582" y="3001550"/>
              <a:ext cx="3040454" cy="3242953"/>
            </a:xfrm>
            <a:prstGeom prst="rect">
              <a:avLst/>
            </a:prstGeom>
          </p:spPr>
          <p:txBody>
            <a:bodyPr vert="horz" lIns="0" tIns="0" rIns="0" bIns="0" rtlCol="0">
              <a:normAutofit/>
            </a:bodyPr>
            <a:lstStyle>
              <a:lvl1pPr marL="0" indent="0" algn="l" defTabSz="685800" rtl="0" eaLnBrk="1" latinLnBrk="0" hangingPunct="1">
                <a:spcBef>
                  <a:spcPts val="0"/>
                </a:spcBef>
                <a:spcAft>
                  <a:spcPts val="750"/>
                </a:spcAft>
                <a:buSzPct val="100000"/>
                <a:buFontTx/>
                <a:buNone/>
                <a:defRPr sz="9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20000"/>
                </a:lnSpc>
                <a:spcBef>
                  <a:spcPts val="600"/>
                </a:spcBef>
                <a:spcAft>
                  <a:spcPts val="600"/>
                </a:spcAft>
                <a:buClr>
                  <a:srgbClr val="86BC25"/>
                </a:buClr>
                <a:buSzTx/>
                <a:defRPr/>
              </a:pPr>
              <a:r>
                <a:rPr lang="en-US" sz="1000" dirty="0">
                  <a:solidFill>
                    <a:prstClr val="black"/>
                  </a:solidFill>
                  <a:ea typeface="Open Sans Light" panose="020B0306030504020204" pitchFamily="34" charset="0"/>
                  <a:cs typeface="Open Sans Light" panose="020B0306030504020204" pitchFamily="34" charset="0"/>
                </a:rPr>
                <a:t>Salam (previous ITC), is a leading Saudi-based telecom provider offering next-generation ICT solutions for broadband, connectivity, cloud computing, managed services, security services, satellite services, and internet services for government, businesses, wholesale, and consumer sectors.</a:t>
              </a:r>
            </a:p>
          </p:txBody>
        </p:sp>
        <p:sp>
          <p:nvSpPr>
            <p:cNvPr id="77" name="Text Placeholder 8">
              <a:extLst>
                <a:ext uri="{FF2B5EF4-FFF2-40B4-BE49-F238E27FC236}">
                  <a16:creationId xmlns:a16="http://schemas.microsoft.com/office/drawing/2014/main" id="{1D11AE9E-ED1C-FE3C-83AC-06422044C214}"/>
                </a:ext>
              </a:extLst>
            </p:cNvPr>
            <p:cNvSpPr txBox="1">
              <a:spLocks/>
            </p:cNvSpPr>
            <p:nvPr/>
          </p:nvSpPr>
          <p:spPr>
            <a:xfrm>
              <a:off x="1050232" y="2702994"/>
              <a:ext cx="3017520" cy="341538"/>
            </a:xfrm>
            <a:prstGeom prst="rect">
              <a:avLst/>
            </a:prstGeom>
          </p:spPr>
          <p:txBody>
            <a:bodyPr vert="horz" lIns="0" tIns="0" rIns="0" bIns="0" rtlCol="0">
              <a:noAutofit/>
            </a:bodyPr>
            <a:lstStyle>
              <a:lvl1pPr marL="0" indent="0" algn="l" defTabSz="1216000" rtl="0" eaLnBrk="1" latinLnBrk="0" hangingPunct="1">
                <a:lnSpc>
                  <a:spcPct val="120000"/>
                </a:lnSpc>
                <a:spcBef>
                  <a:spcPts val="0"/>
                </a:spcBef>
                <a:spcAft>
                  <a:spcPts val="1197"/>
                </a:spcAft>
                <a:buSzPct val="100000"/>
                <a:buFont typeface="Arial" panose="020B0604020202020204" pitchFamily="34" charset="0"/>
                <a:buNone/>
                <a:defRPr sz="1396" b="1" kern="1200">
                  <a:solidFill>
                    <a:schemeClr val="accent1"/>
                  </a:solidFill>
                  <a:latin typeface="+mn-lt"/>
                  <a:ea typeface="+mn-ea"/>
                  <a:cs typeface="+mn-cs"/>
                </a:defRPr>
              </a:lvl1pPr>
              <a:lvl2pPr marL="0" indent="0" algn="l" defTabSz="1216000" rtl="0" eaLnBrk="1" latinLnBrk="0" hangingPunct="1">
                <a:spcBef>
                  <a:spcPts val="0"/>
                </a:spcBef>
                <a:spcAft>
                  <a:spcPts val="1330"/>
                </a:spcAft>
                <a:buClrTx/>
                <a:buSzPct val="100000"/>
                <a:buFont typeface="Arial"/>
                <a:buNone/>
                <a:defRPr lang="en-US" sz="1197" b="1" kern="1200" dirty="0" smtClean="0">
                  <a:solidFill>
                    <a:schemeClr val="tx1"/>
                  </a:solidFill>
                  <a:latin typeface="+mn-lt"/>
                  <a:ea typeface="+mn-ea"/>
                  <a:cs typeface="+mn-cs"/>
                </a:defRPr>
              </a:lvl2pPr>
              <a:lvl3pPr marL="234582" indent="-234582" algn="l" defTabSz="1216000" rtl="0" eaLnBrk="1" latinLnBrk="0" hangingPunct="1">
                <a:spcBef>
                  <a:spcPts val="0"/>
                </a:spcBef>
                <a:spcAft>
                  <a:spcPts val="1330"/>
                </a:spcAft>
                <a:buClrTx/>
                <a:buSzPct val="100000"/>
                <a:buFont typeface="Arial" panose="020B0604020202020204" pitchFamily="34" charset="0"/>
                <a:buChar char="•"/>
                <a:defRPr lang="en-US" sz="1197" kern="1200" dirty="0" smtClean="0">
                  <a:solidFill>
                    <a:schemeClr val="tx1"/>
                  </a:solidFill>
                  <a:latin typeface="+mn-lt"/>
                  <a:ea typeface="+mn-ea"/>
                  <a:cs typeface="+mn-cs"/>
                </a:defRPr>
              </a:lvl3pPr>
              <a:lvl4pPr marL="473953" indent="-234582" algn="l" defTabSz="1216000" rtl="0" eaLnBrk="1" latinLnBrk="0" hangingPunct="1">
                <a:spcBef>
                  <a:spcPts val="0"/>
                </a:spcBef>
                <a:spcAft>
                  <a:spcPts val="1330"/>
                </a:spcAft>
                <a:buClrTx/>
                <a:buSzPct val="100000"/>
                <a:buFont typeface="Verdana" panose="020B0604030504040204" pitchFamily="34" charset="0"/>
                <a:buChar char="−"/>
                <a:defRPr lang="en-US" sz="1197" kern="1200" baseline="0" dirty="0" smtClean="0">
                  <a:solidFill>
                    <a:schemeClr val="tx1"/>
                  </a:solidFill>
                  <a:latin typeface="+mn-lt"/>
                  <a:ea typeface="+mn-ea"/>
                  <a:cs typeface="+mn-cs"/>
                </a:defRPr>
              </a:lvl4pPr>
              <a:lvl5pPr marL="708535" indent="-234582" algn="l" defTabSz="1061889" rtl="0" eaLnBrk="1" latinLnBrk="0" hangingPunct="1">
                <a:spcBef>
                  <a:spcPts val="0"/>
                </a:spcBef>
                <a:spcAft>
                  <a:spcPts val="1330"/>
                </a:spcAft>
                <a:buClrTx/>
                <a:buSzPct val="100000"/>
                <a:buFont typeface="Verdana" panose="020B0604030504040204" pitchFamily="34" charset="0"/>
                <a:buChar char="−"/>
                <a:tabLst/>
                <a:defRPr lang="en-US" sz="1197" kern="1200" baseline="0" dirty="0" smtClean="0">
                  <a:solidFill>
                    <a:schemeClr val="tx1"/>
                  </a:solidFill>
                  <a:latin typeface="+mn-lt"/>
                  <a:ea typeface="+mn-ea"/>
                  <a:cs typeface="+mn-cs"/>
                </a:defRPr>
              </a:lvl5pPr>
              <a:lvl6pPr marL="708535" indent="-234582" algn="l" defTabSz="1216000" rtl="0" eaLnBrk="1" latinLnBrk="0" hangingPunct="1">
                <a:spcBef>
                  <a:spcPts val="0"/>
                </a:spcBef>
                <a:spcAft>
                  <a:spcPts val="1330"/>
                </a:spcAft>
                <a:buFont typeface="Verdana" panose="020B0604030504040204" pitchFamily="34" charset="0"/>
                <a:buChar char="−"/>
                <a:defRPr sz="1596" kern="1200" baseline="0">
                  <a:solidFill>
                    <a:schemeClr val="tx1"/>
                  </a:solidFill>
                  <a:latin typeface="+mn-lt"/>
                  <a:ea typeface="+mn-ea"/>
                  <a:cs typeface="+mn-cs"/>
                </a:defRPr>
              </a:lvl6pPr>
              <a:lvl7pPr marL="708535" indent="-234582" algn="l" defTabSz="1216000" rtl="0" eaLnBrk="1" latinLnBrk="0" hangingPunct="1">
                <a:spcBef>
                  <a:spcPts val="0"/>
                </a:spcBef>
                <a:spcAft>
                  <a:spcPts val="1330"/>
                </a:spcAft>
                <a:buFont typeface="Verdana" panose="020B0604030504040204" pitchFamily="34" charset="0"/>
                <a:buChar char="−"/>
                <a:defRPr sz="1596" kern="1200">
                  <a:solidFill>
                    <a:schemeClr val="tx1"/>
                  </a:solidFill>
                  <a:latin typeface="+mn-lt"/>
                  <a:ea typeface="+mn-ea"/>
                  <a:cs typeface="+mn-cs"/>
                </a:defRPr>
              </a:lvl7pPr>
              <a:lvl8pPr marL="708535" indent="-234582" algn="l" defTabSz="1216000" rtl="0" eaLnBrk="1" latinLnBrk="0" hangingPunct="1">
                <a:spcBef>
                  <a:spcPts val="0"/>
                </a:spcBef>
                <a:spcAft>
                  <a:spcPts val="1330"/>
                </a:spcAft>
                <a:buFont typeface="Verdana" panose="020B0604030504040204" pitchFamily="34" charset="0"/>
                <a:buChar char="−"/>
                <a:defRPr sz="1596" kern="1200" baseline="0">
                  <a:solidFill>
                    <a:schemeClr val="tx1"/>
                  </a:solidFill>
                  <a:latin typeface="+mn-lt"/>
                  <a:ea typeface="+mn-ea"/>
                  <a:cs typeface="+mn-cs"/>
                </a:defRPr>
              </a:lvl8pPr>
              <a:lvl9pPr marL="708535" indent="-234582" algn="l" defTabSz="1216000" rtl="0" eaLnBrk="1" latinLnBrk="0" hangingPunct="1">
                <a:spcBef>
                  <a:spcPts val="0"/>
                </a:spcBef>
                <a:spcAft>
                  <a:spcPts val="1330"/>
                </a:spcAft>
                <a:buFont typeface="Verdana" panose="020B0604030504040204" pitchFamily="34" charset="0"/>
                <a:buChar char="−"/>
                <a:defRPr sz="1596" kern="1200" baseline="0">
                  <a:solidFill>
                    <a:schemeClr val="tx1"/>
                  </a:solidFill>
                  <a:latin typeface="+mn-lt"/>
                  <a:ea typeface="+mn-ea"/>
                  <a:cs typeface="+mn-cs"/>
                </a:defRPr>
              </a:lvl9pPr>
            </a:lstStyle>
            <a:p>
              <a:pPr algn="l">
                <a:spcAft>
                  <a:spcPts val="900"/>
                </a:spcAft>
              </a:pPr>
              <a:r>
                <a:rPr lang="en-US" sz="1600" dirty="0">
                  <a:solidFill>
                    <a:sysClr val="windowText" lastClr="000000"/>
                  </a:solidFill>
                  <a:ea typeface="Verdana" panose="020B0604030504040204" pitchFamily="34" charset="0"/>
                  <a:cs typeface="Times New Roman" panose="02020603050405020304" pitchFamily="18" charset="0"/>
                </a:rPr>
                <a:t>Salam Overview</a:t>
              </a:r>
              <a:endParaRPr lang="en-US" sz="1600" b="0" dirty="0">
                <a:solidFill>
                  <a:sysClr val="windowText" lastClr="000000"/>
                </a:solidFill>
                <a:ea typeface="Verdana" panose="020B0604030504040204" pitchFamily="34" charset="0"/>
                <a:cs typeface="Times New Roman" panose="02020603050405020304" pitchFamily="18" charset="0"/>
              </a:endParaRPr>
            </a:p>
          </p:txBody>
        </p:sp>
        <p:sp>
          <p:nvSpPr>
            <p:cNvPr id="78" name="Text Placeholder 2">
              <a:extLst>
                <a:ext uri="{FF2B5EF4-FFF2-40B4-BE49-F238E27FC236}">
                  <a16:creationId xmlns:a16="http://schemas.microsoft.com/office/drawing/2014/main" id="{E6758575-71F0-08B4-DB82-01B7FE8D2408}"/>
                </a:ext>
              </a:extLst>
            </p:cNvPr>
            <p:cNvSpPr txBox="1">
              <a:spLocks/>
            </p:cNvSpPr>
            <p:nvPr/>
          </p:nvSpPr>
          <p:spPr>
            <a:xfrm>
              <a:off x="8126665" y="3022175"/>
              <a:ext cx="3040454" cy="3242953"/>
            </a:xfrm>
            <a:prstGeom prst="rect">
              <a:avLst/>
            </a:prstGeom>
          </p:spPr>
          <p:txBody>
            <a:bodyPr vert="horz" lIns="0" tIns="0" rIns="0" bIns="0" rtlCol="0">
              <a:normAutofit/>
            </a:bodyPr>
            <a:lstStyle>
              <a:lvl1pPr marL="0" indent="0" algn="l" defTabSz="685800" rtl="0" eaLnBrk="1" latinLnBrk="0" hangingPunct="1">
                <a:spcBef>
                  <a:spcPts val="0"/>
                </a:spcBef>
                <a:spcAft>
                  <a:spcPts val="750"/>
                </a:spcAft>
                <a:buSzPct val="100000"/>
                <a:buFontTx/>
                <a:buNone/>
                <a:defRPr sz="9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171450" indent="-171450" defTabSz="914400">
                <a:lnSpc>
                  <a:spcPct val="150000"/>
                </a:lnSpc>
                <a:spcBef>
                  <a:spcPts val="600"/>
                </a:spcBef>
                <a:spcAft>
                  <a:spcPts val="600"/>
                </a:spcAft>
                <a:buClr>
                  <a:srgbClr val="86BC25"/>
                </a:buClr>
                <a:buSzTx/>
                <a:buFont typeface="Arial" panose="020B0604020202020204" pitchFamily="34" charset="0"/>
                <a:buChar char="•"/>
                <a:defRPr/>
              </a:pPr>
              <a:endParaRPr lang="en-US" sz="9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9" name="Text Placeholder 2">
              <a:extLst>
                <a:ext uri="{FF2B5EF4-FFF2-40B4-BE49-F238E27FC236}">
                  <a16:creationId xmlns:a16="http://schemas.microsoft.com/office/drawing/2014/main" id="{30F3C000-B50F-6612-651A-D1E1D222E53F}"/>
                </a:ext>
              </a:extLst>
            </p:cNvPr>
            <p:cNvSpPr txBox="1">
              <a:spLocks/>
            </p:cNvSpPr>
            <p:nvPr/>
          </p:nvSpPr>
          <p:spPr>
            <a:xfrm>
              <a:off x="8434559" y="3001550"/>
              <a:ext cx="3040454" cy="3242953"/>
            </a:xfrm>
            <a:prstGeom prst="rect">
              <a:avLst/>
            </a:prstGeom>
          </p:spPr>
          <p:txBody>
            <a:bodyPr vert="horz" lIns="0" tIns="0" rIns="0" bIns="0" rtlCol="0">
              <a:normAutofit/>
            </a:bodyPr>
            <a:lstStyle>
              <a:lvl1pPr marL="0" indent="0" algn="l" defTabSz="685800" rtl="0" eaLnBrk="1" latinLnBrk="0" hangingPunct="1">
                <a:spcBef>
                  <a:spcPts val="0"/>
                </a:spcBef>
                <a:spcAft>
                  <a:spcPts val="750"/>
                </a:spcAft>
                <a:buSzPct val="100000"/>
                <a:buFontTx/>
                <a:buNone/>
                <a:defRPr sz="9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20000"/>
                </a:lnSpc>
                <a:spcBef>
                  <a:spcPts val="600"/>
                </a:spcBef>
                <a:spcAft>
                  <a:spcPts val="600"/>
                </a:spcAft>
                <a:buClr>
                  <a:srgbClr val="86BC25"/>
                </a:buClr>
                <a:buSzTx/>
                <a:defRPr/>
              </a:pPr>
              <a:r>
                <a:rPr lang="en-US" sz="1000" dirty="0">
                  <a:solidFill>
                    <a:prstClr val="black"/>
                  </a:solidFill>
                  <a:ea typeface="Open Sans Light" panose="020B0306030504020204" pitchFamily="34" charset="0"/>
                  <a:cs typeface="Open Sans Light" panose="020B0306030504020204" pitchFamily="34" charset="0"/>
                </a:rPr>
                <a:t>Salam project goals have been translated in to two stream of works as follows:</a:t>
              </a:r>
            </a:p>
            <a:p>
              <a:pPr lvl="1" indent="0" defTabSz="914400" hangingPunct="0">
                <a:spcBef>
                  <a:spcPts val="600"/>
                </a:spcBef>
                <a:spcAft>
                  <a:spcPts val="600"/>
                </a:spcAft>
                <a:buClr>
                  <a:srgbClr val="86BC25"/>
                </a:buClr>
                <a:buSzTx/>
                <a:buNone/>
                <a:defRPr/>
              </a:pPr>
              <a:r>
                <a:rPr lang="en-US" sz="1000" dirty="0">
                  <a:solidFill>
                    <a:prstClr val="black"/>
                  </a:solidFill>
                  <a:latin typeface="+mn-lt"/>
                  <a:ea typeface="Open Sans Light" panose="020B0306030504020204" pitchFamily="34" charset="0"/>
                  <a:cs typeface="Open Sans Light" panose="020B0306030504020204" pitchFamily="34" charset="0"/>
                </a:rPr>
                <a:t>BCM Consultancy Services</a:t>
              </a:r>
            </a:p>
            <a:p>
              <a:pPr marL="276225" lvl="1" indent="-171450" defTabSz="914400" hangingPunct="0">
                <a:spcAft>
                  <a:spcPts val="600"/>
                </a:spcAft>
                <a:buClr>
                  <a:srgbClr val="86BC25"/>
                </a:buClr>
                <a:buSzTx/>
                <a:buFont typeface="Wingdings" panose="05000000000000000000" pitchFamily="2" charset="2"/>
                <a:buChar char="Ø"/>
                <a:defRPr/>
              </a:pPr>
              <a:r>
                <a:rPr lang="en-US" sz="1000" b="0" dirty="0">
                  <a:solidFill>
                    <a:prstClr val="black"/>
                  </a:solidFill>
                  <a:latin typeface="+mn-lt"/>
                  <a:ea typeface="Open Sans Light" panose="020B0306030504020204" pitchFamily="34" charset="0"/>
                  <a:cs typeface="Open Sans Light" panose="020B0306030504020204" pitchFamily="34" charset="0"/>
                </a:rPr>
                <a:t>Business Continuity Management system establishment, implementation, and performance measures.</a:t>
              </a:r>
            </a:p>
            <a:p>
              <a:pPr lvl="1" indent="0" defTabSz="914400" hangingPunct="0">
                <a:spcBef>
                  <a:spcPts val="600"/>
                </a:spcBef>
                <a:spcAft>
                  <a:spcPts val="600"/>
                </a:spcAft>
                <a:buClr>
                  <a:srgbClr val="86BC25"/>
                </a:buClr>
                <a:buSzTx/>
                <a:buNone/>
                <a:defRPr/>
              </a:pPr>
              <a:r>
                <a:rPr lang="en-US" sz="1000" dirty="0">
                  <a:solidFill>
                    <a:prstClr val="black"/>
                  </a:solidFill>
                  <a:latin typeface="+mn-lt"/>
                  <a:ea typeface="Open Sans Light" panose="020B0306030504020204" pitchFamily="34" charset="0"/>
                  <a:cs typeface="Open Sans Light" panose="020B0306030504020204" pitchFamily="34" charset="0"/>
                </a:rPr>
                <a:t>Business Continuity Advisory</a:t>
              </a:r>
            </a:p>
            <a:p>
              <a:pPr marL="276225" lvl="1" indent="-171450" defTabSz="914400" hangingPunct="0">
                <a:spcAft>
                  <a:spcPts val="600"/>
                </a:spcAft>
                <a:buClr>
                  <a:srgbClr val="86BC25"/>
                </a:buClr>
                <a:buSzTx/>
                <a:buFont typeface="Wingdings" panose="05000000000000000000" pitchFamily="2" charset="2"/>
                <a:buChar char="Ø"/>
                <a:defRPr/>
              </a:pPr>
              <a:r>
                <a:rPr lang="en-US" sz="1000" b="0" dirty="0">
                  <a:solidFill>
                    <a:prstClr val="black"/>
                  </a:solidFill>
                  <a:latin typeface="+mn-lt"/>
                  <a:ea typeface="Open Sans Light" panose="020B0306030504020204" pitchFamily="34" charset="0"/>
                  <a:cs typeface="Open Sans Light" panose="020B0306030504020204" pitchFamily="34" charset="0"/>
                </a:rPr>
                <a:t>Support with ongoing business continuity operations and maintenance through secondment of a BCM expert (6 months, extendable)</a:t>
              </a:r>
            </a:p>
          </p:txBody>
        </p:sp>
        <p:sp>
          <p:nvSpPr>
            <p:cNvPr id="80" name="Text Placeholder 8">
              <a:extLst>
                <a:ext uri="{FF2B5EF4-FFF2-40B4-BE49-F238E27FC236}">
                  <a16:creationId xmlns:a16="http://schemas.microsoft.com/office/drawing/2014/main" id="{CE6478C8-EC4A-677B-5CCF-B2EA47445358}"/>
                </a:ext>
              </a:extLst>
            </p:cNvPr>
            <p:cNvSpPr txBox="1">
              <a:spLocks/>
            </p:cNvSpPr>
            <p:nvPr/>
          </p:nvSpPr>
          <p:spPr>
            <a:xfrm>
              <a:off x="8406091" y="2702994"/>
              <a:ext cx="3017520" cy="341538"/>
            </a:xfrm>
            <a:prstGeom prst="rect">
              <a:avLst/>
            </a:prstGeom>
          </p:spPr>
          <p:txBody>
            <a:bodyPr vert="horz" lIns="0" tIns="0" rIns="0" bIns="0" rtlCol="0">
              <a:noAutofit/>
            </a:bodyPr>
            <a:lstStyle>
              <a:lvl1pPr marL="0" indent="0" algn="l" defTabSz="1216000" rtl="0" eaLnBrk="1" latinLnBrk="0" hangingPunct="1">
                <a:lnSpc>
                  <a:spcPct val="120000"/>
                </a:lnSpc>
                <a:spcBef>
                  <a:spcPts val="0"/>
                </a:spcBef>
                <a:spcAft>
                  <a:spcPts val="1197"/>
                </a:spcAft>
                <a:buSzPct val="100000"/>
                <a:buFont typeface="Arial" panose="020B0604020202020204" pitchFamily="34" charset="0"/>
                <a:buNone/>
                <a:defRPr sz="1396" b="1" kern="1200">
                  <a:solidFill>
                    <a:schemeClr val="accent1"/>
                  </a:solidFill>
                  <a:latin typeface="+mn-lt"/>
                  <a:ea typeface="+mn-ea"/>
                  <a:cs typeface="+mn-cs"/>
                </a:defRPr>
              </a:lvl1pPr>
              <a:lvl2pPr marL="0" indent="0" algn="l" defTabSz="1216000" rtl="0" eaLnBrk="1" latinLnBrk="0" hangingPunct="1">
                <a:spcBef>
                  <a:spcPts val="0"/>
                </a:spcBef>
                <a:spcAft>
                  <a:spcPts val="1330"/>
                </a:spcAft>
                <a:buClrTx/>
                <a:buSzPct val="100000"/>
                <a:buFont typeface="Arial"/>
                <a:buNone/>
                <a:defRPr lang="en-US" sz="1197" b="1" kern="1200" dirty="0" smtClean="0">
                  <a:solidFill>
                    <a:schemeClr val="tx1"/>
                  </a:solidFill>
                  <a:latin typeface="+mn-lt"/>
                  <a:ea typeface="+mn-ea"/>
                  <a:cs typeface="+mn-cs"/>
                </a:defRPr>
              </a:lvl2pPr>
              <a:lvl3pPr marL="234582" indent="-234582" algn="l" defTabSz="1216000" rtl="0" eaLnBrk="1" latinLnBrk="0" hangingPunct="1">
                <a:spcBef>
                  <a:spcPts val="0"/>
                </a:spcBef>
                <a:spcAft>
                  <a:spcPts val="1330"/>
                </a:spcAft>
                <a:buClrTx/>
                <a:buSzPct val="100000"/>
                <a:buFont typeface="Arial" panose="020B0604020202020204" pitchFamily="34" charset="0"/>
                <a:buChar char="•"/>
                <a:defRPr lang="en-US" sz="1197" kern="1200" dirty="0" smtClean="0">
                  <a:solidFill>
                    <a:schemeClr val="tx1"/>
                  </a:solidFill>
                  <a:latin typeface="+mn-lt"/>
                  <a:ea typeface="+mn-ea"/>
                  <a:cs typeface="+mn-cs"/>
                </a:defRPr>
              </a:lvl3pPr>
              <a:lvl4pPr marL="473953" indent="-234582" algn="l" defTabSz="1216000" rtl="0" eaLnBrk="1" latinLnBrk="0" hangingPunct="1">
                <a:spcBef>
                  <a:spcPts val="0"/>
                </a:spcBef>
                <a:spcAft>
                  <a:spcPts val="1330"/>
                </a:spcAft>
                <a:buClrTx/>
                <a:buSzPct val="100000"/>
                <a:buFont typeface="Verdana" panose="020B0604030504040204" pitchFamily="34" charset="0"/>
                <a:buChar char="−"/>
                <a:defRPr lang="en-US" sz="1197" kern="1200" baseline="0" dirty="0" smtClean="0">
                  <a:solidFill>
                    <a:schemeClr val="tx1"/>
                  </a:solidFill>
                  <a:latin typeface="+mn-lt"/>
                  <a:ea typeface="+mn-ea"/>
                  <a:cs typeface="+mn-cs"/>
                </a:defRPr>
              </a:lvl4pPr>
              <a:lvl5pPr marL="708535" indent="-234582" algn="l" defTabSz="1061889" rtl="0" eaLnBrk="1" latinLnBrk="0" hangingPunct="1">
                <a:spcBef>
                  <a:spcPts val="0"/>
                </a:spcBef>
                <a:spcAft>
                  <a:spcPts val="1330"/>
                </a:spcAft>
                <a:buClrTx/>
                <a:buSzPct val="100000"/>
                <a:buFont typeface="Verdana" panose="020B0604030504040204" pitchFamily="34" charset="0"/>
                <a:buChar char="−"/>
                <a:tabLst/>
                <a:defRPr lang="en-US" sz="1197" kern="1200" baseline="0" dirty="0" smtClean="0">
                  <a:solidFill>
                    <a:schemeClr val="tx1"/>
                  </a:solidFill>
                  <a:latin typeface="+mn-lt"/>
                  <a:ea typeface="+mn-ea"/>
                  <a:cs typeface="+mn-cs"/>
                </a:defRPr>
              </a:lvl5pPr>
              <a:lvl6pPr marL="708535" indent="-234582" algn="l" defTabSz="1216000" rtl="0" eaLnBrk="1" latinLnBrk="0" hangingPunct="1">
                <a:spcBef>
                  <a:spcPts val="0"/>
                </a:spcBef>
                <a:spcAft>
                  <a:spcPts val="1330"/>
                </a:spcAft>
                <a:buFont typeface="Verdana" panose="020B0604030504040204" pitchFamily="34" charset="0"/>
                <a:buChar char="−"/>
                <a:defRPr sz="1596" kern="1200" baseline="0">
                  <a:solidFill>
                    <a:schemeClr val="tx1"/>
                  </a:solidFill>
                  <a:latin typeface="+mn-lt"/>
                  <a:ea typeface="+mn-ea"/>
                  <a:cs typeface="+mn-cs"/>
                </a:defRPr>
              </a:lvl6pPr>
              <a:lvl7pPr marL="708535" indent="-234582" algn="l" defTabSz="1216000" rtl="0" eaLnBrk="1" latinLnBrk="0" hangingPunct="1">
                <a:spcBef>
                  <a:spcPts val="0"/>
                </a:spcBef>
                <a:spcAft>
                  <a:spcPts val="1330"/>
                </a:spcAft>
                <a:buFont typeface="Verdana" panose="020B0604030504040204" pitchFamily="34" charset="0"/>
                <a:buChar char="−"/>
                <a:defRPr sz="1596" kern="1200">
                  <a:solidFill>
                    <a:schemeClr val="tx1"/>
                  </a:solidFill>
                  <a:latin typeface="+mn-lt"/>
                  <a:ea typeface="+mn-ea"/>
                  <a:cs typeface="+mn-cs"/>
                </a:defRPr>
              </a:lvl7pPr>
              <a:lvl8pPr marL="708535" indent="-234582" algn="l" defTabSz="1216000" rtl="0" eaLnBrk="1" latinLnBrk="0" hangingPunct="1">
                <a:spcBef>
                  <a:spcPts val="0"/>
                </a:spcBef>
                <a:spcAft>
                  <a:spcPts val="1330"/>
                </a:spcAft>
                <a:buFont typeface="Verdana" panose="020B0604030504040204" pitchFamily="34" charset="0"/>
                <a:buChar char="−"/>
                <a:defRPr sz="1596" kern="1200" baseline="0">
                  <a:solidFill>
                    <a:schemeClr val="tx1"/>
                  </a:solidFill>
                  <a:latin typeface="+mn-lt"/>
                  <a:ea typeface="+mn-ea"/>
                  <a:cs typeface="+mn-cs"/>
                </a:defRPr>
              </a:lvl8pPr>
              <a:lvl9pPr marL="708535" indent="-234582" algn="l" defTabSz="1216000" rtl="0" eaLnBrk="1" latinLnBrk="0" hangingPunct="1">
                <a:spcBef>
                  <a:spcPts val="0"/>
                </a:spcBef>
                <a:spcAft>
                  <a:spcPts val="1330"/>
                </a:spcAft>
                <a:buFont typeface="Verdana" panose="020B0604030504040204" pitchFamily="34" charset="0"/>
                <a:buChar char="−"/>
                <a:defRPr sz="1596" kern="1200" baseline="0">
                  <a:solidFill>
                    <a:schemeClr val="tx1"/>
                  </a:solidFill>
                  <a:latin typeface="+mn-lt"/>
                  <a:ea typeface="+mn-ea"/>
                  <a:cs typeface="+mn-cs"/>
                </a:defRPr>
              </a:lvl9pPr>
            </a:lstStyle>
            <a:p>
              <a:pPr algn="l">
                <a:spcAft>
                  <a:spcPts val="900"/>
                </a:spcAft>
              </a:pPr>
              <a:r>
                <a:rPr lang="en-US" sz="1600">
                  <a:solidFill>
                    <a:sysClr val="windowText" lastClr="000000"/>
                  </a:solidFill>
                  <a:ea typeface="Verdana" panose="020B0604030504040204" pitchFamily="34" charset="0"/>
                  <a:cs typeface="Times New Roman" panose="02020603050405020304" pitchFamily="18" charset="0"/>
                </a:rPr>
                <a:t>Project Execution</a:t>
              </a:r>
              <a:endParaRPr lang="en-US" sz="1600" b="0" dirty="0">
                <a:solidFill>
                  <a:sysClr val="windowText" lastClr="000000"/>
                </a:solidFill>
                <a:ea typeface="Verdana" panose="020B0604030504040204" pitchFamily="34" charset="0"/>
                <a:cs typeface="Times New Roman" panose="02020603050405020304" pitchFamily="18" charset="0"/>
              </a:endParaRPr>
            </a:p>
          </p:txBody>
        </p:sp>
        <p:sp>
          <p:nvSpPr>
            <p:cNvPr id="81" name="Text Placeholder 2">
              <a:extLst>
                <a:ext uri="{FF2B5EF4-FFF2-40B4-BE49-F238E27FC236}">
                  <a16:creationId xmlns:a16="http://schemas.microsoft.com/office/drawing/2014/main" id="{ED1851B0-F324-C706-D26B-3AC0FA21BB13}"/>
                </a:ext>
              </a:extLst>
            </p:cNvPr>
            <p:cNvSpPr txBox="1">
              <a:spLocks/>
            </p:cNvSpPr>
            <p:nvPr/>
          </p:nvSpPr>
          <p:spPr>
            <a:xfrm>
              <a:off x="4755010" y="3001550"/>
              <a:ext cx="3040454" cy="3242953"/>
            </a:xfrm>
            <a:prstGeom prst="rect">
              <a:avLst/>
            </a:prstGeom>
          </p:spPr>
          <p:txBody>
            <a:bodyPr vert="horz" lIns="0" tIns="0" rIns="0" bIns="0" rtlCol="0">
              <a:normAutofit/>
            </a:bodyPr>
            <a:lstStyle>
              <a:lvl1pPr marL="0" indent="0" algn="l" defTabSz="685800" rtl="0" eaLnBrk="1" latinLnBrk="0" hangingPunct="1">
                <a:spcBef>
                  <a:spcPts val="0"/>
                </a:spcBef>
                <a:spcAft>
                  <a:spcPts val="750"/>
                </a:spcAft>
                <a:buSzPct val="100000"/>
                <a:buFontTx/>
                <a:buNone/>
                <a:defRPr sz="9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20000"/>
                </a:lnSpc>
                <a:spcBef>
                  <a:spcPts val="600"/>
                </a:spcBef>
                <a:spcAft>
                  <a:spcPts val="600"/>
                </a:spcAft>
                <a:buClr>
                  <a:srgbClr val="86BC25"/>
                </a:buClr>
                <a:buSzTx/>
                <a:defRPr/>
              </a:pPr>
              <a:r>
                <a:rPr lang="en-US" sz="1000" dirty="0">
                  <a:solidFill>
                    <a:prstClr val="black"/>
                  </a:solidFill>
                  <a:ea typeface="Open Sans Light" panose="020B0306030504020204" pitchFamily="34" charset="0"/>
                  <a:cs typeface="Open Sans Light" panose="020B0306030504020204" pitchFamily="34" charset="0"/>
                </a:rPr>
                <a:t>The objective is to develop and implement Business Continuity Management System (BCMS) to ensure the following:</a:t>
              </a:r>
            </a:p>
            <a:p>
              <a:pPr marL="276225" lvl="1" indent="-171450" defTabSz="914400" hangingPunct="0">
                <a:spcAft>
                  <a:spcPts val="600"/>
                </a:spcAft>
                <a:buClr>
                  <a:srgbClr val="86BC25"/>
                </a:buClr>
                <a:buSzTx/>
                <a:buFont typeface="Wingdings" panose="05000000000000000000" pitchFamily="2" charset="2"/>
                <a:buChar char="Ø"/>
                <a:defRPr/>
              </a:pPr>
              <a:r>
                <a:rPr lang="en-US" sz="1000" b="0" dirty="0">
                  <a:solidFill>
                    <a:prstClr val="black"/>
                  </a:solidFill>
                  <a:latin typeface="+mn-lt"/>
                  <a:ea typeface="Open Sans Light" panose="020B0306030504020204" pitchFamily="34" charset="0"/>
                  <a:cs typeface="Open Sans Light" panose="020B0306030504020204" pitchFamily="34" charset="0"/>
                </a:rPr>
                <a:t>organization's resilience to disruptions, protect stakeholder interests, and meet international standards and legal and regulatory requirements</a:t>
              </a:r>
            </a:p>
            <a:p>
              <a:pPr marL="276225" lvl="1" indent="-171450" defTabSz="914400" hangingPunct="0">
                <a:spcAft>
                  <a:spcPts val="600"/>
                </a:spcAft>
                <a:buClr>
                  <a:srgbClr val="86BC25"/>
                </a:buClr>
                <a:buSzTx/>
                <a:buFont typeface="Wingdings" panose="05000000000000000000" pitchFamily="2" charset="2"/>
                <a:buChar char="Ø"/>
                <a:defRPr/>
              </a:pPr>
              <a:r>
                <a:rPr lang="en-US" sz="1000" b="0" dirty="0">
                  <a:solidFill>
                    <a:prstClr val="black"/>
                  </a:solidFill>
                  <a:latin typeface="+mn-lt"/>
                  <a:ea typeface="Open Sans Light" panose="020B0306030504020204" pitchFamily="34" charset="0"/>
                  <a:cs typeface="Open Sans Light" panose="020B0306030504020204" pitchFamily="34" charset="0"/>
                </a:rPr>
                <a:t>Address organizational goals while addressing applicable regulatory requirements &amp; leading practices aligned with ISO 22301:2019 and other related standards</a:t>
              </a:r>
            </a:p>
            <a:p>
              <a:pPr marL="276225" lvl="1" indent="-171450" defTabSz="914400" hangingPunct="0">
                <a:spcAft>
                  <a:spcPts val="600"/>
                </a:spcAft>
                <a:buClr>
                  <a:srgbClr val="86BC25"/>
                </a:buClr>
                <a:buSzTx/>
                <a:buFont typeface="Wingdings" panose="05000000000000000000" pitchFamily="2" charset="2"/>
                <a:buChar char="Ø"/>
                <a:defRPr/>
              </a:pPr>
              <a:r>
                <a:rPr lang="en-US" sz="1000" b="0" dirty="0">
                  <a:solidFill>
                    <a:prstClr val="black"/>
                  </a:solidFill>
                  <a:latin typeface="+mn-lt"/>
                  <a:ea typeface="Open Sans Light" panose="020B0306030504020204" pitchFamily="34" charset="0"/>
                  <a:cs typeface="Open Sans Light" panose="020B0306030504020204" pitchFamily="34" charset="0"/>
                </a:rPr>
                <a:t>Provide trainings and awareness for All Salam employees about their roles in the BCMS that leads to gain the knowledge and ability to execute its plans.</a:t>
              </a:r>
            </a:p>
          </p:txBody>
        </p:sp>
      </p:grpSp>
    </p:spTree>
    <p:extLst>
      <p:ext uri="{BB962C8B-B14F-4D97-AF65-F5344CB8AC3E}">
        <p14:creationId xmlns:p14="http://schemas.microsoft.com/office/powerpoint/2010/main" val="1218059526"/>
      </p:ext>
    </p:extLst>
  </p:cSld>
  <p:clrMapOvr>
    <a:masterClrMapping/>
  </p:clrMapOvr>
  <p:transition spd="med"/>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34625A-4F50-4216-97E9-D8C18D7981AA}"/>
              </a:ext>
            </a:extLst>
          </p:cNvPr>
          <p:cNvSpPr>
            <a:spLocks noGrp="1"/>
          </p:cNvSpPr>
          <p:nvPr>
            <p:ph type="body" sz="quarter" idx="1"/>
          </p:nvPr>
        </p:nvSpPr>
        <p:spPr/>
        <p:txBody>
          <a:bodyPr/>
          <a:lstStyle/>
          <a:p>
            <a:r>
              <a:rPr kumimoji="0" lang="en-US" sz="1400" b="1" i="0" u="none" strike="noStrike" kern="1200" cap="none" spc="0" normalizeH="0" baseline="0" noProof="0" dirty="0">
                <a:ln>
                  <a:noFill/>
                </a:ln>
                <a:solidFill>
                  <a:srgbClr val="575757"/>
                </a:solidFill>
                <a:effectLst/>
                <a:uLnTx/>
                <a:uFillTx/>
                <a:latin typeface="+mn-lt"/>
                <a:ea typeface="Open Sans Light" panose="020B0306030504020204" pitchFamily="34" charset="0"/>
                <a:cs typeface="Open Sans Light" panose="020B0306030504020204" pitchFamily="34" charset="0"/>
              </a:rPr>
              <a:t>Our Purpose Pillars</a:t>
            </a:r>
          </a:p>
        </p:txBody>
      </p:sp>
      <p:sp>
        <p:nvSpPr>
          <p:cNvPr id="3" name="Title 2">
            <a:extLst>
              <a:ext uri="{FF2B5EF4-FFF2-40B4-BE49-F238E27FC236}">
                <a16:creationId xmlns:a16="http://schemas.microsoft.com/office/drawing/2014/main" id="{A3C6915B-73DD-4DB7-BF83-AC8365F75693}"/>
              </a:ext>
            </a:extLst>
          </p:cNvPr>
          <p:cNvSpPr>
            <a:spLocks noGrp="1"/>
          </p:cNvSpPr>
          <p:nvPr>
            <p:ph type="title"/>
          </p:nvPr>
        </p:nvSpPr>
        <p:spPr/>
        <p:txBody>
          <a:bodyPr/>
          <a:lstStyle/>
          <a:p>
            <a:r>
              <a:rPr lang="en-US" sz="2000">
                <a:solidFill>
                  <a:schemeClr val="tx2">
                    <a:lumMod val="50000"/>
                  </a:schemeClr>
                </a:solidFill>
                <a:latin typeface="+mn-lt"/>
                <a:ea typeface="Open Sans Semibold" panose="020B0706030804020204" pitchFamily="34" charset="0"/>
                <a:cs typeface="Open Sans Semibold" panose="020B0706030804020204" pitchFamily="34" charset="0"/>
              </a:rPr>
              <a:t>About Deloitte</a:t>
            </a:r>
            <a:endParaRPr lang="en-US">
              <a:solidFill>
                <a:schemeClr val="tx2">
                  <a:lumMod val="50000"/>
                </a:schemeClr>
              </a:solidFill>
              <a:latin typeface="+mn-lt"/>
              <a:ea typeface="Open Sans Semibold" panose="020B0706030804020204" pitchFamily="34" charset="0"/>
              <a:cs typeface="Open Sans Semibold" panose="020B0706030804020204" pitchFamily="34" charset="0"/>
            </a:endParaRPr>
          </a:p>
        </p:txBody>
      </p:sp>
      <p:sp>
        <p:nvSpPr>
          <p:cNvPr id="16" name="Rectangle 15">
            <a:extLst>
              <a:ext uri="{FF2B5EF4-FFF2-40B4-BE49-F238E27FC236}">
                <a16:creationId xmlns:a16="http://schemas.microsoft.com/office/drawing/2014/main" id="{E53E2C6E-4FC9-4665-8648-2EA1F716050C}"/>
              </a:ext>
            </a:extLst>
          </p:cNvPr>
          <p:cNvSpPr/>
          <p:nvPr/>
        </p:nvSpPr>
        <p:spPr bwMode="gray">
          <a:xfrm>
            <a:off x="798173" y="2785676"/>
            <a:ext cx="3541342" cy="3757260"/>
          </a:xfrm>
          <a:prstGeom prst="rect">
            <a:avLst/>
          </a:prstGeom>
          <a:solidFill>
            <a:sysClr val="window" lastClr="FFFFFF">
              <a:lumMod val="95000"/>
            </a:sysClr>
          </a:solidFill>
          <a:ln w="6350" algn="ctr">
            <a:noFill/>
            <a:miter lim="800000"/>
            <a:headEnd/>
            <a:tailEnd/>
          </a:ln>
        </p:spPr>
        <p:txBody>
          <a:bodyPr wrap="square" lIns="88900" tIns="88900" rIns="88900" bIns="88900" rtlCol="0" anchor="t"/>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GB" sz="1800" b="0" i="0" u="none" strike="noStrike" kern="1200" cap="none" spc="0" normalizeH="0" baseline="0" noProof="0">
                <a:ln>
                  <a:noFill/>
                </a:ln>
                <a:solidFill>
                  <a:srgbClr val="86BC2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eople</a:t>
            </a:r>
          </a:p>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GB" sz="14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ringing purpose to life for our people</a:t>
            </a:r>
          </a:p>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4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e believe our people are at their best when they connect their work to a greater cause. We want them to achieve their potential, understand their contribution and feel proud of their impact. And we want </a:t>
            </a:r>
            <a:r>
              <a:rPr kumimoji="0" lang="en-US" sz="1100" b="0"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 culture that encourages everyone to be themselves. </a:t>
            </a:r>
            <a:endPar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ur purpose is at the core of our people processes and experiences – from how and who we recruit and the ways in which we evaluate performance, to how we develop our future talent. </a:t>
            </a:r>
          </a:p>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e engage with our people to generate fresh ideas for how we can bring our purpose to life. We have also introduced training to embed it across the firm.</a:t>
            </a:r>
          </a:p>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 name="Rectangle 16">
            <a:extLst>
              <a:ext uri="{FF2B5EF4-FFF2-40B4-BE49-F238E27FC236}">
                <a16:creationId xmlns:a16="http://schemas.microsoft.com/office/drawing/2014/main" id="{4C32847B-BFBC-49F1-93DD-85E90AC38502}"/>
              </a:ext>
            </a:extLst>
          </p:cNvPr>
          <p:cNvSpPr/>
          <p:nvPr/>
        </p:nvSpPr>
        <p:spPr bwMode="gray">
          <a:xfrm>
            <a:off x="4582730" y="2785676"/>
            <a:ext cx="3461810" cy="3757260"/>
          </a:xfrm>
          <a:prstGeom prst="rect">
            <a:avLst/>
          </a:prstGeom>
          <a:solidFill>
            <a:sysClr val="window" lastClr="FFFFFF">
              <a:lumMod val="95000"/>
            </a:sysClr>
          </a:solidFill>
          <a:ln w="6350" algn="ctr">
            <a:noFill/>
            <a:miter lim="800000"/>
            <a:headEnd/>
            <a:tailEnd/>
          </a:ln>
        </p:spPr>
        <p:txBody>
          <a:bodyPr wrap="square" lIns="88900" tIns="88900" rIns="88900" bIns="88900" rtlCol="0" anchor="t"/>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GB" sz="1800" b="0" i="0" u="none" strike="noStrike" kern="1200" cap="none" spc="0" normalizeH="0" baseline="0" noProof="0">
                <a:ln>
                  <a:noFill/>
                </a:ln>
                <a:solidFill>
                  <a:srgbClr val="86BC2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lients</a:t>
            </a:r>
          </a:p>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GB" sz="14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iving our purpose with clients</a:t>
            </a:r>
          </a:p>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4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ur purpose is also central to our work with clients. We aim to:</a:t>
            </a:r>
          </a:p>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defTabSz="914400" eaLnBrk="1" fontAlgn="auto" latinLnBrk="0" hangingPunct="1">
              <a:lnSpc>
                <a:spcPct val="106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Serve with quality and distinction - tackling our clients’ most complex problems, making a measurable and attributable impact, and building trust in the entities we audit and in capital markets.</a:t>
            </a:r>
          </a:p>
          <a:p>
            <a:pPr marL="0" marR="0" lvl="0" indent="0" defTabSz="914400" eaLnBrk="1" fontAlgn="auto" latinLnBrk="0" hangingPunct="1">
              <a:lnSpc>
                <a:spcPct val="106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defTabSz="914400" eaLnBrk="1" fontAlgn="auto" latinLnBrk="0" hangingPunct="1">
              <a:lnSpc>
                <a:spcPct val="106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Lead the profession - by challenging ourselves to do what matters most, delivering innovative ideas that reflect our capabilities, and driving corporate reform in the public interest </a:t>
            </a:r>
          </a:p>
          <a:p>
            <a:pPr marL="0" marR="0" lvl="0" indent="0" defTabSz="914400" eaLnBrk="1" fontAlgn="auto" latinLnBrk="0" hangingPunct="1">
              <a:lnSpc>
                <a:spcPct val="106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defTabSz="914400" eaLnBrk="1" fontAlgn="auto" latinLnBrk="0" hangingPunct="1">
              <a:lnSpc>
                <a:spcPct val="106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Contribute to progress in society – acting in the public interest, upholding integrity, and supporting the community.</a:t>
            </a:r>
          </a:p>
          <a:p>
            <a:pPr marL="0" marR="0" lvl="0" indent="0" defTabSz="914400" eaLnBrk="1" fontAlgn="auto" latinLnBrk="0" hangingPunct="1">
              <a:lnSpc>
                <a:spcPct val="106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defTabSz="91440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8" name="Rectangle 17">
            <a:extLst>
              <a:ext uri="{FF2B5EF4-FFF2-40B4-BE49-F238E27FC236}">
                <a16:creationId xmlns:a16="http://schemas.microsoft.com/office/drawing/2014/main" id="{2789DBE0-D4ED-484A-9ED7-5D3714E393D9}"/>
              </a:ext>
            </a:extLst>
          </p:cNvPr>
          <p:cNvSpPr/>
          <p:nvPr/>
        </p:nvSpPr>
        <p:spPr bwMode="gray">
          <a:xfrm>
            <a:off x="8287754" y="2785676"/>
            <a:ext cx="3158066" cy="3757260"/>
          </a:xfrm>
          <a:prstGeom prst="rect">
            <a:avLst/>
          </a:prstGeom>
          <a:solidFill>
            <a:sysClr val="window" lastClr="FFFFFF">
              <a:lumMod val="95000"/>
            </a:sysClr>
          </a:solidFill>
          <a:ln w="6350" algn="ctr">
            <a:noFill/>
            <a:miter lim="800000"/>
            <a:headEnd/>
            <a:tailEnd/>
          </a:ln>
        </p:spPr>
        <p:txBody>
          <a:bodyPr wrap="square" lIns="88900" tIns="88900" rIns="88900" bIns="88900" rtlCol="0" anchor="t"/>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GB" sz="1800" b="0" i="0" u="none" strike="noStrike" kern="1200" cap="none" spc="0" normalizeH="0" baseline="0" noProof="0">
                <a:ln>
                  <a:noFill/>
                </a:ln>
                <a:solidFill>
                  <a:srgbClr val="86BC2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ociety</a:t>
            </a:r>
            <a:endParaRPr kumimoji="0" lang="en-GB" sz="1400" b="0" i="0" u="none" strike="noStrike" kern="1200" cap="none" spc="0" normalizeH="0" baseline="0" noProof="0">
              <a:ln>
                <a:noFill/>
              </a:ln>
              <a:solidFill>
                <a:srgbClr val="86BC25"/>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GB" sz="14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n impact that matters for society</a:t>
            </a:r>
          </a:p>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4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defTabSz="914400" eaLnBrk="1" fontAlgn="auto" latinLnBrk="0" hangingPunct="1">
              <a:lnSpc>
                <a:spcPct val="106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e want to make a positive impact on society through everything we do, as set out in our </a:t>
            </a:r>
            <a:r>
              <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hlinkClick r:id="rId2"/>
              </a:rPr>
              <a:t>Commitment to Responsible Business Practices</a:t>
            </a:r>
            <a:r>
              <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p>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hen it comes to our clients, quality and integrity underpin our work and our </a:t>
            </a:r>
            <a:r>
              <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hlinkClick r:id="rId3"/>
              </a:rPr>
              <a:t>Global Principles of Business Conduct </a:t>
            </a:r>
            <a:r>
              <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rticulate the high standards we strive to achieve. We are also guided by our </a:t>
            </a:r>
            <a:r>
              <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hlinkClick r:id="rId4"/>
              </a:rPr>
              <a:t>Ethics Code</a:t>
            </a:r>
            <a:r>
              <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p>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defTabSz="914400" eaLnBrk="1" fontAlgn="auto" latinLnBrk="0" hangingPunct="1">
              <a:lnSpc>
                <a:spcPct val="106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hrough our World</a:t>
            </a:r>
            <a:r>
              <a:rPr kumimoji="0" lang="en-GB" sz="11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lass</a:t>
            </a:r>
            <a:r>
              <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nd World</a:t>
            </a:r>
            <a:r>
              <a:rPr kumimoji="0" lang="en-GB" sz="11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limate</a:t>
            </a:r>
            <a:r>
              <a:rPr kumimoji="0" lang="en-GB"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initiatives, we are focusing our efforts to help address some of today’s most pressing challenges. </a:t>
            </a:r>
          </a:p>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9" name="Group 18">
            <a:extLst>
              <a:ext uri="{FF2B5EF4-FFF2-40B4-BE49-F238E27FC236}">
                <a16:creationId xmlns:a16="http://schemas.microsoft.com/office/drawing/2014/main" id="{49B0264D-60F3-4D4D-AB6F-65D9818993A5}"/>
              </a:ext>
            </a:extLst>
          </p:cNvPr>
          <p:cNvGrpSpPr/>
          <p:nvPr/>
        </p:nvGrpSpPr>
        <p:grpSpPr>
          <a:xfrm>
            <a:off x="1834030" y="1154373"/>
            <a:ext cx="1468096" cy="1462081"/>
            <a:chOff x="5188211" y="-486728"/>
            <a:chExt cx="3644900" cy="3657600"/>
          </a:xfrm>
        </p:grpSpPr>
        <p:pic>
          <p:nvPicPr>
            <p:cNvPr id="20" name="Picture 19">
              <a:extLst>
                <a:ext uri="{FF2B5EF4-FFF2-40B4-BE49-F238E27FC236}">
                  <a16:creationId xmlns:a16="http://schemas.microsoft.com/office/drawing/2014/main" id="{60F4A664-2713-4FCD-952F-E3EA458CE2D9}"/>
                </a:ext>
              </a:extLst>
            </p:cNvPr>
            <p:cNvPicPr>
              <a:picLocks noChangeAspect="1"/>
            </p:cNvPicPr>
            <p:nvPr/>
          </p:nvPicPr>
          <p:blipFill>
            <a:blip r:embed="rId5"/>
            <a:stretch>
              <a:fillRect/>
            </a:stretch>
          </p:blipFill>
          <p:spPr>
            <a:xfrm rot="497108">
              <a:off x="5188211" y="-486728"/>
              <a:ext cx="3644900" cy="3657600"/>
            </a:xfrm>
            <a:prstGeom prst="rect">
              <a:avLst/>
            </a:prstGeom>
          </p:spPr>
        </p:pic>
        <p:pic>
          <p:nvPicPr>
            <p:cNvPr id="21" name="Picture 20">
              <a:extLst>
                <a:ext uri="{FF2B5EF4-FFF2-40B4-BE49-F238E27FC236}">
                  <a16:creationId xmlns:a16="http://schemas.microsoft.com/office/drawing/2014/main" id="{35D11A45-42B8-4CF3-BE52-B56CD376E7DE}"/>
                </a:ext>
              </a:extLst>
            </p:cNvPr>
            <p:cNvPicPr>
              <a:picLocks noChangeAspect="1"/>
            </p:cNvPicPr>
            <p:nvPr/>
          </p:nvPicPr>
          <p:blipFill>
            <a:blip r:embed="rId6"/>
            <a:stretch>
              <a:fillRect/>
            </a:stretch>
          </p:blipFill>
          <p:spPr>
            <a:xfrm>
              <a:off x="5823211" y="154622"/>
              <a:ext cx="2374900" cy="2374900"/>
            </a:xfrm>
            <a:prstGeom prst="rect">
              <a:avLst/>
            </a:prstGeom>
          </p:spPr>
        </p:pic>
      </p:grpSp>
      <p:grpSp>
        <p:nvGrpSpPr>
          <p:cNvPr id="22" name="Group 21">
            <a:extLst>
              <a:ext uri="{FF2B5EF4-FFF2-40B4-BE49-F238E27FC236}">
                <a16:creationId xmlns:a16="http://schemas.microsoft.com/office/drawing/2014/main" id="{5C05F8C7-F059-4B3D-A7CE-AF74E0906961}"/>
              </a:ext>
            </a:extLst>
          </p:cNvPr>
          <p:cNvGrpSpPr/>
          <p:nvPr/>
        </p:nvGrpSpPr>
        <p:grpSpPr>
          <a:xfrm>
            <a:off x="5501653" y="1136488"/>
            <a:ext cx="1547980" cy="1497849"/>
            <a:chOff x="4273550" y="1600200"/>
            <a:chExt cx="3644900" cy="3657600"/>
          </a:xfrm>
        </p:grpSpPr>
        <p:pic>
          <p:nvPicPr>
            <p:cNvPr id="23" name="Picture 22">
              <a:extLst>
                <a:ext uri="{FF2B5EF4-FFF2-40B4-BE49-F238E27FC236}">
                  <a16:creationId xmlns:a16="http://schemas.microsoft.com/office/drawing/2014/main" id="{8680778E-4FB8-4901-9760-BA03FF001762}"/>
                </a:ext>
              </a:extLst>
            </p:cNvPr>
            <p:cNvPicPr>
              <a:picLocks noChangeAspect="1"/>
            </p:cNvPicPr>
            <p:nvPr/>
          </p:nvPicPr>
          <p:blipFill>
            <a:blip r:embed="rId7"/>
            <a:stretch>
              <a:fillRect/>
            </a:stretch>
          </p:blipFill>
          <p:spPr>
            <a:xfrm>
              <a:off x="4273550" y="1600200"/>
              <a:ext cx="3644900" cy="3657600"/>
            </a:xfrm>
            <a:prstGeom prst="rect">
              <a:avLst/>
            </a:prstGeom>
          </p:spPr>
        </p:pic>
        <p:pic>
          <p:nvPicPr>
            <p:cNvPr id="24" name="Picture 23">
              <a:extLst>
                <a:ext uri="{FF2B5EF4-FFF2-40B4-BE49-F238E27FC236}">
                  <a16:creationId xmlns:a16="http://schemas.microsoft.com/office/drawing/2014/main" id="{1C791E31-951D-4FE8-8E3C-4B52BF0EE2F7}"/>
                </a:ext>
              </a:extLst>
            </p:cNvPr>
            <p:cNvPicPr>
              <a:picLocks noChangeAspect="1"/>
            </p:cNvPicPr>
            <p:nvPr/>
          </p:nvPicPr>
          <p:blipFill>
            <a:blip r:embed="rId8"/>
            <a:stretch>
              <a:fillRect/>
            </a:stretch>
          </p:blipFill>
          <p:spPr>
            <a:xfrm>
              <a:off x="4908550" y="2241550"/>
              <a:ext cx="2374901" cy="2374899"/>
            </a:xfrm>
            <a:prstGeom prst="rect">
              <a:avLst/>
            </a:prstGeom>
          </p:spPr>
        </p:pic>
      </p:grpSp>
      <p:grpSp>
        <p:nvGrpSpPr>
          <p:cNvPr id="25" name="Group 24">
            <a:extLst>
              <a:ext uri="{FF2B5EF4-FFF2-40B4-BE49-F238E27FC236}">
                <a16:creationId xmlns:a16="http://schemas.microsoft.com/office/drawing/2014/main" id="{E4EDEB1D-3196-4D9C-9C47-D352CCDC624A}"/>
              </a:ext>
            </a:extLst>
          </p:cNvPr>
          <p:cNvGrpSpPr/>
          <p:nvPr/>
        </p:nvGrpSpPr>
        <p:grpSpPr>
          <a:xfrm>
            <a:off x="8995531" y="1136488"/>
            <a:ext cx="1504799" cy="1468274"/>
            <a:chOff x="8713779" y="330805"/>
            <a:chExt cx="2541633" cy="2532808"/>
          </a:xfrm>
        </p:grpSpPr>
        <p:pic>
          <p:nvPicPr>
            <p:cNvPr id="26" name="Picture 25">
              <a:extLst>
                <a:ext uri="{FF2B5EF4-FFF2-40B4-BE49-F238E27FC236}">
                  <a16:creationId xmlns:a16="http://schemas.microsoft.com/office/drawing/2014/main" id="{F9DB3BBC-0C49-43A7-8508-539ACFB6DF80}"/>
                </a:ext>
              </a:extLst>
            </p:cNvPr>
            <p:cNvPicPr>
              <a:picLocks noChangeAspect="1"/>
            </p:cNvPicPr>
            <p:nvPr/>
          </p:nvPicPr>
          <p:blipFill>
            <a:blip r:embed="rId9"/>
            <a:stretch>
              <a:fillRect/>
            </a:stretch>
          </p:blipFill>
          <p:spPr>
            <a:xfrm rot="21164518">
              <a:off x="8713779" y="330805"/>
              <a:ext cx="2541633" cy="2532808"/>
            </a:xfrm>
            <a:prstGeom prst="rect">
              <a:avLst/>
            </a:prstGeom>
          </p:spPr>
        </p:pic>
        <p:pic>
          <p:nvPicPr>
            <p:cNvPr id="27" name="Picture 26">
              <a:extLst>
                <a:ext uri="{FF2B5EF4-FFF2-40B4-BE49-F238E27FC236}">
                  <a16:creationId xmlns:a16="http://schemas.microsoft.com/office/drawing/2014/main" id="{95F8447F-5588-4FF5-A51A-389C497D88A8}"/>
                </a:ext>
              </a:extLst>
            </p:cNvPr>
            <p:cNvPicPr>
              <a:picLocks noChangeAspect="1"/>
            </p:cNvPicPr>
            <p:nvPr/>
          </p:nvPicPr>
          <p:blipFill>
            <a:blip r:embed="rId10"/>
            <a:stretch>
              <a:fillRect/>
            </a:stretch>
          </p:blipFill>
          <p:spPr>
            <a:xfrm>
              <a:off x="9159447" y="772061"/>
              <a:ext cx="1650296" cy="1650297"/>
            </a:xfrm>
            <a:prstGeom prst="rect">
              <a:avLst/>
            </a:prstGeom>
          </p:spPr>
        </p:pic>
      </p:grpSp>
    </p:spTree>
    <p:extLst>
      <p:ext uri="{BB962C8B-B14F-4D97-AF65-F5344CB8AC3E}">
        <p14:creationId xmlns:p14="http://schemas.microsoft.com/office/powerpoint/2010/main" val="3100116633"/>
      </p:ext>
    </p:extLst>
  </p:cSld>
  <p:clrMapOvr>
    <a:masterClrMapping/>
  </p:clrMapOvr>
  <p:transition spd="med"/>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2" name="Title 1"/>
          <p:cNvSpPr txBox="1">
            <a:spLocks noGrp="1"/>
          </p:cNvSpPr>
          <p:nvPr>
            <p:ph type="title"/>
          </p:nvPr>
        </p:nvSpPr>
        <p:spPr>
          <a:prstGeom prst="rect">
            <a:avLst/>
          </a:prstGeom>
        </p:spPr>
        <p:txBody>
          <a:bodyPr/>
          <a:lstStyle/>
          <a:p>
            <a:r>
              <a:rPr lang="en-US" dirty="0">
                <a:latin typeface="+mn-lt"/>
              </a:rPr>
              <a:t>Assumptions</a:t>
            </a:r>
            <a:endParaRPr dirty="0">
              <a:latin typeface="+mn-lt"/>
            </a:endParaRPr>
          </a:p>
        </p:txBody>
      </p:sp>
    </p:spTree>
    <p:extLst>
      <p:ext uri="{BB962C8B-B14F-4D97-AF65-F5344CB8AC3E}">
        <p14:creationId xmlns:p14="http://schemas.microsoft.com/office/powerpoint/2010/main" val="1677855615"/>
      </p:ext>
    </p:extLst>
  </p:cSld>
  <p:clrMapOvr>
    <a:masterClrMapping/>
  </p:clrMapOvr>
  <p:transition spd="slow">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CC93B7E7-8D0A-1A99-7EF2-95F71E057368}"/>
              </a:ext>
            </a:extLst>
          </p:cNvPr>
          <p:cNvSpPr txBox="1">
            <a:spLocks/>
          </p:cNvSpPr>
          <p:nvPr/>
        </p:nvSpPr>
        <p:spPr>
          <a:xfrm>
            <a:off x="397228" y="745186"/>
            <a:ext cx="9470432" cy="391302"/>
          </a:xfrm>
          <a:prstGeom prst="rect">
            <a:avLst/>
          </a:prstGeom>
          <a:noFill/>
        </p:spPr>
        <p:txBody>
          <a:bodyPr/>
          <a:lstStyle>
            <a:lvl1pPr marL="0" indent="0" algn="l" defTabSz="685800" rtl="0" eaLnBrk="1" latinLnBrk="0" hangingPunct="1">
              <a:spcBef>
                <a:spcPts val="0"/>
              </a:spcBef>
              <a:spcAft>
                <a:spcPts val="750"/>
              </a:spcAft>
              <a:buSzPct val="100000"/>
              <a:buFontTx/>
              <a:buNone/>
              <a:defRPr sz="2100" b="0" kern="1200">
                <a:solidFill>
                  <a:schemeClr val="tx2"/>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lang="en-US" sz="1400" b="1" dirty="0">
                <a:solidFill>
                  <a:srgbClr val="575757"/>
                </a:solidFill>
                <a:ea typeface="Open Sans Light" panose="020B0306030504020204" pitchFamily="34" charset="0"/>
                <a:cs typeface="Open Sans Light" panose="020B0306030504020204" pitchFamily="34" charset="0"/>
              </a:rPr>
              <a:t>General Assumptions (1/3)</a:t>
            </a:r>
          </a:p>
        </p:txBody>
      </p:sp>
      <p:sp>
        <p:nvSpPr>
          <p:cNvPr id="3" name="Title 2">
            <a:extLst>
              <a:ext uri="{FF2B5EF4-FFF2-40B4-BE49-F238E27FC236}">
                <a16:creationId xmlns:a16="http://schemas.microsoft.com/office/drawing/2014/main" id="{349E825D-7E80-8FCA-A82E-1A57A034F362}"/>
              </a:ext>
            </a:extLst>
          </p:cNvPr>
          <p:cNvSpPr>
            <a:spLocks noGrp="1"/>
          </p:cNvSpPr>
          <p:nvPr>
            <p:ph type="title"/>
          </p:nvPr>
        </p:nvSpPr>
        <p:spPr>
          <a:xfrm>
            <a:off x="475013" y="353883"/>
            <a:ext cx="9470433" cy="391302"/>
          </a:xfrm>
        </p:spPr>
        <p:txBody>
          <a:bodyPr>
            <a:normAutofit/>
          </a:bodyPr>
          <a:lstStyle/>
          <a:p>
            <a:r>
              <a:rPr lang="en-US" dirty="0">
                <a:solidFill>
                  <a:schemeClr val="tx2">
                    <a:lumMod val="50000"/>
                  </a:schemeClr>
                </a:solidFill>
                <a:latin typeface="+mn-lt"/>
              </a:rPr>
              <a:t>Assumptions</a:t>
            </a:r>
          </a:p>
        </p:txBody>
      </p:sp>
      <p:graphicFrame>
        <p:nvGraphicFramePr>
          <p:cNvPr id="4" name="Table 3">
            <a:extLst>
              <a:ext uri="{FF2B5EF4-FFF2-40B4-BE49-F238E27FC236}">
                <a16:creationId xmlns:a16="http://schemas.microsoft.com/office/drawing/2014/main" id="{830EC1A2-A855-F9C1-F2B7-B7A96BD51DB1}"/>
              </a:ext>
            </a:extLst>
          </p:cNvPr>
          <p:cNvGraphicFramePr>
            <a:graphicFrameLocks noGrp="1"/>
          </p:cNvGraphicFramePr>
          <p:nvPr>
            <p:extLst>
              <p:ext uri="{D42A27DB-BD31-4B8C-83A1-F6EECF244321}">
                <p14:modId xmlns:p14="http://schemas.microsoft.com/office/powerpoint/2010/main" val="62475604"/>
              </p:ext>
            </p:extLst>
          </p:nvPr>
        </p:nvGraphicFramePr>
        <p:xfrm>
          <a:off x="478257" y="1048225"/>
          <a:ext cx="11369614" cy="5455892"/>
        </p:xfrm>
        <a:graphic>
          <a:graphicData uri="http://schemas.openxmlformats.org/drawingml/2006/table">
            <a:tbl>
              <a:tblPr firstRow="1" firstCol="1" bandRow="1">
                <a:tableStyleId>{073A0DAA-6AF3-43AB-8588-CEC1D06C72B9}</a:tableStyleId>
              </a:tblPr>
              <a:tblGrid>
                <a:gridCol w="1453641">
                  <a:extLst>
                    <a:ext uri="{9D8B030D-6E8A-4147-A177-3AD203B41FA5}">
                      <a16:colId xmlns:a16="http://schemas.microsoft.com/office/drawing/2014/main" val="4069256536"/>
                    </a:ext>
                  </a:extLst>
                </a:gridCol>
                <a:gridCol w="9915973">
                  <a:extLst>
                    <a:ext uri="{9D8B030D-6E8A-4147-A177-3AD203B41FA5}">
                      <a16:colId xmlns:a16="http://schemas.microsoft.com/office/drawing/2014/main" val="2953027966"/>
                    </a:ext>
                  </a:extLst>
                </a:gridCol>
              </a:tblGrid>
              <a:tr h="456072">
                <a:tc>
                  <a:txBody>
                    <a:bodyPr/>
                    <a:lstStyle/>
                    <a:p>
                      <a:pPr marL="0" marR="0" algn="l">
                        <a:lnSpc>
                          <a:spcPct val="107000"/>
                        </a:lnSpc>
                        <a:spcBef>
                          <a:spcPts val="0"/>
                        </a:spcBef>
                        <a:spcAft>
                          <a:spcPts val="0"/>
                        </a:spcAft>
                      </a:pPr>
                      <a:r>
                        <a:rPr lang="en-GB" sz="1000" dirty="0">
                          <a:effectLst/>
                          <a:latin typeface="+mn-lt"/>
                          <a:ea typeface="Open Sans Light" panose="020B0306030504020204" pitchFamily="34" charset="0"/>
                          <a:cs typeface="Open Sans Light" panose="020B0306030504020204" pitchFamily="34" charset="0"/>
                        </a:rPr>
                        <a:t>CONTRACT TERMS AND CONDITIONS </a:t>
                      </a:r>
                      <a:endParaRPr lang="en-US" sz="1000" dirty="0">
                        <a:effectLst/>
                        <a:latin typeface="+mn-lt"/>
                        <a:ea typeface="Open Sans Light" panose="020B0306030504020204" pitchFamily="34" charset="0"/>
                        <a:cs typeface="Open Sans Light" panose="020B0306030504020204" pitchFamily="34" charset="0"/>
                      </a:endParaRPr>
                    </a:p>
                  </a:txBody>
                  <a:tcPr anchor="ctr">
                    <a:solidFill>
                      <a:schemeClr val="accent1"/>
                    </a:solidFill>
                  </a:tcPr>
                </a:tc>
                <a:tc>
                  <a:txBody>
                    <a:bodyPr/>
                    <a:lstStyle/>
                    <a:p>
                      <a:pPr marL="0" marR="0" algn="just">
                        <a:lnSpc>
                          <a:spcPct val="107000"/>
                        </a:lnSpc>
                        <a:spcBef>
                          <a:spcPts val="0"/>
                        </a:spcBef>
                        <a:spcAft>
                          <a:spcPts val="0"/>
                        </a:spcAft>
                      </a:pPr>
                      <a:r>
                        <a:rPr lang="en-GB" sz="1000" b="0">
                          <a:solidFill>
                            <a:sysClr val="windowText" lastClr="000000"/>
                          </a:solidFill>
                          <a:effectLst/>
                          <a:latin typeface="+mn-lt"/>
                          <a:ea typeface="Open Sans Light" panose="020B0306030504020204" pitchFamily="34" charset="0"/>
                          <a:cs typeface="Open Sans Light" panose="020B0306030504020204" pitchFamily="34" charset="0"/>
                        </a:rPr>
                        <a:t>Deloitte proposal submission is conditional without any liability, upon the parties agreeing mutual favourable terms and conditions within 30 days upon Deloitte being awarded the project.</a:t>
                      </a:r>
                      <a:endParaRPr lang="en-US" sz="1000" b="0">
                        <a:solidFill>
                          <a:sysClr val="windowText" lastClr="000000"/>
                        </a:solidFill>
                        <a:effectLst/>
                        <a:latin typeface="+mn-lt"/>
                        <a:ea typeface="Open Sans Light" panose="020B0306030504020204" pitchFamily="34" charset="0"/>
                        <a:cs typeface="Open Sans Light" panose="020B0306030504020204" pitchFamily="34" charset="0"/>
                      </a:endParaRPr>
                    </a:p>
                  </a:txBody>
                  <a:tcPr anchor="ctr">
                    <a:solidFill>
                      <a:schemeClr val="bg1">
                        <a:lumMod val="95000"/>
                      </a:schemeClr>
                    </a:solidFill>
                  </a:tcPr>
                </a:tc>
                <a:extLst>
                  <a:ext uri="{0D108BD9-81ED-4DB2-BD59-A6C34878D82A}">
                    <a16:rowId xmlns:a16="http://schemas.microsoft.com/office/drawing/2014/main" val="1151891399"/>
                  </a:ext>
                </a:extLst>
              </a:tr>
              <a:tr h="1182393">
                <a:tc>
                  <a:txBody>
                    <a:bodyPr/>
                    <a:lstStyle/>
                    <a:p>
                      <a:pPr marL="0" marR="0" algn="l">
                        <a:lnSpc>
                          <a:spcPct val="107000"/>
                        </a:lnSpc>
                        <a:spcBef>
                          <a:spcPts val="0"/>
                        </a:spcBef>
                        <a:spcAft>
                          <a:spcPts val="0"/>
                        </a:spcAft>
                      </a:pPr>
                      <a:r>
                        <a:rPr lang="en-GB" sz="1000">
                          <a:effectLst/>
                          <a:latin typeface="+mn-lt"/>
                          <a:ea typeface="Open Sans Light" panose="020B0306030504020204" pitchFamily="34" charset="0"/>
                          <a:cs typeface="Open Sans Light" panose="020B0306030504020204" pitchFamily="34" charset="0"/>
                        </a:rPr>
                        <a:t>DELOITTE ENTITY CLAUSE (“DTTL”)</a:t>
                      </a:r>
                      <a:endParaRPr lang="en-US" sz="1000">
                        <a:effectLst/>
                        <a:latin typeface="+mn-lt"/>
                        <a:ea typeface="Open Sans Light" panose="020B0306030504020204" pitchFamily="34" charset="0"/>
                        <a:cs typeface="Open Sans Light" panose="020B0306030504020204" pitchFamily="34" charset="0"/>
                      </a:endParaRPr>
                    </a:p>
                    <a:p>
                      <a:pPr marL="0" marR="0" algn="l">
                        <a:lnSpc>
                          <a:spcPct val="107000"/>
                        </a:lnSpc>
                        <a:spcBef>
                          <a:spcPts val="0"/>
                        </a:spcBef>
                        <a:spcAft>
                          <a:spcPts val="0"/>
                        </a:spcAft>
                      </a:pPr>
                      <a:r>
                        <a:rPr lang="en-GB" sz="1000">
                          <a:effectLst/>
                          <a:latin typeface="+mn-lt"/>
                          <a:ea typeface="Open Sans Light" panose="020B0306030504020204" pitchFamily="34" charset="0"/>
                          <a:cs typeface="Open Sans Light" panose="020B0306030504020204" pitchFamily="34" charset="0"/>
                        </a:rPr>
                        <a:t> </a:t>
                      </a:r>
                      <a:endParaRPr lang="en-US" sz="1000">
                        <a:effectLst/>
                        <a:latin typeface="+mn-lt"/>
                        <a:ea typeface="Open Sans Light" panose="020B0306030504020204" pitchFamily="34" charset="0"/>
                        <a:cs typeface="Open Sans Light" panose="020B0306030504020204" pitchFamily="34" charset="0"/>
                      </a:endParaRPr>
                    </a:p>
                  </a:txBody>
                  <a:tcPr anchor="ctr">
                    <a:solidFill>
                      <a:schemeClr val="accent1"/>
                    </a:solidFill>
                  </a:tcPr>
                </a:tc>
                <a:tc>
                  <a:txBody>
                    <a:bodyPr/>
                    <a:lstStyle/>
                    <a:p>
                      <a:pPr marL="0" marR="0" algn="just">
                        <a:lnSpc>
                          <a:spcPct val="107000"/>
                        </a:lnSpc>
                        <a:spcBef>
                          <a:spcPts val="0"/>
                        </a:spcBef>
                        <a:spcAft>
                          <a:spcPts val="0"/>
                        </a:spcAft>
                      </a:pPr>
                      <a:r>
                        <a:rPr lang="en-GB" sz="1000" dirty="0">
                          <a:solidFill>
                            <a:schemeClr val="tx2">
                              <a:lumMod val="50000"/>
                            </a:schemeClr>
                          </a:solidFill>
                          <a:effectLst/>
                          <a:latin typeface="+mn-lt"/>
                          <a:ea typeface="Open Sans Light" panose="020B0306030504020204" pitchFamily="34" charset="0"/>
                          <a:cs typeface="Open Sans Light" panose="020B0306030504020204" pitchFamily="34" charset="0"/>
                        </a:rPr>
                        <a:t>Deloitte Touche Tohmatsu Limited (“DTTL”), is a UK private company limited by guarantee. DTTL and each of the DTTL member firms, their subsidiaries, predecessors, successors, assignees and subcontractors and all partners, associate partners, members, owners, directors, employees and agents of all such entities (hereinafter collectively “D&amp;T Parties”) are separate and independent legal entities, which cannot obligate, bind or act on behalf of each other. Each DTTL member firm renders services in a particular geographic area and jurisdiction and is subject to the laws and professional regulations of the particular country or countries in which it operates. DTTL itself does not render services to clients. DTTL and each DTTL member firm are liable only for their own acts or omissions and not those of each other. This Agreement is solely between the Client and Deloitte &amp; Touche (M.E.)  (“Deloitte”). </a:t>
                      </a:r>
                      <a:endParaRPr lang="en-US" sz="1000" dirty="0">
                        <a:solidFill>
                          <a:schemeClr val="tx2">
                            <a:lumMod val="50000"/>
                          </a:schemeClr>
                        </a:solidFill>
                        <a:effectLst/>
                        <a:latin typeface="+mn-lt"/>
                        <a:ea typeface="Open Sans Light" panose="020B0306030504020204" pitchFamily="34" charset="0"/>
                        <a:cs typeface="Open Sans Light" panose="020B0306030504020204" pitchFamily="34" charset="0"/>
                      </a:endParaRPr>
                    </a:p>
                  </a:txBody>
                  <a:tcPr anchor="ctr">
                    <a:solidFill>
                      <a:schemeClr val="bg1">
                        <a:lumMod val="95000"/>
                      </a:schemeClr>
                    </a:solidFill>
                  </a:tcPr>
                </a:tc>
                <a:extLst>
                  <a:ext uri="{0D108BD9-81ED-4DB2-BD59-A6C34878D82A}">
                    <a16:rowId xmlns:a16="http://schemas.microsoft.com/office/drawing/2014/main" val="1802499818"/>
                  </a:ext>
                </a:extLst>
              </a:tr>
              <a:tr h="1545553">
                <a:tc>
                  <a:txBody>
                    <a:bodyPr/>
                    <a:lstStyle/>
                    <a:p>
                      <a:pPr marL="0" marR="0" algn="l">
                        <a:lnSpc>
                          <a:spcPct val="107000"/>
                        </a:lnSpc>
                        <a:spcBef>
                          <a:spcPts val="0"/>
                        </a:spcBef>
                        <a:spcAft>
                          <a:spcPts val="0"/>
                        </a:spcAft>
                      </a:pPr>
                      <a:r>
                        <a:rPr lang="en-GB" sz="1000">
                          <a:effectLst/>
                          <a:latin typeface="+mn-lt"/>
                          <a:ea typeface="Open Sans Light" panose="020B0306030504020204" pitchFamily="34" charset="0"/>
                          <a:cs typeface="Open Sans Light" panose="020B0306030504020204" pitchFamily="34" charset="0"/>
                        </a:rPr>
                        <a:t>INTERNAL USE &amp; THIRD-PARTY LIABILITY</a:t>
                      </a:r>
                      <a:endParaRPr lang="en-US" sz="1000">
                        <a:effectLst/>
                        <a:latin typeface="+mn-lt"/>
                        <a:ea typeface="Open Sans Light" panose="020B0306030504020204" pitchFamily="34" charset="0"/>
                        <a:cs typeface="Open Sans Light" panose="020B0306030504020204" pitchFamily="34" charset="0"/>
                      </a:endParaRPr>
                    </a:p>
                  </a:txBody>
                  <a:tcPr anchor="ctr">
                    <a:solidFill>
                      <a:schemeClr val="accent1"/>
                    </a:solidFill>
                  </a:tcPr>
                </a:tc>
                <a:tc>
                  <a:txBody>
                    <a:bodyPr/>
                    <a:lstStyle/>
                    <a:p>
                      <a:pPr marL="0" marR="0" algn="just">
                        <a:lnSpc>
                          <a:spcPct val="107000"/>
                        </a:lnSpc>
                        <a:spcBef>
                          <a:spcPts val="0"/>
                        </a:spcBef>
                        <a:spcAft>
                          <a:spcPts val="0"/>
                        </a:spcAft>
                      </a:pPr>
                      <a:r>
                        <a:rPr lang="en-GB" sz="1000" dirty="0">
                          <a:solidFill>
                            <a:schemeClr val="tx2">
                              <a:lumMod val="50000"/>
                            </a:schemeClr>
                          </a:solidFill>
                          <a:effectLst/>
                          <a:latin typeface="+mn-lt"/>
                          <a:ea typeface="Open Sans Light" panose="020B0306030504020204" pitchFamily="34" charset="0"/>
                          <a:cs typeface="Open Sans Light" panose="020B0306030504020204" pitchFamily="34" charset="0"/>
                        </a:rPr>
                        <a:t>Services may include advice and recommendations provided by Deloitte, but all decisions in connection with the implementation of such advice and recommendations shall be the responsibility of, and made by, the Client. Deliverables are supplied on the basis that they are for the sole internal use of the Client and for the exclusive purpose set out therein. Deloitte shall not be liable for any loss, damages, costs or expenses directly or indirectly incurred by any party other than the Client who may rely upon the Deliverables for whatsoever reason. Any advice, recommendation, report, certificate, schedule or other Deliverable arising from or in connection with the Services under this Agreement will be for the sole use of the Client.  No person other than the Client shall be entitled to make use of any Deliverable, unless this has been agreed to in writing between the Parties, in advance, and subject to terms agreed between the Parties. Any such advice, recommendation, report, certificate, schedule or other Deliverable is based on the particular facts and circumstances of the Client at a particular point in time. Consequently, such advice, recommendation, report, certificate, schedule or other Deliverable may not be relevant to another Party or at a different time and under different circumstances..</a:t>
                      </a:r>
                      <a:endParaRPr lang="en-US" sz="1000" dirty="0">
                        <a:solidFill>
                          <a:schemeClr val="tx2">
                            <a:lumMod val="50000"/>
                          </a:schemeClr>
                        </a:solidFill>
                        <a:effectLst/>
                        <a:latin typeface="+mn-lt"/>
                        <a:ea typeface="Open Sans Light" panose="020B0306030504020204" pitchFamily="34" charset="0"/>
                        <a:cs typeface="Open Sans Light" panose="020B0306030504020204" pitchFamily="34" charset="0"/>
                      </a:endParaRPr>
                    </a:p>
                  </a:txBody>
                  <a:tcPr anchor="ctr">
                    <a:solidFill>
                      <a:schemeClr val="bg1">
                        <a:lumMod val="95000"/>
                      </a:schemeClr>
                    </a:solidFill>
                  </a:tcPr>
                </a:tc>
                <a:extLst>
                  <a:ext uri="{0D108BD9-81ED-4DB2-BD59-A6C34878D82A}">
                    <a16:rowId xmlns:a16="http://schemas.microsoft.com/office/drawing/2014/main" val="2821774893"/>
                  </a:ext>
                </a:extLst>
              </a:tr>
              <a:tr h="2271874">
                <a:tc>
                  <a:txBody>
                    <a:bodyPr/>
                    <a:lstStyle/>
                    <a:p>
                      <a:pPr marL="0" marR="0" algn="l">
                        <a:lnSpc>
                          <a:spcPct val="107000"/>
                        </a:lnSpc>
                        <a:spcBef>
                          <a:spcPts val="0"/>
                        </a:spcBef>
                        <a:spcAft>
                          <a:spcPts val="0"/>
                        </a:spcAft>
                      </a:pPr>
                      <a:r>
                        <a:rPr lang="en-GB" sz="1000" dirty="0">
                          <a:effectLst/>
                          <a:latin typeface="+mn-lt"/>
                          <a:ea typeface="Open Sans Light" panose="020B0306030504020204" pitchFamily="34" charset="0"/>
                          <a:cs typeface="Open Sans Light" panose="020B0306030504020204" pitchFamily="34" charset="0"/>
                        </a:rPr>
                        <a:t>CLIENT RESPONSIBILITY</a:t>
                      </a:r>
                      <a:endParaRPr lang="en-US" sz="1000" dirty="0">
                        <a:effectLst/>
                        <a:latin typeface="+mn-lt"/>
                        <a:ea typeface="Open Sans Light" panose="020B0306030504020204" pitchFamily="34" charset="0"/>
                        <a:cs typeface="Open Sans Light" panose="020B0306030504020204" pitchFamily="34" charset="0"/>
                      </a:endParaRPr>
                    </a:p>
                  </a:txBody>
                  <a:tcPr anchor="ctr">
                    <a:solidFill>
                      <a:schemeClr val="accent1"/>
                    </a:solidFill>
                  </a:tcPr>
                </a:tc>
                <a:tc>
                  <a:txBody>
                    <a:bodyPr/>
                    <a:lstStyle/>
                    <a:p>
                      <a:pPr marL="0" marR="0" algn="just">
                        <a:lnSpc>
                          <a:spcPct val="107000"/>
                        </a:lnSpc>
                        <a:spcBef>
                          <a:spcPts val="0"/>
                        </a:spcBef>
                        <a:spcAft>
                          <a:spcPts val="0"/>
                        </a:spcAft>
                      </a:pPr>
                      <a:r>
                        <a:rPr lang="en-GB" sz="1000" dirty="0">
                          <a:solidFill>
                            <a:schemeClr val="tx2">
                              <a:lumMod val="50000"/>
                            </a:schemeClr>
                          </a:solidFill>
                          <a:effectLst/>
                          <a:latin typeface="+mn-lt"/>
                          <a:ea typeface="Open Sans Light" panose="020B0306030504020204" pitchFamily="34" charset="0"/>
                          <a:cs typeface="Open Sans Light" panose="020B0306030504020204" pitchFamily="34" charset="0"/>
                        </a:rPr>
                        <a:t>The Client and related parties, e.g., hardware/software providers or Internet Service Providers, shall cooperate with Deloitte in the performance by Deloitte of the Services, including, without limitation, providing Deloitte with reasonable facilities and timely access to data, information and personnel of the Client. The Client shall be responsible for the performance of its personnel and agents and for the accuracy and completeness of all data and information provided to Deloitte for purposes of the performance by Deloitte of the Services.  The Client acknowledges and agrees that Deloitte’s performance is dependent upon the timely and effective satisfaction of the Client’s responsibilities hereunder and timely decisions and approvals of the Client in connection with the Services.  Deloitte shall be entitled to rely on all decisions and approvals of the Client.  The Client shall be solely responsible for, among other things:  </a:t>
                      </a:r>
                      <a:endParaRPr lang="en-US" sz="1000" dirty="0">
                        <a:solidFill>
                          <a:schemeClr val="tx2">
                            <a:lumMod val="50000"/>
                          </a:schemeClr>
                        </a:solidFill>
                        <a:effectLst/>
                        <a:latin typeface="+mn-lt"/>
                        <a:ea typeface="Open Sans Light" panose="020B0306030504020204" pitchFamily="34" charset="0"/>
                        <a:cs typeface="Open Sans Light" panose="020B0306030504020204" pitchFamily="34" charset="0"/>
                      </a:endParaRPr>
                    </a:p>
                    <a:p>
                      <a:pPr marL="342900" marR="0" lvl="0" indent="-342900" algn="just">
                        <a:lnSpc>
                          <a:spcPct val="107000"/>
                        </a:lnSpc>
                        <a:spcBef>
                          <a:spcPts val="0"/>
                        </a:spcBef>
                        <a:spcAft>
                          <a:spcPts val="0"/>
                        </a:spcAft>
                        <a:buFont typeface="Verdana" panose="020B0604030504040204" pitchFamily="34" charset="0"/>
                        <a:buChar char="-"/>
                      </a:pPr>
                      <a:r>
                        <a:rPr lang="en-GB" sz="1000" dirty="0">
                          <a:solidFill>
                            <a:schemeClr val="tx2">
                              <a:lumMod val="50000"/>
                            </a:schemeClr>
                          </a:solidFill>
                          <a:effectLst/>
                          <a:latin typeface="+mn-lt"/>
                          <a:ea typeface="Open Sans Light" panose="020B0306030504020204" pitchFamily="34" charset="0"/>
                          <a:cs typeface="Open Sans Light" panose="020B0306030504020204" pitchFamily="34" charset="0"/>
                        </a:rPr>
                        <a:t>making all management decisions and performing all management functions.  </a:t>
                      </a:r>
                      <a:endParaRPr lang="en-US" sz="1000" dirty="0">
                        <a:solidFill>
                          <a:schemeClr val="tx2">
                            <a:lumMod val="50000"/>
                          </a:schemeClr>
                        </a:solidFill>
                        <a:effectLst/>
                        <a:latin typeface="+mn-lt"/>
                        <a:ea typeface="Open Sans Light" panose="020B0306030504020204" pitchFamily="34" charset="0"/>
                        <a:cs typeface="Open Sans Light" panose="020B0306030504020204" pitchFamily="34" charset="0"/>
                      </a:endParaRPr>
                    </a:p>
                    <a:p>
                      <a:pPr marL="342900" marR="0" lvl="0" indent="-342900" algn="just">
                        <a:lnSpc>
                          <a:spcPct val="107000"/>
                        </a:lnSpc>
                        <a:spcBef>
                          <a:spcPts val="0"/>
                        </a:spcBef>
                        <a:spcAft>
                          <a:spcPts val="0"/>
                        </a:spcAft>
                        <a:buFont typeface="Verdana" panose="020B0604030504040204" pitchFamily="34" charset="0"/>
                        <a:buChar char="-"/>
                      </a:pPr>
                      <a:r>
                        <a:rPr lang="en-GB" sz="1000" dirty="0">
                          <a:solidFill>
                            <a:schemeClr val="tx2">
                              <a:lumMod val="50000"/>
                            </a:schemeClr>
                          </a:solidFill>
                          <a:effectLst/>
                          <a:latin typeface="+mn-lt"/>
                          <a:ea typeface="Open Sans Light" panose="020B0306030504020204" pitchFamily="34" charset="0"/>
                          <a:cs typeface="Open Sans Light" panose="020B0306030504020204" pitchFamily="34" charset="0"/>
                        </a:rPr>
                        <a:t>designating a competent management member to oversee the Services.  </a:t>
                      </a:r>
                      <a:endParaRPr lang="en-US" sz="1000" dirty="0">
                        <a:solidFill>
                          <a:schemeClr val="tx2">
                            <a:lumMod val="50000"/>
                          </a:schemeClr>
                        </a:solidFill>
                        <a:effectLst/>
                        <a:latin typeface="+mn-lt"/>
                        <a:ea typeface="Open Sans Light" panose="020B0306030504020204" pitchFamily="34" charset="0"/>
                        <a:cs typeface="Open Sans Light" panose="020B0306030504020204" pitchFamily="34" charset="0"/>
                      </a:endParaRPr>
                    </a:p>
                    <a:p>
                      <a:pPr marL="342900" marR="0" lvl="0" indent="-342900" algn="just">
                        <a:lnSpc>
                          <a:spcPct val="107000"/>
                        </a:lnSpc>
                        <a:spcBef>
                          <a:spcPts val="0"/>
                        </a:spcBef>
                        <a:spcAft>
                          <a:spcPts val="0"/>
                        </a:spcAft>
                        <a:buFont typeface="Verdana" panose="020B0604030504040204" pitchFamily="34" charset="0"/>
                        <a:buChar char="-"/>
                      </a:pPr>
                      <a:r>
                        <a:rPr lang="en-GB" sz="1000" dirty="0">
                          <a:solidFill>
                            <a:schemeClr val="tx2">
                              <a:lumMod val="50000"/>
                            </a:schemeClr>
                          </a:solidFill>
                          <a:effectLst/>
                          <a:latin typeface="+mn-lt"/>
                          <a:ea typeface="Open Sans Light" panose="020B0306030504020204" pitchFamily="34" charset="0"/>
                          <a:cs typeface="Open Sans Light" panose="020B0306030504020204" pitchFamily="34" charset="0"/>
                        </a:rPr>
                        <a:t>evaluating the adequacy and results of the Services and accepting responsibility for the results of the Services.  </a:t>
                      </a:r>
                      <a:endParaRPr lang="en-US" sz="1000" dirty="0">
                        <a:solidFill>
                          <a:schemeClr val="tx2">
                            <a:lumMod val="50000"/>
                          </a:schemeClr>
                        </a:solidFill>
                        <a:effectLst/>
                        <a:latin typeface="+mn-lt"/>
                        <a:ea typeface="Open Sans Light" panose="020B0306030504020204" pitchFamily="34" charset="0"/>
                        <a:cs typeface="Open Sans Light" panose="020B0306030504020204" pitchFamily="34" charset="0"/>
                      </a:endParaRPr>
                    </a:p>
                    <a:p>
                      <a:pPr marL="342900" marR="0" lvl="0" indent="-342900" algn="just">
                        <a:lnSpc>
                          <a:spcPct val="107000"/>
                        </a:lnSpc>
                        <a:spcBef>
                          <a:spcPts val="0"/>
                        </a:spcBef>
                        <a:spcAft>
                          <a:spcPts val="0"/>
                        </a:spcAft>
                        <a:buFont typeface="Verdana" panose="020B0604030504040204" pitchFamily="34" charset="0"/>
                        <a:buChar char="-"/>
                      </a:pPr>
                      <a:r>
                        <a:rPr lang="en-GB" sz="1000" dirty="0">
                          <a:solidFill>
                            <a:schemeClr val="tx2">
                              <a:lumMod val="50000"/>
                            </a:schemeClr>
                          </a:solidFill>
                          <a:effectLst/>
                          <a:latin typeface="+mn-lt"/>
                          <a:ea typeface="Open Sans Light" panose="020B0306030504020204" pitchFamily="34" charset="0"/>
                          <a:cs typeface="Open Sans Light" panose="020B0306030504020204" pitchFamily="34" charset="0"/>
                        </a:rPr>
                        <a:t>establishing and maintaining internal controls, including, without limitation, monitoring ongoing activities; and</a:t>
                      </a:r>
                      <a:endParaRPr lang="en-US" sz="1000" dirty="0">
                        <a:solidFill>
                          <a:schemeClr val="tx2">
                            <a:lumMod val="50000"/>
                          </a:schemeClr>
                        </a:solidFill>
                        <a:effectLst/>
                        <a:latin typeface="+mn-lt"/>
                        <a:ea typeface="Open Sans Light" panose="020B0306030504020204" pitchFamily="34" charset="0"/>
                        <a:cs typeface="Open Sans Light" panose="020B0306030504020204" pitchFamily="34" charset="0"/>
                      </a:endParaRPr>
                    </a:p>
                    <a:p>
                      <a:pPr marL="342900" marR="0" lvl="0" indent="-342900" algn="just">
                        <a:lnSpc>
                          <a:spcPct val="107000"/>
                        </a:lnSpc>
                        <a:spcBef>
                          <a:spcPts val="0"/>
                        </a:spcBef>
                        <a:spcAft>
                          <a:spcPts val="0"/>
                        </a:spcAft>
                        <a:buFont typeface="Verdana" panose="020B0604030504040204" pitchFamily="34" charset="0"/>
                        <a:buChar char="-"/>
                      </a:pPr>
                      <a:r>
                        <a:rPr lang="en-GB" sz="1000" dirty="0">
                          <a:solidFill>
                            <a:schemeClr val="tx2">
                              <a:lumMod val="50000"/>
                            </a:schemeClr>
                          </a:solidFill>
                          <a:effectLst/>
                          <a:latin typeface="+mn-lt"/>
                          <a:ea typeface="Open Sans Light" panose="020B0306030504020204" pitchFamily="34" charset="0"/>
                          <a:cs typeface="Open Sans Light" panose="020B0306030504020204" pitchFamily="34" charset="0"/>
                        </a:rPr>
                        <a:t>providing Deloitte with correct and accurate information, data, form or any other required to complete its Services, as Deloitte will carry no liability for any incorrect information provided by the Client. </a:t>
                      </a:r>
                      <a:endParaRPr lang="en-US" sz="1000" dirty="0">
                        <a:solidFill>
                          <a:schemeClr val="tx2">
                            <a:lumMod val="50000"/>
                          </a:schemeClr>
                        </a:solidFill>
                        <a:effectLst/>
                        <a:latin typeface="+mn-lt"/>
                        <a:ea typeface="Open Sans Light" panose="020B0306030504020204" pitchFamily="34" charset="0"/>
                        <a:cs typeface="Open Sans Light" panose="020B0306030504020204" pitchFamily="34" charset="0"/>
                      </a:endParaRPr>
                    </a:p>
                  </a:txBody>
                  <a:tcPr anchor="ctr">
                    <a:solidFill>
                      <a:schemeClr val="bg1">
                        <a:lumMod val="95000"/>
                      </a:schemeClr>
                    </a:solidFill>
                  </a:tcPr>
                </a:tc>
                <a:extLst>
                  <a:ext uri="{0D108BD9-81ED-4DB2-BD59-A6C34878D82A}">
                    <a16:rowId xmlns:a16="http://schemas.microsoft.com/office/drawing/2014/main" val="3772154138"/>
                  </a:ext>
                </a:extLst>
              </a:tr>
            </a:tbl>
          </a:graphicData>
        </a:graphic>
      </p:graphicFrame>
    </p:spTree>
    <p:extLst>
      <p:ext uri="{BB962C8B-B14F-4D97-AF65-F5344CB8AC3E}">
        <p14:creationId xmlns:p14="http://schemas.microsoft.com/office/powerpoint/2010/main" val="2225119885"/>
      </p:ext>
    </p:extLst>
  </p:cSld>
  <p:clrMapOvr>
    <a:masterClrMapping/>
  </p:clrMapOvr>
  <p:transition spd="med"/>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9AE7BA3-E382-37AF-A4D7-457B619974F4}"/>
              </a:ext>
            </a:extLst>
          </p:cNvPr>
          <p:cNvGraphicFramePr>
            <a:graphicFrameLocks noGrp="1"/>
          </p:cNvGraphicFramePr>
          <p:nvPr>
            <p:extLst>
              <p:ext uri="{D42A27DB-BD31-4B8C-83A1-F6EECF244321}">
                <p14:modId xmlns:p14="http://schemas.microsoft.com/office/powerpoint/2010/main" val="1978164488"/>
              </p:ext>
            </p:extLst>
          </p:nvPr>
        </p:nvGraphicFramePr>
        <p:xfrm>
          <a:off x="475013" y="1045149"/>
          <a:ext cx="11369614" cy="5458968"/>
        </p:xfrm>
        <a:graphic>
          <a:graphicData uri="http://schemas.openxmlformats.org/drawingml/2006/table">
            <a:tbl>
              <a:tblPr firstRow="1" firstCol="1" bandRow="1">
                <a:tableStyleId>{073A0DAA-6AF3-43AB-8588-CEC1D06C72B9}</a:tableStyleId>
              </a:tblPr>
              <a:tblGrid>
                <a:gridCol w="1453641">
                  <a:extLst>
                    <a:ext uri="{9D8B030D-6E8A-4147-A177-3AD203B41FA5}">
                      <a16:colId xmlns:a16="http://schemas.microsoft.com/office/drawing/2014/main" val="4069256536"/>
                    </a:ext>
                  </a:extLst>
                </a:gridCol>
                <a:gridCol w="9915973">
                  <a:extLst>
                    <a:ext uri="{9D8B030D-6E8A-4147-A177-3AD203B41FA5}">
                      <a16:colId xmlns:a16="http://schemas.microsoft.com/office/drawing/2014/main" val="2953027966"/>
                    </a:ext>
                  </a:extLst>
                </a:gridCol>
              </a:tblGrid>
              <a:tr h="1814365">
                <a:tc>
                  <a:txBody>
                    <a:bodyPr/>
                    <a:lstStyle/>
                    <a:p>
                      <a:pPr marL="0" marR="0" algn="l">
                        <a:lnSpc>
                          <a:spcPct val="107000"/>
                        </a:lnSpc>
                        <a:spcBef>
                          <a:spcPts val="0"/>
                        </a:spcBef>
                        <a:spcAft>
                          <a:spcPts val="0"/>
                        </a:spcAft>
                      </a:pPr>
                      <a:r>
                        <a:rPr lang="en-GB" sz="1000" dirty="0">
                          <a:effectLst/>
                          <a:latin typeface="+mn-lt"/>
                          <a:ea typeface="Open Sans Light" panose="020B0306030504020204" pitchFamily="34" charset="0"/>
                          <a:cs typeface="Open Sans Light" panose="020B0306030504020204" pitchFamily="34" charset="0"/>
                        </a:rPr>
                        <a:t>SUBCONTRACTING / MEMBER FIRMS (if applicable)</a:t>
                      </a:r>
                      <a:endParaRPr lang="en-US" sz="1000" dirty="0">
                        <a:effectLst/>
                        <a:latin typeface="+mn-lt"/>
                        <a:ea typeface="Open Sans Light" panose="020B0306030504020204" pitchFamily="34" charset="0"/>
                        <a:cs typeface="Open Sans Light" panose="020B0306030504020204" pitchFamily="34" charset="0"/>
                      </a:endParaRPr>
                    </a:p>
                  </a:txBody>
                  <a:tcPr anchor="ctr">
                    <a:solidFill>
                      <a:schemeClr val="accent1"/>
                    </a:solidFill>
                  </a:tcPr>
                </a:tc>
                <a:tc>
                  <a:txBody>
                    <a:bodyPr/>
                    <a:lstStyle/>
                    <a:p>
                      <a:pPr marL="0" marR="0" algn="just">
                        <a:lnSpc>
                          <a:spcPct val="107000"/>
                        </a:lnSpc>
                        <a:spcBef>
                          <a:spcPts val="0"/>
                        </a:spcBef>
                        <a:spcAft>
                          <a:spcPts val="0"/>
                        </a:spcAft>
                      </a:pPr>
                      <a:r>
                        <a:rPr lang="en-GB" sz="1000" b="0" dirty="0">
                          <a:solidFill>
                            <a:schemeClr val="tx2">
                              <a:lumMod val="50000"/>
                            </a:schemeClr>
                          </a:solidFill>
                          <a:effectLst/>
                          <a:latin typeface="+mn-lt"/>
                          <a:ea typeface="Open Sans Light" panose="020B0306030504020204" pitchFamily="34" charset="0"/>
                          <a:cs typeface="Open Sans Light" panose="020B0306030504020204" pitchFamily="34" charset="0"/>
                        </a:rPr>
                        <a:t>Deloitte may, from time to time in its sole discretion, subcontract external companies to provide resources to Deloitte, to enable  Deloitte to fulfil its obligations under this engagement.  For purposes of this engagement, Personnel of such a subcontractor would be included in the Personnel of  Deloitte.  </a:t>
                      </a:r>
                      <a:endParaRPr lang="en-US" sz="1000" b="0" dirty="0">
                        <a:solidFill>
                          <a:schemeClr val="tx2">
                            <a:lumMod val="50000"/>
                          </a:schemeClr>
                        </a:solidFill>
                        <a:effectLst/>
                        <a:latin typeface="+mn-lt"/>
                        <a:ea typeface="Open Sans Light" panose="020B0306030504020204" pitchFamily="34" charset="0"/>
                        <a:cs typeface="Open Sans Light" panose="020B0306030504020204" pitchFamily="34" charset="0"/>
                      </a:endParaRPr>
                    </a:p>
                    <a:p>
                      <a:pPr marL="0" marR="0" algn="just">
                        <a:lnSpc>
                          <a:spcPct val="107000"/>
                        </a:lnSpc>
                        <a:spcBef>
                          <a:spcPts val="0"/>
                        </a:spcBef>
                        <a:spcAft>
                          <a:spcPts val="0"/>
                        </a:spcAft>
                      </a:pPr>
                      <a:r>
                        <a:rPr lang="en-GB" sz="1000" b="0" dirty="0">
                          <a:solidFill>
                            <a:schemeClr val="tx2">
                              <a:lumMod val="50000"/>
                            </a:schemeClr>
                          </a:solidFill>
                          <a:effectLst/>
                          <a:latin typeface="+mn-lt"/>
                          <a:ea typeface="Open Sans Light" panose="020B0306030504020204" pitchFamily="34" charset="0"/>
                          <a:cs typeface="Open Sans Light" panose="020B0306030504020204" pitchFamily="34" charset="0"/>
                        </a:rPr>
                        <a:t>In the event of another D&amp;T Party providing resources to  Deloitte for the Project, such D&amp;T Party would, for the purposes of this engagement, be considered a subcontractor to  Deloitte without a need for the Client prior written consent. Notwithstanding the fact that certain Services under the engagement may be carried out by Personnel provided to Deloitte from other D&amp;T Parties through service or other internal agreements, the Client agrees that none of the D&amp;T Parties (except Deloitte Contracting Party) will have any liability to the Client and that the Client will not bring any claim or proceedings of any nature (whether in contract, delict, breach of statutory duty or otherwise and including, but not limited to, a claim for negligence) in any way in respect of or in connection with this engagement against any of the D&amp;T Parties (except Deloitte contracting party) nor against any subcontractors that Deloitte may use to render the Services.</a:t>
                      </a:r>
                      <a:endParaRPr lang="en-US" sz="1000" b="0" dirty="0">
                        <a:solidFill>
                          <a:schemeClr val="tx2">
                            <a:lumMod val="50000"/>
                          </a:schemeClr>
                        </a:solidFill>
                        <a:effectLst/>
                        <a:latin typeface="+mn-lt"/>
                        <a:ea typeface="Open Sans Light" panose="020B0306030504020204" pitchFamily="34" charset="0"/>
                        <a:cs typeface="Open Sans Light" panose="020B0306030504020204" pitchFamily="34" charset="0"/>
                      </a:endParaRPr>
                    </a:p>
                  </a:txBody>
                  <a:tcPr anchor="ctr">
                    <a:solidFill>
                      <a:schemeClr val="bg1">
                        <a:lumMod val="95000"/>
                      </a:schemeClr>
                    </a:solidFill>
                  </a:tcPr>
                </a:tc>
                <a:extLst>
                  <a:ext uri="{0D108BD9-81ED-4DB2-BD59-A6C34878D82A}">
                    <a16:rowId xmlns:a16="http://schemas.microsoft.com/office/drawing/2014/main" val="1657499350"/>
                  </a:ext>
                </a:extLst>
              </a:tr>
              <a:tr h="2020895">
                <a:tc>
                  <a:txBody>
                    <a:bodyPr/>
                    <a:lstStyle/>
                    <a:p>
                      <a:pPr marL="0" marR="0" algn="l">
                        <a:lnSpc>
                          <a:spcPct val="107000"/>
                        </a:lnSpc>
                        <a:spcBef>
                          <a:spcPts val="0"/>
                        </a:spcBef>
                        <a:spcAft>
                          <a:spcPts val="0"/>
                        </a:spcAft>
                      </a:pPr>
                      <a:r>
                        <a:rPr lang="en-GB" sz="1000" dirty="0">
                          <a:effectLst/>
                          <a:latin typeface="+mn-lt"/>
                          <a:ea typeface="Open Sans Light" panose="020B0306030504020204" pitchFamily="34" charset="0"/>
                          <a:cs typeface="Open Sans Light" panose="020B0306030504020204" pitchFamily="34" charset="0"/>
                        </a:rPr>
                        <a:t>TRANSFER OF CONFIDENTIAL &amp; PERSONAL INFORMATION</a:t>
                      </a:r>
                      <a:endParaRPr lang="en-US" sz="1000" dirty="0">
                        <a:effectLst/>
                        <a:latin typeface="+mn-lt"/>
                        <a:ea typeface="Open Sans Light" panose="020B0306030504020204" pitchFamily="34" charset="0"/>
                        <a:cs typeface="Open Sans Light" panose="020B0306030504020204" pitchFamily="34" charset="0"/>
                      </a:endParaRPr>
                    </a:p>
                    <a:p>
                      <a:pPr marL="0" marR="0" algn="l">
                        <a:lnSpc>
                          <a:spcPct val="107000"/>
                        </a:lnSpc>
                        <a:spcBef>
                          <a:spcPts val="0"/>
                        </a:spcBef>
                        <a:spcAft>
                          <a:spcPts val="0"/>
                        </a:spcAft>
                      </a:pPr>
                      <a:r>
                        <a:rPr lang="en-GB" sz="1000" dirty="0">
                          <a:effectLst/>
                          <a:latin typeface="+mn-lt"/>
                          <a:ea typeface="Open Sans Light" panose="020B0306030504020204" pitchFamily="34" charset="0"/>
                          <a:cs typeface="Open Sans Light" panose="020B0306030504020204" pitchFamily="34" charset="0"/>
                        </a:rPr>
                        <a:t> </a:t>
                      </a:r>
                      <a:endParaRPr lang="en-US" sz="1000" dirty="0">
                        <a:effectLst/>
                        <a:latin typeface="+mn-lt"/>
                        <a:ea typeface="Open Sans Light" panose="020B0306030504020204" pitchFamily="34" charset="0"/>
                        <a:cs typeface="Open Sans Light" panose="020B0306030504020204" pitchFamily="34" charset="0"/>
                      </a:endParaRPr>
                    </a:p>
                  </a:txBody>
                  <a:tcPr anchor="ctr">
                    <a:solidFill>
                      <a:schemeClr val="accent1"/>
                    </a:solidFill>
                  </a:tcPr>
                </a:tc>
                <a:tc>
                  <a:txBody>
                    <a:bodyPr/>
                    <a:lstStyle/>
                    <a:p>
                      <a:pPr marL="0" marR="0" algn="just">
                        <a:lnSpc>
                          <a:spcPct val="107000"/>
                        </a:lnSpc>
                        <a:spcBef>
                          <a:spcPts val="0"/>
                        </a:spcBef>
                        <a:spcAft>
                          <a:spcPts val="0"/>
                        </a:spcAft>
                      </a:pPr>
                      <a:r>
                        <a:rPr lang="en-GB" sz="1000" dirty="0">
                          <a:solidFill>
                            <a:schemeClr val="tx2">
                              <a:lumMod val="50000"/>
                            </a:schemeClr>
                          </a:solidFill>
                          <a:effectLst/>
                          <a:latin typeface="+mn-lt"/>
                          <a:ea typeface="Open Sans Light" panose="020B0306030504020204" pitchFamily="34" charset="0"/>
                          <a:cs typeface="Open Sans Light" panose="020B0306030504020204" pitchFamily="34" charset="0"/>
                        </a:rPr>
                        <a:t>Notwithstanding any other term in the Client Request for Proposal, the Client Group’s management acting on behalf of its shareholders provide their consent ,by issuance of the Request for Proposal, for Deloitte to transfer the Group’s information to other members of the Deloitte Network, third parties or contractors providing administrative, infrastructure and other support services for the needs of our completion and submission of the Request for Proposal, and to store and process any information received, wherever located within or outside of Abu Dhabi and Dubai, in the United Arab Emirate. In this respect, members of the Deloitte Network and third parties are bound by similar confidentiality, privacy and data security obligations (“Confidentiality and Privacy Obligations”) to those contained in this Request for Proposal. In addition, such members of the Deloitte Network and third parties will keep all data confidential and private and will be shared with their employees/ management/ partners/ agents/ officers/ members strictly on a need to know basis (“Authorized Recipient”). The Authorized Recipients are also bound by similar Confidentiality and Privacy Obligations. The Client and Deloitte shall both be solely responsible for its own breach of Confidentiality and Privacy obligations including that of its Authorized Recipient. The above provision constitutes an express written consent from the Group’s management acting on behalf of its shareholders regarding the transfer of the Group’s information to the abovementioned third parties.</a:t>
                      </a:r>
                      <a:endParaRPr lang="en-US" sz="1000" dirty="0">
                        <a:solidFill>
                          <a:schemeClr val="tx2">
                            <a:lumMod val="50000"/>
                          </a:schemeClr>
                        </a:solidFill>
                        <a:effectLst/>
                        <a:latin typeface="+mn-lt"/>
                        <a:ea typeface="Open Sans Light" panose="020B0306030504020204" pitchFamily="34" charset="0"/>
                        <a:cs typeface="Open Sans Light" panose="020B0306030504020204" pitchFamily="34" charset="0"/>
                      </a:endParaRPr>
                    </a:p>
                  </a:txBody>
                  <a:tcPr anchor="ctr">
                    <a:solidFill>
                      <a:schemeClr val="bg1">
                        <a:lumMod val="95000"/>
                      </a:schemeClr>
                    </a:solidFill>
                  </a:tcPr>
                </a:tc>
                <a:extLst>
                  <a:ext uri="{0D108BD9-81ED-4DB2-BD59-A6C34878D82A}">
                    <a16:rowId xmlns:a16="http://schemas.microsoft.com/office/drawing/2014/main" val="306957685"/>
                  </a:ext>
                </a:extLst>
              </a:tr>
              <a:tr h="1623708">
                <a:tc>
                  <a:txBody>
                    <a:bodyPr/>
                    <a:lstStyle/>
                    <a:p>
                      <a:pPr marL="0" marR="0" algn="l">
                        <a:lnSpc>
                          <a:spcPct val="107000"/>
                        </a:lnSpc>
                        <a:spcBef>
                          <a:spcPts val="0"/>
                        </a:spcBef>
                        <a:spcAft>
                          <a:spcPts val="0"/>
                        </a:spcAft>
                      </a:pPr>
                      <a:r>
                        <a:rPr lang="en-GB" sz="1000" dirty="0">
                          <a:effectLst/>
                          <a:latin typeface="+mn-lt"/>
                          <a:ea typeface="Open Sans Light" panose="020B0306030504020204" pitchFamily="34" charset="0"/>
                          <a:cs typeface="Open Sans Light" panose="020B0306030504020204" pitchFamily="34" charset="0"/>
                        </a:rPr>
                        <a:t>INDEPENDENCE</a:t>
                      </a:r>
                      <a:endParaRPr lang="en-US" sz="1000" dirty="0">
                        <a:effectLst/>
                        <a:latin typeface="+mn-lt"/>
                        <a:ea typeface="Open Sans Light" panose="020B0306030504020204" pitchFamily="34" charset="0"/>
                        <a:cs typeface="Open Sans Light" panose="020B0306030504020204" pitchFamily="34" charset="0"/>
                      </a:endParaRPr>
                    </a:p>
                    <a:p>
                      <a:pPr marL="0" marR="0" algn="l">
                        <a:lnSpc>
                          <a:spcPct val="107000"/>
                        </a:lnSpc>
                        <a:spcBef>
                          <a:spcPts val="0"/>
                        </a:spcBef>
                        <a:spcAft>
                          <a:spcPts val="0"/>
                        </a:spcAft>
                      </a:pPr>
                      <a:r>
                        <a:rPr lang="en-GB" sz="1000" dirty="0">
                          <a:effectLst/>
                          <a:latin typeface="+mn-lt"/>
                          <a:ea typeface="Open Sans Light" panose="020B0306030504020204" pitchFamily="34" charset="0"/>
                          <a:cs typeface="Open Sans Light" panose="020B0306030504020204" pitchFamily="34" charset="0"/>
                        </a:rPr>
                        <a:t> </a:t>
                      </a:r>
                      <a:endParaRPr lang="en-US" sz="1000" dirty="0">
                        <a:effectLst/>
                        <a:latin typeface="+mn-lt"/>
                        <a:ea typeface="Open Sans Light" panose="020B0306030504020204" pitchFamily="34" charset="0"/>
                        <a:cs typeface="Open Sans Light" panose="020B0306030504020204" pitchFamily="34" charset="0"/>
                      </a:endParaRPr>
                    </a:p>
                  </a:txBody>
                  <a:tcPr anchor="ctr">
                    <a:solidFill>
                      <a:schemeClr val="accent1"/>
                    </a:solidFill>
                  </a:tcPr>
                </a:tc>
                <a:tc>
                  <a:txBody>
                    <a:bodyPr/>
                    <a:lstStyle/>
                    <a:p>
                      <a:pPr marL="0" marR="0" algn="just">
                        <a:lnSpc>
                          <a:spcPct val="107000"/>
                        </a:lnSpc>
                        <a:spcBef>
                          <a:spcPts val="0"/>
                        </a:spcBef>
                        <a:spcAft>
                          <a:spcPts val="0"/>
                        </a:spcAft>
                      </a:pPr>
                      <a:r>
                        <a:rPr lang="en-GB" sz="1000" dirty="0">
                          <a:solidFill>
                            <a:schemeClr val="tx2">
                              <a:lumMod val="50000"/>
                            </a:schemeClr>
                          </a:solidFill>
                          <a:effectLst/>
                          <a:latin typeface="+mn-lt"/>
                          <a:ea typeface="Open Sans Light" panose="020B0306030504020204" pitchFamily="34" charset="0"/>
                          <a:cs typeface="Open Sans Light" panose="020B0306030504020204" pitchFamily="34" charset="0"/>
                        </a:rPr>
                        <a:t>Deloitte is required to maintain, and to be seen to maintain, its independence as auditors when rendering non-audit services to, and forming business relationships with, audit clients. Deloitte is therefore prohibited from rendering certain consulting services or forming business relationships which may result in a Conflict of Interest or a lack of Independence for Deloitte. Please note that Deloitte will not perform any professional services until the results of any internal Client and Engagement Acceptance procedures have been completed, including Conflict and Background Checks and approval from the audit committee. Deloitte reserves the right, without any liability, to withdraw from this opportunity in the event that any conflict of interest or independence issues arise as a result of the Client and Engagement Acceptance procedures.</a:t>
                      </a:r>
                      <a:endParaRPr lang="en-US" sz="1000" dirty="0">
                        <a:solidFill>
                          <a:schemeClr val="tx2">
                            <a:lumMod val="50000"/>
                          </a:schemeClr>
                        </a:solidFill>
                        <a:effectLst/>
                        <a:latin typeface="+mn-lt"/>
                        <a:ea typeface="Open Sans Light" panose="020B0306030504020204" pitchFamily="34" charset="0"/>
                        <a:cs typeface="Open Sans Light" panose="020B0306030504020204" pitchFamily="34" charset="0"/>
                      </a:endParaRPr>
                    </a:p>
                  </a:txBody>
                  <a:tcPr anchor="ctr">
                    <a:solidFill>
                      <a:schemeClr val="bg1">
                        <a:lumMod val="95000"/>
                      </a:schemeClr>
                    </a:solidFill>
                  </a:tcPr>
                </a:tc>
                <a:extLst>
                  <a:ext uri="{0D108BD9-81ED-4DB2-BD59-A6C34878D82A}">
                    <a16:rowId xmlns:a16="http://schemas.microsoft.com/office/drawing/2014/main" val="538435321"/>
                  </a:ext>
                </a:extLst>
              </a:tr>
            </a:tbl>
          </a:graphicData>
        </a:graphic>
      </p:graphicFrame>
      <p:sp>
        <p:nvSpPr>
          <p:cNvPr id="7" name="Text Placeholder 3">
            <a:extLst>
              <a:ext uri="{FF2B5EF4-FFF2-40B4-BE49-F238E27FC236}">
                <a16:creationId xmlns:a16="http://schemas.microsoft.com/office/drawing/2014/main" id="{346AD917-EEF5-169F-D21A-B7BEC5C47BAA}"/>
              </a:ext>
            </a:extLst>
          </p:cNvPr>
          <p:cNvSpPr txBox="1">
            <a:spLocks/>
          </p:cNvSpPr>
          <p:nvPr/>
        </p:nvSpPr>
        <p:spPr>
          <a:xfrm>
            <a:off x="397228" y="745186"/>
            <a:ext cx="9470432" cy="391302"/>
          </a:xfrm>
          <a:prstGeom prst="rect">
            <a:avLst/>
          </a:prstGeom>
          <a:noFill/>
        </p:spPr>
        <p:txBody>
          <a:bodyPr/>
          <a:lstStyle>
            <a:lvl1pPr marL="0" indent="0" algn="l" defTabSz="685800" rtl="0" eaLnBrk="1" latinLnBrk="0" hangingPunct="1">
              <a:spcBef>
                <a:spcPts val="0"/>
              </a:spcBef>
              <a:spcAft>
                <a:spcPts val="750"/>
              </a:spcAft>
              <a:buSzPct val="100000"/>
              <a:buFontTx/>
              <a:buNone/>
              <a:defRPr sz="2100" b="0" kern="1200">
                <a:solidFill>
                  <a:schemeClr val="tx2"/>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lang="en-US" sz="1400" b="1" dirty="0">
                <a:solidFill>
                  <a:srgbClr val="575757"/>
                </a:solidFill>
                <a:ea typeface="Open Sans Light" panose="020B0306030504020204" pitchFamily="34" charset="0"/>
                <a:cs typeface="Open Sans Light" panose="020B0306030504020204" pitchFamily="34" charset="0"/>
              </a:rPr>
              <a:t>General Assumptions (2/3)</a:t>
            </a:r>
          </a:p>
        </p:txBody>
      </p:sp>
      <p:sp>
        <p:nvSpPr>
          <p:cNvPr id="8" name="Title 2">
            <a:extLst>
              <a:ext uri="{FF2B5EF4-FFF2-40B4-BE49-F238E27FC236}">
                <a16:creationId xmlns:a16="http://schemas.microsoft.com/office/drawing/2014/main" id="{1E6147DC-60ED-0335-AA8B-226230DEC86E}"/>
              </a:ext>
            </a:extLst>
          </p:cNvPr>
          <p:cNvSpPr>
            <a:spLocks noGrp="1"/>
          </p:cNvSpPr>
          <p:nvPr>
            <p:ph type="title"/>
          </p:nvPr>
        </p:nvSpPr>
        <p:spPr>
          <a:xfrm>
            <a:off x="475013" y="353883"/>
            <a:ext cx="9470433" cy="391302"/>
          </a:xfrm>
        </p:spPr>
        <p:txBody>
          <a:bodyPr>
            <a:normAutofit/>
          </a:bodyPr>
          <a:lstStyle/>
          <a:p>
            <a:r>
              <a:rPr lang="en-US" dirty="0">
                <a:solidFill>
                  <a:schemeClr val="tx2">
                    <a:lumMod val="50000"/>
                  </a:schemeClr>
                </a:solidFill>
                <a:latin typeface="+mn-lt"/>
              </a:rPr>
              <a:t>Assumptions</a:t>
            </a:r>
          </a:p>
        </p:txBody>
      </p:sp>
    </p:spTree>
    <p:extLst>
      <p:ext uri="{BB962C8B-B14F-4D97-AF65-F5344CB8AC3E}">
        <p14:creationId xmlns:p14="http://schemas.microsoft.com/office/powerpoint/2010/main" val="1797203977"/>
      </p:ext>
    </p:extLst>
  </p:cSld>
  <p:clrMapOvr>
    <a:masterClrMapping/>
  </p:clrMapOvr>
  <p:transition spd="med"/>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9AE7BA3-E382-37AF-A4D7-457B619974F4}"/>
              </a:ext>
            </a:extLst>
          </p:cNvPr>
          <p:cNvGraphicFramePr>
            <a:graphicFrameLocks noGrp="1"/>
          </p:cNvGraphicFramePr>
          <p:nvPr>
            <p:extLst>
              <p:ext uri="{D42A27DB-BD31-4B8C-83A1-F6EECF244321}">
                <p14:modId xmlns:p14="http://schemas.microsoft.com/office/powerpoint/2010/main" val="3307665084"/>
              </p:ext>
            </p:extLst>
          </p:nvPr>
        </p:nvGraphicFramePr>
        <p:xfrm>
          <a:off x="475013" y="1045149"/>
          <a:ext cx="11369614" cy="5458968"/>
        </p:xfrm>
        <a:graphic>
          <a:graphicData uri="http://schemas.openxmlformats.org/drawingml/2006/table">
            <a:tbl>
              <a:tblPr firstRow="1" firstCol="1" bandRow="1">
                <a:tableStyleId>{073A0DAA-6AF3-43AB-8588-CEC1D06C72B9}</a:tableStyleId>
              </a:tblPr>
              <a:tblGrid>
                <a:gridCol w="1453641">
                  <a:extLst>
                    <a:ext uri="{9D8B030D-6E8A-4147-A177-3AD203B41FA5}">
                      <a16:colId xmlns:a16="http://schemas.microsoft.com/office/drawing/2014/main" val="4069256536"/>
                    </a:ext>
                  </a:extLst>
                </a:gridCol>
                <a:gridCol w="9915973">
                  <a:extLst>
                    <a:ext uri="{9D8B030D-6E8A-4147-A177-3AD203B41FA5}">
                      <a16:colId xmlns:a16="http://schemas.microsoft.com/office/drawing/2014/main" val="2953027966"/>
                    </a:ext>
                  </a:extLst>
                </a:gridCol>
              </a:tblGrid>
              <a:tr h="1814365">
                <a:tc>
                  <a:txBody>
                    <a:bodyPr/>
                    <a:lstStyle/>
                    <a:p>
                      <a:pPr marL="0" marR="0" algn="l">
                        <a:lnSpc>
                          <a:spcPct val="107000"/>
                        </a:lnSpc>
                        <a:spcBef>
                          <a:spcPts val="0"/>
                        </a:spcBef>
                        <a:spcAft>
                          <a:spcPts val="0"/>
                        </a:spcAft>
                      </a:pPr>
                      <a:r>
                        <a:rPr lang="en-GB" sz="1000" dirty="0">
                          <a:effectLst/>
                          <a:latin typeface="+mn-lt"/>
                          <a:ea typeface="Open Sans Light" panose="020B0306030504020204" pitchFamily="34" charset="0"/>
                          <a:cs typeface="Open Sans Light" panose="020B0306030504020204" pitchFamily="34" charset="0"/>
                        </a:rPr>
                        <a:t>TERMINATION DUE TO AUDITOR INDEPENENCE</a:t>
                      </a:r>
                      <a:endParaRPr lang="en-US" sz="1000" dirty="0">
                        <a:effectLst/>
                        <a:latin typeface="+mn-lt"/>
                        <a:ea typeface="Open Sans Light" panose="020B0306030504020204" pitchFamily="34" charset="0"/>
                        <a:cs typeface="Open Sans Light" panose="020B0306030504020204" pitchFamily="34" charset="0"/>
                      </a:endParaRPr>
                    </a:p>
                  </a:txBody>
                  <a:tcPr anchor="ctr">
                    <a:solidFill>
                      <a:schemeClr val="accent1"/>
                    </a:solidFill>
                  </a:tcPr>
                </a:tc>
                <a:tc>
                  <a:txBody>
                    <a:bodyPr/>
                    <a:lstStyle/>
                    <a:p>
                      <a:pPr marL="0" marR="0" algn="just">
                        <a:lnSpc>
                          <a:spcPct val="107000"/>
                        </a:lnSpc>
                        <a:spcBef>
                          <a:spcPts val="0"/>
                        </a:spcBef>
                        <a:spcAft>
                          <a:spcPts val="0"/>
                        </a:spcAft>
                      </a:pPr>
                      <a:r>
                        <a:rPr lang="en-GB" sz="1000" b="0">
                          <a:solidFill>
                            <a:schemeClr val="tx2">
                              <a:lumMod val="50000"/>
                            </a:schemeClr>
                          </a:solidFill>
                          <a:effectLst/>
                          <a:latin typeface="+mn-lt"/>
                          <a:ea typeface="Open Sans Light" panose="020B0306030504020204" pitchFamily="34" charset="0"/>
                          <a:cs typeface="Open Sans Light" panose="020B0306030504020204" pitchFamily="34" charset="0"/>
                        </a:rPr>
                        <a:t>Deloitte may terminate this Agreement or any impacted part of the Services due to Auditor Independence, without incurring any penalty. Deloitte’s right to terminate: Where a governmental, regulatory or professional body, or a relevant authority having the force of law, has introduced a new, or modified an existing, law, rule, regulation, interpretation or decision, the result of which would render the provision of, or any part of the services provided by the Deloitte illegal or otherwise unlawful, or in conflict with independence or professional rules.</a:t>
                      </a:r>
                      <a:endParaRPr lang="en-US" sz="1000" b="0">
                        <a:solidFill>
                          <a:schemeClr val="tx2">
                            <a:lumMod val="50000"/>
                          </a:schemeClr>
                        </a:solidFill>
                        <a:effectLst/>
                        <a:latin typeface="+mn-lt"/>
                        <a:ea typeface="Open Sans Light" panose="020B0306030504020204" pitchFamily="34" charset="0"/>
                        <a:cs typeface="Open Sans Light" panose="020B0306030504020204" pitchFamily="34" charset="0"/>
                      </a:endParaRPr>
                    </a:p>
                  </a:txBody>
                  <a:tcPr anchor="ctr">
                    <a:solidFill>
                      <a:schemeClr val="bg1">
                        <a:lumMod val="95000"/>
                      </a:schemeClr>
                    </a:solidFill>
                  </a:tcPr>
                </a:tc>
                <a:extLst>
                  <a:ext uri="{0D108BD9-81ED-4DB2-BD59-A6C34878D82A}">
                    <a16:rowId xmlns:a16="http://schemas.microsoft.com/office/drawing/2014/main" val="1657499350"/>
                  </a:ext>
                </a:extLst>
              </a:tr>
              <a:tr h="2020895">
                <a:tc>
                  <a:txBody>
                    <a:bodyPr/>
                    <a:lstStyle/>
                    <a:p>
                      <a:pPr marL="0" marR="0" algn="l">
                        <a:lnSpc>
                          <a:spcPct val="107000"/>
                        </a:lnSpc>
                        <a:spcBef>
                          <a:spcPts val="0"/>
                        </a:spcBef>
                        <a:spcAft>
                          <a:spcPts val="0"/>
                        </a:spcAft>
                      </a:pPr>
                      <a:r>
                        <a:rPr lang="en-GB" sz="1000">
                          <a:effectLst/>
                          <a:latin typeface="+mn-lt"/>
                          <a:ea typeface="Open Sans Light" panose="020B0306030504020204" pitchFamily="34" charset="0"/>
                          <a:cs typeface="Open Sans Light" panose="020B0306030504020204" pitchFamily="34" charset="0"/>
                        </a:rPr>
                        <a:t>COVID-19</a:t>
                      </a:r>
                      <a:endParaRPr lang="en-US" sz="1000">
                        <a:effectLst/>
                        <a:latin typeface="+mn-lt"/>
                        <a:ea typeface="Open Sans Light" panose="020B0306030504020204" pitchFamily="34" charset="0"/>
                        <a:cs typeface="Open Sans Light" panose="020B0306030504020204" pitchFamily="34" charset="0"/>
                      </a:endParaRPr>
                    </a:p>
                    <a:p>
                      <a:pPr marL="0" marR="0" algn="l">
                        <a:lnSpc>
                          <a:spcPct val="107000"/>
                        </a:lnSpc>
                        <a:spcBef>
                          <a:spcPts val="0"/>
                        </a:spcBef>
                        <a:spcAft>
                          <a:spcPts val="0"/>
                        </a:spcAft>
                      </a:pPr>
                      <a:r>
                        <a:rPr lang="en-GB" sz="1000">
                          <a:effectLst/>
                          <a:latin typeface="+mn-lt"/>
                          <a:ea typeface="Open Sans Light" panose="020B0306030504020204" pitchFamily="34" charset="0"/>
                          <a:cs typeface="Open Sans Light" panose="020B0306030504020204" pitchFamily="34" charset="0"/>
                        </a:rPr>
                        <a:t> </a:t>
                      </a:r>
                      <a:endParaRPr lang="en-US" sz="1000">
                        <a:effectLst/>
                        <a:latin typeface="+mn-lt"/>
                        <a:ea typeface="Open Sans Light" panose="020B0306030504020204" pitchFamily="34" charset="0"/>
                        <a:cs typeface="Open Sans Light" panose="020B0306030504020204" pitchFamily="34" charset="0"/>
                      </a:endParaRPr>
                    </a:p>
                  </a:txBody>
                  <a:tcPr anchor="ctr">
                    <a:solidFill>
                      <a:schemeClr val="accent1"/>
                    </a:solidFill>
                  </a:tcPr>
                </a:tc>
                <a:tc>
                  <a:txBody>
                    <a:bodyPr/>
                    <a:lstStyle/>
                    <a:p>
                      <a:pPr marL="0" marR="0" algn="just">
                        <a:lnSpc>
                          <a:spcPct val="107000"/>
                        </a:lnSpc>
                        <a:spcBef>
                          <a:spcPts val="0"/>
                        </a:spcBef>
                        <a:spcAft>
                          <a:spcPts val="0"/>
                        </a:spcAft>
                      </a:pPr>
                      <a:r>
                        <a:rPr lang="en-GB" sz="1000" dirty="0">
                          <a:solidFill>
                            <a:schemeClr val="tx2">
                              <a:lumMod val="50000"/>
                            </a:schemeClr>
                          </a:solidFill>
                          <a:effectLst/>
                          <a:latin typeface="+mn-lt"/>
                          <a:ea typeface="Open Sans Light" panose="020B0306030504020204" pitchFamily="34" charset="0"/>
                          <a:cs typeface="Open Sans Light" panose="020B0306030504020204" pitchFamily="34" charset="0"/>
                        </a:rPr>
                        <a:t>Due to the latest travel restrictions applied to flights and passengers departing from certain destinations, and considering rapid and unexpected changes in the application of these travel restrictions, Deloitte cannot guarantee that any of resources and team members will be available on the ground at the project start date or at any date thereafter. If these risks materialize to any of the Deloitte project team members (and our experts, as applicable) before and/or during project implementation, both Parties will collaborate to redesign the project delivery model while taking advantage of digital methods of team communication and cross-border cooperation to reduce the impact on the project where possible. Deloitte will continue to monitor the situation across the region and will keep an open channel of communication with you in order to deploy the most effective methods of delivery, where possible, and while taking into consideration the challenges we encounter regarding the Epidemics or Pandemics, whilst ensuring that the safety and health of both your and our personnel is our priority.</a:t>
                      </a:r>
                      <a:endParaRPr lang="en-US" sz="1000" dirty="0">
                        <a:solidFill>
                          <a:schemeClr val="tx2">
                            <a:lumMod val="50000"/>
                          </a:schemeClr>
                        </a:solidFill>
                        <a:effectLst/>
                        <a:latin typeface="+mn-lt"/>
                        <a:ea typeface="Open Sans Light" panose="020B0306030504020204" pitchFamily="34" charset="0"/>
                        <a:cs typeface="Open Sans Light" panose="020B0306030504020204" pitchFamily="34" charset="0"/>
                      </a:endParaRPr>
                    </a:p>
                  </a:txBody>
                  <a:tcPr anchor="ctr">
                    <a:solidFill>
                      <a:schemeClr val="bg1">
                        <a:lumMod val="95000"/>
                      </a:schemeClr>
                    </a:solidFill>
                  </a:tcPr>
                </a:tc>
                <a:extLst>
                  <a:ext uri="{0D108BD9-81ED-4DB2-BD59-A6C34878D82A}">
                    <a16:rowId xmlns:a16="http://schemas.microsoft.com/office/drawing/2014/main" val="306957685"/>
                  </a:ext>
                </a:extLst>
              </a:tr>
              <a:tr h="1623708">
                <a:tc>
                  <a:txBody>
                    <a:bodyPr/>
                    <a:lstStyle/>
                    <a:p>
                      <a:pPr marL="0" marR="0" algn="l">
                        <a:lnSpc>
                          <a:spcPct val="107000"/>
                        </a:lnSpc>
                        <a:spcBef>
                          <a:spcPts val="0"/>
                        </a:spcBef>
                        <a:spcAft>
                          <a:spcPts val="0"/>
                        </a:spcAft>
                      </a:pPr>
                      <a:r>
                        <a:rPr lang="en-GB" sz="1000">
                          <a:effectLst/>
                          <a:latin typeface="+mn-lt"/>
                          <a:ea typeface="Open Sans Light" panose="020B0306030504020204" pitchFamily="34" charset="0"/>
                          <a:cs typeface="Open Sans Light" panose="020B0306030504020204" pitchFamily="34" charset="0"/>
                        </a:rPr>
                        <a:t>CLIENT’S RIGHT TO AUDIT</a:t>
                      </a:r>
                      <a:endParaRPr lang="en-US" sz="1000">
                        <a:effectLst/>
                        <a:latin typeface="+mn-lt"/>
                        <a:ea typeface="Open Sans Light" panose="020B0306030504020204" pitchFamily="34" charset="0"/>
                        <a:cs typeface="Open Sans Light" panose="020B0306030504020204" pitchFamily="34" charset="0"/>
                      </a:endParaRPr>
                    </a:p>
                  </a:txBody>
                  <a:tcPr anchor="ctr">
                    <a:solidFill>
                      <a:schemeClr val="accent1"/>
                    </a:solidFill>
                  </a:tcPr>
                </a:tc>
                <a:tc>
                  <a:txBody>
                    <a:bodyPr/>
                    <a:lstStyle/>
                    <a:p>
                      <a:pPr marL="0" marR="0" algn="just">
                        <a:lnSpc>
                          <a:spcPct val="107000"/>
                        </a:lnSpc>
                        <a:spcBef>
                          <a:spcPts val="0"/>
                        </a:spcBef>
                        <a:spcAft>
                          <a:spcPts val="0"/>
                        </a:spcAft>
                      </a:pPr>
                      <a:r>
                        <a:rPr lang="en-GB" sz="1000" dirty="0">
                          <a:solidFill>
                            <a:schemeClr val="tx2">
                              <a:lumMod val="50000"/>
                            </a:schemeClr>
                          </a:solidFill>
                          <a:effectLst/>
                          <a:latin typeface="+mn-lt"/>
                          <a:ea typeface="Open Sans Light" panose="020B0306030504020204" pitchFamily="34" charset="0"/>
                          <a:cs typeface="Open Sans Light" panose="020B0306030504020204" pitchFamily="34" charset="0"/>
                        </a:rPr>
                        <a:t>The Client agrees to provide Deloitte with at least 2 weeks’ notice prior to the carrying out of an audit for this engagement. Any request for an audit shall be limited in scope to the people, process and technologies involved in the engagement and with Client data. The payment for any audit will be borne by the Client requesting the audit, and any request for an audit will be limited to a maximum of once per calendar year. The Client agrees that if any audit is to be carried out by a client appointed vendor/ third party or external auditor, that Deloitte will be provided with notice of this appointed vendor to allow Deloitte to carry out its internal compliance and conflict check procedures to approve the appointed vendor or not. Deloitte may not be audited by a competitor.</a:t>
                      </a:r>
                      <a:endParaRPr lang="en-US" sz="1000" dirty="0">
                        <a:solidFill>
                          <a:schemeClr val="tx2">
                            <a:lumMod val="50000"/>
                          </a:schemeClr>
                        </a:solidFill>
                        <a:effectLst/>
                        <a:latin typeface="+mn-lt"/>
                        <a:ea typeface="Open Sans Light" panose="020B0306030504020204" pitchFamily="34" charset="0"/>
                        <a:cs typeface="Open Sans Light" panose="020B0306030504020204" pitchFamily="34" charset="0"/>
                      </a:endParaRPr>
                    </a:p>
                  </a:txBody>
                  <a:tcPr anchor="ctr">
                    <a:solidFill>
                      <a:schemeClr val="bg1">
                        <a:lumMod val="95000"/>
                      </a:schemeClr>
                    </a:solidFill>
                  </a:tcPr>
                </a:tc>
                <a:extLst>
                  <a:ext uri="{0D108BD9-81ED-4DB2-BD59-A6C34878D82A}">
                    <a16:rowId xmlns:a16="http://schemas.microsoft.com/office/drawing/2014/main" val="538435321"/>
                  </a:ext>
                </a:extLst>
              </a:tr>
            </a:tbl>
          </a:graphicData>
        </a:graphic>
      </p:graphicFrame>
      <p:sp>
        <p:nvSpPr>
          <p:cNvPr id="7" name="Text Placeholder 3">
            <a:extLst>
              <a:ext uri="{FF2B5EF4-FFF2-40B4-BE49-F238E27FC236}">
                <a16:creationId xmlns:a16="http://schemas.microsoft.com/office/drawing/2014/main" id="{F904131E-16E6-1BE7-1B85-68B5AB67E58A}"/>
              </a:ext>
            </a:extLst>
          </p:cNvPr>
          <p:cNvSpPr txBox="1">
            <a:spLocks/>
          </p:cNvSpPr>
          <p:nvPr/>
        </p:nvSpPr>
        <p:spPr>
          <a:xfrm>
            <a:off x="397228" y="745186"/>
            <a:ext cx="9470432" cy="391302"/>
          </a:xfrm>
          <a:prstGeom prst="rect">
            <a:avLst/>
          </a:prstGeom>
          <a:noFill/>
        </p:spPr>
        <p:txBody>
          <a:bodyPr/>
          <a:lstStyle>
            <a:lvl1pPr marL="0" indent="0" algn="l" defTabSz="685800" rtl="0" eaLnBrk="1" latinLnBrk="0" hangingPunct="1">
              <a:spcBef>
                <a:spcPts val="0"/>
              </a:spcBef>
              <a:spcAft>
                <a:spcPts val="750"/>
              </a:spcAft>
              <a:buSzPct val="100000"/>
              <a:buFontTx/>
              <a:buNone/>
              <a:defRPr sz="2100" b="0" kern="1200">
                <a:solidFill>
                  <a:schemeClr val="tx2"/>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lang="en-US" sz="1400" b="1" dirty="0">
                <a:solidFill>
                  <a:srgbClr val="575757"/>
                </a:solidFill>
                <a:ea typeface="Open Sans Light" panose="020B0306030504020204" pitchFamily="34" charset="0"/>
                <a:cs typeface="Open Sans Light" panose="020B0306030504020204" pitchFamily="34" charset="0"/>
              </a:rPr>
              <a:t>General Assumptions (3/3)</a:t>
            </a:r>
          </a:p>
        </p:txBody>
      </p:sp>
      <p:sp>
        <p:nvSpPr>
          <p:cNvPr id="8" name="Title 2">
            <a:extLst>
              <a:ext uri="{FF2B5EF4-FFF2-40B4-BE49-F238E27FC236}">
                <a16:creationId xmlns:a16="http://schemas.microsoft.com/office/drawing/2014/main" id="{C88B8D19-3933-24C2-B833-323DB14F58A0}"/>
              </a:ext>
            </a:extLst>
          </p:cNvPr>
          <p:cNvSpPr>
            <a:spLocks noGrp="1"/>
          </p:cNvSpPr>
          <p:nvPr>
            <p:ph type="title"/>
          </p:nvPr>
        </p:nvSpPr>
        <p:spPr>
          <a:xfrm>
            <a:off x="475013" y="353883"/>
            <a:ext cx="9470433" cy="391302"/>
          </a:xfrm>
        </p:spPr>
        <p:txBody>
          <a:bodyPr>
            <a:normAutofit/>
          </a:bodyPr>
          <a:lstStyle/>
          <a:p>
            <a:r>
              <a:rPr lang="en-US" dirty="0">
                <a:solidFill>
                  <a:schemeClr val="tx2">
                    <a:lumMod val="50000"/>
                  </a:schemeClr>
                </a:solidFill>
                <a:latin typeface="+mn-lt"/>
              </a:rPr>
              <a:t>Assumptions</a:t>
            </a:r>
          </a:p>
        </p:txBody>
      </p:sp>
    </p:spTree>
    <p:extLst>
      <p:ext uri="{BB962C8B-B14F-4D97-AF65-F5344CB8AC3E}">
        <p14:creationId xmlns:p14="http://schemas.microsoft.com/office/powerpoint/2010/main" val="2371961389"/>
      </p:ext>
    </p:extLst>
  </p:cSld>
  <p:clrMapOvr>
    <a:masterClrMapping/>
  </p:clrMapOvr>
  <p:transition spd="med"/>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9E825D-7E80-8FCA-A82E-1A57A034F362}"/>
              </a:ext>
            </a:extLst>
          </p:cNvPr>
          <p:cNvSpPr>
            <a:spLocks noGrp="1"/>
          </p:cNvSpPr>
          <p:nvPr>
            <p:ph type="title"/>
          </p:nvPr>
        </p:nvSpPr>
        <p:spPr>
          <a:xfrm>
            <a:off x="475013" y="353883"/>
            <a:ext cx="9470433" cy="391302"/>
          </a:xfrm>
        </p:spPr>
        <p:txBody>
          <a:bodyPr>
            <a:normAutofit/>
          </a:bodyPr>
          <a:lstStyle/>
          <a:p>
            <a:r>
              <a:rPr lang="en-US">
                <a:solidFill>
                  <a:schemeClr val="tx2">
                    <a:lumMod val="50000"/>
                  </a:schemeClr>
                </a:solidFill>
                <a:latin typeface="+mn-lt"/>
              </a:rPr>
              <a:t>Assumptions</a:t>
            </a:r>
          </a:p>
        </p:txBody>
      </p:sp>
      <p:graphicFrame>
        <p:nvGraphicFramePr>
          <p:cNvPr id="5" name="Table 4">
            <a:extLst>
              <a:ext uri="{FF2B5EF4-FFF2-40B4-BE49-F238E27FC236}">
                <a16:creationId xmlns:a16="http://schemas.microsoft.com/office/drawing/2014/main" id="{E9AE7BA3-E382-37AF-A4D7-457B619974F4}"/>
              </a:ext>
            </a:extLst>
          </p:cNvPr>
          <p:cNvGraphicFramePr>
            <a:graphicFrameLocks noGrp="1"/>
          </p:cNvGraphicFramePr>
          <p:nvPr>
            <p:extLst>
              <p:ext uri="{D42A27DB-BD31-4B8C-83A1-F6EECF244321}">
                <p14:modId xmlns:p14="http://schemas.microsoft.com/office/powerpoint/2010/main" val="2952064905"/>
              </p:ext>
            </p:extLst>
          </p:nvPr>
        </p:nvGraphicFramePr>
        <p:xfrm>
          <a:off x="475013" y="1045147"/>
          <a:ext cx="11369614" cy="4965573"/>
        </p:xfrm>
        <a:graphic>
          <a:graphicData uri="http://schemas.openxmlformats.org/drawingml/2006/table">
            <a:tbl>
              <a:tblPr firstRow="1" firstCol="1" bandRow="1">
                <a:tableStyleId>{073A0DAA-6AF3-43AB-8588-CEC1D06C72B9}</a:tableStyleId>
              </a:tblPr>
              <a:tblGrid>
                <a:gridCol w="1453641">
                  <a:extLst>
                    <a:ext uri="{9D8B030D-6E8A-4147-A177-3AD203B41FA5}">
                      <a16:colId xmlns:a16="http://schemas.microsoft.com/office/drawing/2014/main" val="4069256536"/>
                    </a:ext>
                  </a:extLst>
                </a:gridCol>
                <a:gridCol w="9915973">
                  <a:extLst>
                    <a:ext uri="{9D8B030D-6E8A-4147-A177-3AD203B41FA5}">
                      <a16:colId xmlns:a16="http://schemas.microsoft.com/office/drawing/2014/main" val="2953027966"/>
                    </a:ext>
                  </a:extLst>
                </a:gridCol>
              </a:tblGrid>
              <a:tr h="718339">
                <a:tc>
                  <a:txBody>
                    <a:bodyPr/>
                    <a:lstStyle/>
                    <a:p>
                      <a:pPr marL="0" marR="0" algn="l">
                        <a:lnSpc>
                          <a:spcPct val="107000"/>
                        </a:lnSpc>
                        <a:spcBef>
                          <a:spcPts val="0"/>
                        </a:spcBef>
                        <a:spcAft>
                          <a:spcPts val="0"/>
                        </a:spcAft>
                      </a:pPr>
                      <a:r>
                        <a:rPr lang="en-GB" sz="1000" dirty="0">
                          <a:effectLst/>
                          <a:latin typeface="+mn-lt"/>
                          <a:ea typeface="Open Sans Light" panose="020B0306030504020204" pitchFamily="34" charset="0"/>
                          <a:cs typeface="Open Sans Light" panose="020B0306030504020204" pitchFamily="34" charset="0"/>
                        </a:rPr>
                        <a:t>Technical Assumptions</a:t>
                      </a:r>
                      <a:endParaRPr lang="en-US" sz="1000" dirty="0">
                        <a:effectLst/>
                        <a:latin typeface="+mn-lt"/>
                        <a:ea typeface="Open Sans Light" panose="020B0306030504020204" pitchFamily="34" charset="0"/>
                        <a:cs typeface="Open Sans Light" panose="020B0306030504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indent="0" algn="just" defTabSz="914400" rtl="0" latinLnBrk="0">
                        <a:lnSpc>
                          <a:spcPct val="107000"/>
                        </a:lnSpc>
                        <a:spcBef>
                          <a:spcPts val="600"/>
                        </a:spcBef>
                        <a:spcAft>
                          <a:spcPts val="0"/>
                        </a:spcAft>
                        <a:buClrTx/>
                        <a:buSzTx/>
                        <a:buFontTx/>
                        <a:buNone/>
                        <a:tabLst/>
                      </a:pPr>
                      <a:r>
                        <a:rPr lang="en-US" sz="1000" b="1"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Phase 1: Project Initiation &amp; Planning</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Deloitte proposed engagement team members are subject to change based on availability at the time of agreeing the contract and will be discussed with the client.</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Time taken during the contract preparation and signing process is not part of this phase and is considered as a pre-project activity.</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Salam shall provide templates for project documents (e.g. branding templates, project charter, project plan, status update report, etc.) to Deloitte in order to be utilized throughout the course of the project. In case there is no official format, Deloitte will propose its own templates for Salam’s approval.</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The proposed timeline may be subjected to change based on the availability and level of corporation of key stakeholders which may trigger a change order.</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The project timeline estimated for 6 months does not take into consideration / include public holidays throughout the course of the project.</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Whenever possible a hybrid / remote working approach shall be adopted if delivery activities do not require availability on site.</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We assume that Salam’s management acknowledges that Salam is responsible for all judgements and decisions in matters related to proper responsibility of management.</a:t>
                      </a:r>
                    </a:p>
                    <a:p>
                      <a:pPr marL="0" marR="0" indent="0" algn="just" defTabSz="914400" rtl="0" latinLnBrk="0">
                        <a:lnSpc>
                          <a:spcPct val="107000"/>
                        </a:lnSpc>
                        <a:spcBef>
                          <a:spcPts val="600"/>
                        </a:spcBef>
                        <a:spcAft>
                          <a:spcPts val="0"/>
                        </a:spcAft>
                        <a:buClrTx/>
                        <a:buSzTx/>
                        <a:buFontTx/>
                        <a:buNone/>
                        <a:tabLst/>
                      </a:pPr>
                      <a:r>
                        <a:rPr lang="en-US" sz="1000" b="1"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Phase 2: Business Continuity Gap Analysis</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Gap analysis will be performed against ISO 22301:2019 and CST requirements. </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Deloitte will not be responsible for any manpower analysis or cost / budget estimation for the initiatives identified in 3-year roadmap. </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Deloitte will not be responsible for implementation of any BCM initiatives that are not part of the project scope. </a:t>
                      </a:r>
                    </a:p>
                    <a:p>
                      <a:pPr marL="0" marR="0" indent="0" algn="just" defTabSz="914400" rtl="0" latinLnBrk="0">
                        <a:lnSpc>
                          <a:spcPct val="107000"/>
                        </a:lnSpc>
                        <a:spcBef>
                          <a:spcPts val="600"/>
                        </a:spcBef>
                        <a:spcAft>
                          <a:spcPts val="0"/>
                        </a:spcAft>
                        <a:buClrTx/>
                        <a:buSzTx/>
                        <a:buFontTx/>
                        <a:buNone/>
                        <a:tabLst/>
                      </a:pPr>
                      <a:r>
                        <a:rPr lang="en-US" sz="1000" b="1"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Phase 3: Business Continuity Governance Framework</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Deloitte scope of work does not include the appointment personnel to the BCM roles we recommend.</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The procedures contained in the BCM Framework will remain as draft until the closure of project as certain aspects of the project approach may change during the fieldwork. </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Deloitte scope of work excludes developing and/or updating any process list, process definition, enterprise architecture, process specific polices and procedures. </a:t>
                      </a:r>
                    </a:p>
                    <a:p>
                      <a:pPr marL="0" marR="0" indent="0" algn="just" defTabSz="914400" rtl="0" latinLnBrk="0">
                        <a:lnSpc>
                          <a:spcPct val="107000"/>
                        </a:lnSpc>
                        <a:spcBef>
                          <a:spcPts val="0"/>
                        </a:spcBef>
                        <a:spcAft>
                          <a:spcPts val="0"/>
                        </a:spcAft>
                        <a:buClrTx/>
                        <a:buSzTx/>
                        <a:buFont typeface="Arial" panose="020B0604020202020204" pitchFamily="34" charset="0"/>
                        <a:buNone/>
                        <a:tabLst/>
                      </a:pPr>
                      <a:r>
                        <a:rPr lang="en-US" sz="1000" b="1"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Phase 4: Business Impact Analysis</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Our BIA scope of work is limited to the 12 business functions identified in the clarification responses provided by Salam.</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BIA reports will be developed for each business function, and one consolidated BIA report.  </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We will utilize the impact rating matrix and risk appetite set by the Risk Management function of Salam. In case its not available, we will propose an Impact Rating Matrix template to be utilized by Salam Management; however, actual metrics/thresholds shall be provided by Salam Management.</a:t>
                      </a:r>
                    </a:p>
                    <a:p>
                      <a:pPr marL="0" marR="0" indent="0" algn="just" defTabSz="914400" rtl="0" latinLnBrk="0">
                        <a:lnSpc>
                          <a:spcPct val="107000"/>
                        </a:lnSpc>
                        <a:spcBef>
                          <a:spcPts val="0"/>
                        </a:spcBef>
                        <a:spcAft>
                          <a:spcPts val="0"/>
                        </a:spcAft>
                        <a:buClrTx/>
                        <a:buSzTx/>
                        <a:buFont typeface="Arial" panose="020B0604020202020204" pitchFamily="34" charset="0"/>
                        <a:buNone/>
                        <a:tabLst/>
                      </a:pPr>
                      <a:r>
                        <a:rPr lang="en-US" sz="1000" b="1"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Phase 5: Business Continuity Risk Assessment</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The in-scope locations for risk assessment include Salam Commercial building (</a:t>
                      </a:r>
                      <a:r>
                        <a:rPr lang="en-US" sz="1000" b="0" i="0" u="none" strike="noStrike" cap="none" spc="0" baseline="0" dirty="0" err="1">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Muraba</a:t>
                      </a: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 / </a:t>
                      </a:r>
                      <a:r>
                        <a:rPr lang="en-US" sz="1000" b="0" i="0" u="none" strike="noStrike" cap="none" spc="0" baseline="0" dirty="0" err="1">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Malaz</a:t>
                      </a: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 Salam Technical building in </a:t>
                      </a:r>
                      <a:r>
                        <a:rPr lang="en-US" sz="1000" b="0" i="0" u="none" strike="noStrike" cap="none" spc="0" baseline="0" dirty="0" err="1">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Maseef</a:t>
                      </a: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 district, Salam Khobar Branch, Salam Dammam Branch, Salam Jeddah Branch, Salam Warehouses in Riyadh, Jeddah and Dammam and five (05) data centers.</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We will develop one consolidated BC risk register covering all risks identified across all in-scope locations.</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Wherever possible, risk assessment workshops will be conducted remotely unless a physical site visit is required.</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Deloitte will not be responsible for conducting meetings with risk owners for risk mitigation plans. It is expected that Salam’s ERM function will take up this responsibility.</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Deloitte will not be responsible for implementing any risk mitigations (other than those which are already part of the project scop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57685"/>
                  </a:ext>
                </a:extLst>
              </a:tr>
            </a:tbl>
          </a:graphicData>
        </a:graphic>
      </p:graphicFrame>
      <p:sp>
        <p:nvSpPr>
          <p:cNvPr id="4" name="Text Placeholder 3">
            <a:extLst>
              <a:ext uri="{FF2B5EF4-FFF2-40B4-BE49-F238E27FC236}">
                <a16:creationId xmlns:a16="http://schemas.microsoft.com/office/drawing/2014/main" id="{31F259EA-1D67-1D14-71C2-8622C1CA83E8}"/>
              </a:ext>
            </a:extLst>
          </p:cNvPr>
          <p:cNvSpPr txBox="1">
            <a:spLocks/>
          </p:cNvSpPr>
          <p:nvPr/>
        </p:nvSpPr>
        <p:spPr>
          <a:xfrm>
            <a:off x="397228" y="745186"/>
            <a:ext cx="9470432" cy="391302"/>
          </a:xfrm>
          <a:prstGeom prst="rect">
            <a:avLst/>
          </a:prstGeom>
          <a:noFill/>
        </p:spPr>
        <p:txBody>
          <a:bodyPr/>
          <a:lstStyle>
            <a:lvl1pPr marL="0" indent="0" algn="l" defTabSz="685800" rtl="0" eaLnBrk="1" latinLnBrk="0" hangingPunct="1">
              <a:spcBef>
                <a:spcPts val="0"/>
              </a:spcBef>
              <a:spcAft>
                <a:spcPts val="750"/>
              </a:spcAft>
              <a:buSzPct val="100000"/>
              <a:buFontTx/>
              <a:buNone/>
              <a:defRPr sz="2100" b="0" kern="1200">
                <a:solidFill>
                  <a:schemeClr val="tx2"/>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lang="en-US" sz="1400" b="1" dirty="0">
                <a:solidFill>
                  <a:srgbClr val="575757"/>
                </a:solidFill>
                <a:ea typeface="Open Sans Light" panose="020B0306030504020204" pitchFamily="34" charset="0"/>
                <a:cs typeface="Open Sans Light" panose="020B0306030504020204" pitchFamily="34" charset="0"/>
              </a:rPr>
              <a:t>Technical Assumptions (1/2)</a:t>
            </a:r>
          </a:p>
        </p:txBody>
      </p:sp>
    </p:spTree>
    <p:extLst>
      <p:ext uri="{BB962C8B-B14F-4D97-AF65-F5344CB8AC3E}">
        <p14:creationId xmlns:p14="http://schemas.microsoft.com/office/powerpoint/2010/main" val="3036512581"/>
      </p:ext>
    </p:extLst>
  </p:cSld>
  <p:clrMapOvr>
    <a:masterClrMapping/>
  </p:clrMapOvr>
  <p:transition spd="med"/>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9AE7BA3-E382-37AF-A4D7-457B619974F4}"/>
              </a:ext>
            </a:extLst>
          </p:cNvPr>
          <p:cNvGraphicFramePr>
            <a:graphicFrameLocks noGrp="1"/>
          </p:cNvGraphicFramePr>
          <p:nvPr>
            <p:extLst>
              <p:ext uri="{D42A27DB-BD31-4B8C-83A1-F6EECF244321}">
                <p14:modId xmlns:p14="http://schemas.microsoft.com/office/powerpoint/2010/main" val="3404203026"/>
              </p:ext>
            </p:extLst>
          </p:nvPr>
        </p:nvGraphicFramePr>
        <p:xfrm>
          <a:off x="475013" y="1057850"/>
          <a:ext cx="11369614" cy="4878705"/>
        </p:xfrm>
        <a:graphic>
          <a:graphicData uri="http://schemas.openxmlformats.org/drawingml/2006/table">
            <a:tbl>
              <a:tblPr firstRow="1" firstCol="1" bandRow="1">
                <a:tableStyleId>{073A0DAA-6AF3-43AB-8588-CEC1D06C72B9}</a:tableStyleId>
              </a:tblPr>
              <a:tblGrid>
                <a:gridCol w="1453641">
                  <a:extLst>
                    <a:ext uri="{9D8B030D-6E8A-4147-A177-3AD203B41FA5}">
                      <a16:colId xmlns:a16="http://schemas.microsoft.com/office/drawing/2014/main" val="4069256536"/>
                    </a:ext>
                  </a:extLst>
                </a:gridCol>
                <a:gridCol w="9915973">
                  <a:extLst>
                    <a:ext uri="{9D8B030D-6E8A-4147-A177-3AD203B41FA5}">
                      <a16:colId xmlns:a16="http://schemas.microsoft.com/office/drawing/2014/main" val="2953027966"/>
                    </a:ext>
                  </a:extLst>
                </a:gridCol>
              </a:tblGrid>
              <a:tr h="464934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000" dirty="0">
                          <a:effectLst/>
                          <a:latin typeface="+mn-lt"/>
                          <a:ea typeface="Open Sans Light" panose="020B0306030504020204" pitchFamily="34" charset="0"/>
                          <a:cs typeface="Open Sans Light" panose="020B0306030504020204" pitchFamily="34" charset="0"/>
                        </a:rPr>
                        <a:t>Technical Assumptions</a:t>
                      </a:r>
                      <a:endParaRPr lang="en-US" sz="1000" dirty="0">
                        <a:effectLst/>
                        <a:latin typeface="+mn-lt"/>
                        <a:ea typeface="Open Sans Light" panose="020B0306030504020204" pitchFamily="34" charset="0"/>
                        <a:cs typeface="Open Sans Light" panose="020B0306030504020204" pitchFamily="34" charset="0"/>
                      </a:endParaRPr>
                    </a:p>
                    <a:p>
                      <a:pPr marL="0" marR="0" algn="l">
                        <a:lnSpc>
                          <a:spcPct val="107000"/>
                        </a:lnSpc>
                        <a:spcBef>
                          <a:spcPts val="0"/>
                        </a:spcBef>
                        <a:spcAft>
                          <a:spcPts val="0"/>
                        </a:spcAft>
                      </a:pPr>
                      <a:endParaRPr lang="en-US" sz="1000" dirty="0">
                        <a:effectLst/>
                        <a:latin typeface="+mn-lt"/>
                        <a:ea typeface="Open Sans Light" panose="020B0306030504020204" pitchFamily="34" charset="0"/>
                        <a:cs typeface="Open Sans Light" panose="020B030603050402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indent="0" algn="just" defTabSz="914400" rtl="0" latinLnBrk="0">
                        <a:lnSpc>
                          <a:spcPct val="107000"/>
                        </a:lnSpc>
                        <a:spcBef>
                          <a:spcPts val="600"/>
                        </a:spcBef>
                        <a:spcAft>
                          <a:spcPts val="0"/>
                        </a:spcAft>
                        <a:buClrTx/>
                        <a:buSzTx/>
                        <a:buFontTx/>
                        <a:buNone/>
                        <a:tabLst/>
                      </a:pPr>
                      <a:r>
                        <a:rPr lang="en-US" sz="1000" b="1"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Phase 6:  Business Continuity Recovery Strategy and Plans</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Our scope of work for plans will be limited to the development of one centralized Incident Management Plan, Crisis Management Plan and  Crisis Communication Plan, BCPs for time-critical departments and one centralized ITDRP. Our scope of work does not include the development of Operational and / or tactical Incident and / or Emergency Response Plans including, but not limited to, Fire Evacuation, Cyber Incident Response, IT Incident Response.. etc.</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Our scope of work does not include the appointment of personnel to the roles and responsibilities identified across the plans.</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Deloitte will not be responsible for any activity related to implementation of recovery strategies and solutions implementation.</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Our scope is limited to developing the IT DRP against the outcomes of BIA and TRA and the approved recovery strategies and identify areas of improvements. Deloitte will not develop any technical architecture, run-books or configuration documentation for recovery of systems. Deloitte assumes that run books and technical procedures are the responsibility of the IT team and technology vendors.</a:t>
                      </a:r>
                    </a:p>
                    <a:p>
                      <a:pPr marL="0" marR="0" indent="0" algn="just" defTabSz="914400" rtl="0" latinLnBrk="0">
                        <a:lnSpc>
                          <a:spcPct val="107000"/>
                        </a:lnSpc>
                        <a:spcBef>
                          <a:spcPts val="600"/>
                        </a:spcBef>
                        <a:spcAft>
                          <a:spcPts val="0"/>
                        </a:spcAft>
                        <a:buClrTx/>
                        <a:buSzTx/>
                        <a:buFontTx/>
                        <a:buNone/>
                        <a:tabLst/>
                      </a:pPr>
                      <a:r>
                        <a:rPr lang="en-US" sz="1000" b="1"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Phase 7: Business Continuity Training &amp; Awareness</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Deloitte will deliver:</a:t>
                      </a:r>
                    </a:p>
                    <a:p>
                      <a:pPr marL="288925" marR="0" lvl="3" indent="-120650" algn="just" defTabSz="914400" rtl="0" latinLnBrk="0">
                        <a:lnSpc>
                          <a:spcPct val="107000"/>
                        </a:lnSpc>
                        <a:spcBef>
                          <a:spcPts val="0"/>
                        </a:spcBef>
                        <a:spcAft>
                          <a:spcPts val="0"/>
                        </a:spcAft>
                        <a:buClrTx/>
                        <a:buSzTx/>
                        <a:buFont typeface="Courier New" panose="02070309020205020404" pitchFamily="49" charset="0"/>
                        <a:buChar char="o"/>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BCM Awareness materials (4 awareness emails, two posters, 2 screensaver messages)</a:t>
                      </a:r>
                    </a:p>
                    <a:p>
                      <a:pPr marL="288925" marR="0" lvl="3" indent="-120650" algn="just" defTabSz="914400" rtl="0" latinLnBrk="0">
                        <a:lnSpc>
                          <a:spcPct val="107000"/>
                        </a:lnSpc>
                        <a:spcBef>
                          <a:spcPts val="0"/>
                        </a:spcBef>
                        <a:spcAft>
                          <a:spcPts val="0"/>
                        </a:spcAft>
                        <a:buClrTx/>
                        <a:buSzTx/>
                        <a:buFont typeface="Courier New" panose="02070309020205020404" pitchFamily="49" charset="0"/>
                        <a:buChar char="o"/>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One (01) BCM awareness session for general staff</a:t>
                      </a:r>
                    </a:p>
                    <a:p>
                      <a:pPr marL="288925" marR="0" lvl="3" indent="-120650" algn="just" defTabSz="914400" rtl="0" latinLnBrk="0">
                        <a:lnSpc>
                          <a:spcPct val="107000"/>
                        </a:lnSpc>
                        <a:spcBef>
                          <a:spcPts val="0"/>
                        </a:spcBef>
                        <a:spcAft>
                          <a:spcPts val="0"/>
                        </a:spcAft>
                        <a:buClrTx/>
                        <a:buSzTx/>
                        <a:buFont typeface="Courier New" panose="02070309020205020404" pitchFamily="49" charset="0"/>
                        <a:buChar char="o"/>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One (01) training session for BCM Committee (C-suite) covering key governance activities, crisis management and crisis communication aspects, etc.</a:t>
                      </a:r>
                    </a:p>
                    <a:p>
                      <a:pPr marL="288925" marR="0" lvl="3" indent="-120650" algn="just" defTabSz="914400" rtl="0" latinLnBrk="0">
                        <a:lnSpc>
                          <a:spcPct val="107000"/>
                        </a:lnSpc>
                        <a:spcBef>
                          <a:spcPts val="0"/>
                        </a:spcBef>
                        <a:spcAft>
                          <a:spcPts val="0"/>
                        </a:spcAft>
                        <a:buClrTx/>
                        <a:buSzTx/>
                        <a:buFont typeface="Courier New" panose="02070309020205020404" pitchFamily="49" charset="0"/>
                        <a:buChar char="o"/>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Two (02) training sessions for BCM Champions to train them on all BCMS components and key plans </a:t>
                      </a:r>
                    </a:p>
                    <a:p>
                      <a:pPr marL="288925" marR="0" lvl="3" indent="-120650" algn="just" defTabSz="914400" rtl="0" latinLnBrk="0">
                        <a:lnSpc>
                          <a:spcPct val="107000"/>
                        </a:lnSpc>
                        <a:spcBef>
                          <a:spcPts val="0"/>
                        </a:spcBef>
                        <a:spcAft>
                          <a:spcPts val="0"/>
                        </a:spcAft>
                        <a:buClrTx/>
                        <a:buSzTx/>
                        <a:buFont typeface="Courier New" panose="02070309020205020404" pitchFamily="49" charset="0"/>
                        <a:buChar char="o"/>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Material for E-Learning module (content only)</a:t>
                      </a:r>
                    </a:p>
                    <a:p>
                      <a:pPr marL="171450" marR="0" lvl="3"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Deloitte will not be responsible in developing the e-learning module (e.g. SCORM file). Deloitte will provide the content only that may be used by Salam.</a:t>
                      </a:r>
                    </a:p>
                    <a:p>
                      <a:pPr marL="0" marR="0" indent="0" algn="just" defTabSz="914400" rtl="0" latinLnBrk="0">
                        <a:lnSpc>
                          <a:spcPct val="107000"/>
                        </a:lnSpc>
                        <a:spcBef>
                          <a:spcPts val="600"/>
                        </a:spcBef>
                        <a:spcAft>
                          <a:spcPts val="0"/>
                        </a:spcAft>
                        <a:buClrTx/>
                        <a:buSzTx/>
                        <a:buFontTx/>
                        <a:buNone/>
                        <a:tabLst/>
                      </a:pPr>
                      <a:r>
                        <a:rPr lang="en-US" sz="1000" b="1"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Phase 8: Business Continuity Testing &amp; Performance Monitoring</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Deloitte will deliver:</a:t>
                      </a:r>
                    </a:p>
                    <a:p>
                      <a:pPr marL="288925" marR="0" lvl="3" indent="-120650" algn="just" defTabSz="914400" rtl="0" latinLnBrk="0">
                        <a:lnSpc>
                          <a:spcPct val="107000"/>
                        </a:lnSpc>
                        <a:spcBef>
                          <a:spcPts val="0"/>
                        </a:spcBef>
                        <a:spcAft>
                          <a:spcPts val="0"/>
                        </a:spcAft>
                        <a:buClrTx/>
                        <a:buSzTx/>
                        <a:buFont typeface="Courier New" panose="02070309020205020404" pitchFamily="49" charset="0"/>
                        <a:buChar char="o"/>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Four (04) test plans covering four different scenarios</a:t>
                      </a:r>
                    </a:p>
                    <a:p>
                      <a:pPr marL="288925" marR="0" lvl="3" indent="-120650" algn="just" defTabSz="914400" rtl="0" latinLnBrk="0">
                        <a:lnSpc>
                          <a:spcPct val="107000"/>
                        </a:lnSpc>
                        <a:spcBef>
                          <a:spcPts val="0"/>
                        </a:spcBef>
                        <a:spcAft>
                          <a:spcPts val="0"/>
                        </a:spcAft>
                        <a:buClrTx/>
                        <a:buSzTx/>
                        <a:buFont typeface="Courier New" panose="02070309020205020404" pitchFamily="49" charset="0"/>
                        <a:buChar char="o"/>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Two (02) tabletop exercises for BCPs and one (01) tabletop for IMP, CMP and CCP. </a:t>
                      </a:r>
                    </a:p>
                    <a:p>
                      <a:pPr marL="288925" marR="0" lvl="3" indent="-120650" algn="just" defTabSz="914400" rtl="0" latinLnBrk="0">
                        <a:lnSpc>
                          <a:spcPct val="107000"/>
                        </a:lnSpc>
                        <a:spcBef>
                          <a:spcPts val="0"/>
                        </a:spcBef>
                        <a:spcAft>
                          <a:spcPts val="0"/>
                        </a:spcAft>
                        <a:buClrTx/>
                        <a:buSzTx/>
                        <a:buFont typeface="Courier New" panose="02070309020205020404" pitchFamily="49" charset="0"/>
                        <a:buChar char="o"/>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Should Salam opt to choose a crisis simulation, Deloitte will conduct a crisis simulations covering IMP, CMP and CCP.</a:t>
                      </a:r>
                    </a:p>
                    <a:p>
                      <a:pPr marL="171450" marR="0" lvl="3"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Deloitte will not cover any IT DR failover or any integrated exercise as part of the testing / exercising activities.</a:t>
                      </a:r>
                    </a:p>
                    <a:p>
                      <a:pPr marL="0" marR="0" indent="0" algn="just" defTabSz="914400" rtl="0" latinLnBrk="0">
                        <a:lnSpc>
                          <a:spcPct val="107000"/>
                        </a:lnSpc>
                        <a:spcBef>
                          <a:spcPts val="600"/>
                        </a:spcBef>
                        <a:spcAft>
                          <a:spcPts val="0"/>
                        </a:spcAft>
                        <a:buClrTx/>
                        <a:buSzTx/>
                        <a:buFontTx/>
                        <a:buNone/>
                        <a:tabLst/>
                      </a:pPr>
                      <a:r>
                        <a:rPr lang="en-US" sz="1000" b="1"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Phase 9: Business Continuity Internal Audit &amp; Management Review</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Deloitte will assist Salam’s internal audit department in conducting the BCM Internal Audit. However, to maintain independence and avoid any conflict of interest, final execution of audit activities and issuance of report will be done by the Internal Audit team.</a:t>
                      </a:r>
                    </a:p>
                    <a:p>
                      <a:pPr marL="171450" marR="0" indent="-171450" algn="just" defTabSz="914400" rtl="0" latinLnBrk="0">
                        <a:lnSpc>
                          <a:spcPct val="107000"/>
                        </a:lnSpc>
                        <a:spcBef>
                          <a:spcPts val="0"/>
                        </a:spcBef>
                        <a:spcAft>
                          <a:spcPts val="0"/>
                        </a:spcAft>
                        <a:buClrTx/>
                        <a:buSzTx/>
                        <a:buFont typeface="Arial" panose="020B0604020202020204" pitchFamily="34" charset="0"/>
                        <a:buChar char="•"/>
                        <a:tabLst/>
                      </a:pP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Should Salam opt for applying for ISO 22301 certification, Deloitte will not be responsible for supporting Salam during stage-1 or stage-2 audits or responsible for responding to any queries from the certifying body. These activities may be covered as part of the activities of BCM expert who would be seconded.</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4261933"/>
                  </a:ext>
                </a:extLst>
              </a:tr>
            </a:tbl>
          </a:graphicData>
        </a:graphic>
      </p:graphicFrame>
      <p:sp>
        <p:nvSpPr>
          <p:cNvPr id="7" name="Title 2">
            <a:extLst>
              <a:ext uri="{FF2B5EF4-FFF2-40B4-BE49-F238E27FC236}">
                <a16:creationId xmlns:a16="http://schemas.microsoft.com/office/drawing/2014/main" id="{2F0268B0-B651-4960-3C48-D5246BA7AA21}"/>
              </a:ext>
            </a:extLst>
          </p:cNvPr>
          <p:cNvSpPr>
            <a:spLocks noGrp="1"/>
          </p:cNvSpPr>
          <p:nvPr>
            <p:ph type="title"/>
          </p:nvPr>
        </p:nvSpPr>
        <p:spPr>
          <a:xfrm>
            <a:off x="475013" y="353883"/>
            <a:ext cx="9470433" cy="391302"/>
          </a:xfrm>
        </p:spPr>
        <p:txBody>
          <a:bodyPr>
            <a:normAutofit/>
          </a:bodyPr>
          <a:lstStyle/>
          <a:p>
            <a:r>
              <a:rPr lang="en-US">
                <a:solidFill>
                  <a:schemeClr val="tx2">
                    <a:lumMod val="50000"/>
                  </a:schemeClr>
                </a:solidFill>
                <a:latin typeface="+mn-lt"/>
              </a:rPr>
              <a:t>Assumptions</a:t>
            </a:r>
          </a:p>
        </p:txBody>
      </p:sp>
      <p:sp>
        <p:nvSpPr>
          <p:cNvPr id="8" name="Text Placeholder 3">
            <a:extLst>
              <a:ext uri="{FF2B5EF4-FFF2-40B4-BE49-F238E27FC236}">
                <a16:creationId xmlns:a16="http://schemas.microsoft.com/office/drawing/2014/main" id="{B081F70D-7540-FBAD-E61E-55229EAD6E9D}"/>
              </a:ext>
            </a:extLst>
          </p:cNvPr>
          <p:cNvSpPr txBox="1">
            <a:spLocks/>
          </p:cNvSpPr>
          <p:nvPr/>
        </p:nvSpPr>
        <p:spPr>
          <a:xfrm>
            <a:off x="397228" y="745186"/>
            <a:ext cx="9470432" cy="391302"/>
          </a:xfrm>
          <a:prstGeom prst="rect">
            <a:avLst/>
          </a:prstGeom>
          <a:noFill/>
        </p:spPr>
        <p:txBody>
          <a:bodyPr/>
          <a:lstStyle>
            <a:lvl1pPr marL="0" indent="0" algn="l" defTabSz="685800" rtl="0" eaLnBrk="1" latinLnBrk="0" hangingPunct="1">
              <a:spcBef>
                <a:spcPts val="0"/>
              </a:spcBef>
              <a:spcAft>
                <a:spcPts val="750"/>
              </a:spcAft>
              <a:buSzPct val="100000"/>
              <a:buFontTx/>
              <a:buNone/>
              <a:defRPr sz="2100" b="0" kern="1200">
                <a:solidFill>
                  <a:schemeClr val="tx2"/>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lang="en-US" sz="1400" b="1" dirty="0">
                <a:solidFill>
                  <a:srgbClr val="575757"/>
                </a:solidFill>
                <a:ea typeface="Open Sans Light" panose="020B0306030504020204" pitchFamily="34" charset="0"/>
                <a:cs typeface="Open Sans Light" panose="020B0306030504020204" pitchFamily="34" charset="0"/>
              </a:rPr>
              <a:t>Technical Assumptions (2/2)</a:t>
            </a:r>
          </a:p>
        </p:txBody>
      </p:sp>
    </p:spTree>
    <p:extLst>
      <p:ext uri="{BB962C8B-B14F-4D97-AF65-F5344CB8AC3E}">
        <p14:creationId xmlns:p14="http://schemas.microsoft.com/office/powerpoint/2010/main" val="4280744372"/>
      </p:ext>
    </p:extLst>
  </p:cSld>
  <p:clrMapOvr>
    <a:masterClrMapping/>
  </p:clrMapOvr>
  <p:transition spd="med"/>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CC93B7E7-8D0A-1A99-7EF2-95F71E057368}"/>
              </a:ext>
            </a:extLst>
          </p:cNvPr>
          <p:cNvSpPr txBox="1">
            <a:spLocks/>
          </p:cNvSpPr>
          <p:nvPr/>
        </p:nvSpPr>
        <p:spPr>
          <a:xfrm>
            <a:off x="397228" y="745186"/>
            <a:ext cx="9470432" cy="391302"/>
          </a:xfrm>
          <a:prstGeom prst="rect">
            <a:avLst/>
          </a:prstGeom>
          <a:noFill/>
        </p:spPr>
        <p:txBody>
          <a:bodyPr/>
          <a:lstStyle>
            <a:lvl1pPr marL="0" indent="0" algn="l" defTabSz="685800" rtl="0" eaLnBrk="1" latinLnBrk="0" hangingPunct="1">
              <a:spcBef>
                <a:spcPts val="0"/>
              </a:spcBef>
              <a:spcAft>
                <a:spcPts val="750"/>
              </a:spcAft>
              <a:buSzPct val="100000"/>
              <a:buFontTx/>
              <a:buNone/>
              <a:defRPr sz="2100" b="0" kern="1200">
                <a:solidFill>
                  <a:schemeClr val="tx2"/>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lang="en-US" sz="1400" b="1" dirty="0">
                <a:solidFill>
                  <a:srgbClr val="575757"/>
                </a:solidFill>
                <a:ea typeface="Open Sans Light" panose="020B0306030504020204" pitchFamily="34" charset="0"/>
                <a:cs typeface="Open Sans Light" panose="020B0306030504020204" pitchFamily="34" charset="0"/>
              </a:rPr>
              <a:t>Secondment Assumptions</a:t>
            </a:r>
          </a:p>
        </p:txBody>
      </p:sp>
      <p:sp>
        <p:nvSpPr>
          <p:cNvPr id="3" name="Title 2">
            <a:extLst>
              <a:ext uri="{FF2B5EF4-FFF2-40B4-BE49-F238E27FC236}">
                <a16:creationId xmlns:a16="http://schemas.microsoft.com/office/drawing/2014/main" id="{349E825D-7E80-8FCA-A82E-1A57A034F362}"/>
              </a:ext>
            </a:extLst>
          </p:cNvPr>
          <p:cNvSpPr>
            <a:spLocks noGrp="1"/>
          </p:cNvSpPr>
          <p:nvPr>
            <p:ph type="title"/>
          </p:nvPr>
        </p:nvSpPr>
        <p:spPr>
          <a:xfrm>
            <a:off x="475013" y="353883"/>
            <a:ext cx="9470433" cy="391302"/>
          </a:xfrm>
        </p:spPr>
        <p:txBody>
          <a:bodyPr>
            <a:normAutofit/>
          </a:bodyPr>
          <a:lstStyle/>
          <a:p>
            <a:r>
              <a:rPr lang="en-US">
                <a:solidFill>
                  <a:schemeClr val="tx2">
                    <a:lumMod val="50000"/>
                  </a:schemeClr>
                </a:solidFill>
                <a:latin typeface="+mn-lt"/>
              </a:rPr>
              <a:t>Assumptions</a:t>
            </a:r>
          </a:p>
        </p:txBody>
      </p:sp>
      <p:graphicFrame>
        <p:nvGraphicFramePr>
          <p:cNvPr id="5" name="Table 4">
            <a:extLst>
              <a:ext uri="{FF2B5EF4-FFF2-40B4-BE49-F238E27FC236}">
                <a16:creationId xmlns:a16="http://schemas.microsoft.com/office/drawing/2014/main" id="{E9AE7BA3-E382-37AF-A4D7-457B619974F4}"/>
              </a:ext>
            </a:extLst>
          </p:cNvPr>
          <p:cNvGraphicFramePr>
            <a:graphicFrameLocks noGrp="1"/>
          </p:cNvGraphicFramePr>
          <p:nvPr>
            <p:extLst>
              <p:ext uri="{D42A27DB-BD31-4B8C-83A1-F6EECF244321}">
                <p14:modId xmlns:p14="http://schemas.microsoft.com/office/powerpoint/2010/main" val="2262235305"/>
              </p:ext>
            </p:extLst>
          </p:nvPr>
        </p:nvGraphicFramePr>
        <p:xfrm>
          <a:off x="475013" y="1057850"/>
          <a:ext cx="11369614" cy="4976241"/>
        </p:xfrm>
        <a:graphic>
          <a:graphicData uri="http://schemas.openxmlformats.org/drawingml/2006/table">
            <a:tbl>
              <a:tblPr firstRow="1" firstCol="1" bandRow="1">
                <a:tableStyleId>{073A0DAA-6AF3-43AB-8588-CEC1D06C72B9}</a:tableStyleId>
              </a:tblPr>
              <a:tblGrid>
                <a:gridCol w="1453641">
                  <a:extLst>
                    <a:ext uri="{9D8B030D-6E8A-4147-A177-3AD203B41FA5}">
                      <a16:colId xmlns:a16="http://schemas.microsoft.com/office/drawing/2014/main" val="4069256536"/>
                    </a:ext>
                  </a:extLst>
                </a:gridCol>
                <a:gridCol w="9915973">
                  <a:extLst>
                    <a:ext uri="{9D8B030D-6E8A-4147-A177-3AD203B41FA5}">
                      <a16:colId xmlns:a16="http://schemas.microsoft.com/office/drawing/2014/main" val="2953027966"/>
                    </a:ext>
                  </a:extLst>
                </a:gridCol>
              </a:tblGrid>
              <a:tr h="4776420">
                <a:tc>
                  <a:txBody>
                    <a:bodyPr/>
                    <a:lstStyle/>
                    <a:p>
                      <a:pPr marL="0" marR="0" algn="l">
                        <a:lnSpc>
                          <a:spcPct val="107000"/>
                        </a:lnSpc>
                        <a:spcBef>
                          <a:spcPts val="0"/>
                        </a:spcBef>
                        <a:spcAft>
                          <a:spcPts val="0"/>
                        </a:spcAft>
                      </a:pPr>
                      <a:r>
                        <a:rPr lang="en-GB" sz="1000" dirty="0">
                          <a:effectLst/>
                          <a:latin typeface="+mn-lt"/>
                          <a:ea typeface="Open Sans Light" panose="020B0306030504020204" pitchFamily="34" charset="0"/>
                          <a:cs typeface="Open Sans Light" panose="020B0306030504020204" pitchFamily="34" charset="0"/>
                        </a:rPr>
                        <a:t>Secondment Assumptions</a:t>
                      </a:r>
                      <a:endParaRPr lang="en-US" sz="1000" dirty="0">
                        <a:effectLst/>
                        <a:latin typeface="+mn-lt"/>
                        <a:ea typeface="Open Sans Light" panose="020B0306030504020204" pitchFamily="34" charset="0"/>
                        <a:cs typeface="Open Sans Light" panose="020B0306030504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171450" marR="0" indent="-171450" algn="just" defTabSz="914400" rtl="0" latinLnBrk="0">
                        <a:lnSpc>
                          <a:spcPct val="107000"/>
                        </a:lnSpc>
                        <a:spcBef>
                          <a:spcPts val="0"/>
                        </a:spcBef>
                        <a:spcAft>
                          <a:spcPts val="0"/>
                        </a:spcAft>
                        <a:buClr>
                          <a:srgbClr val="000000"/>
                        </a:buClr>
                        <a:buSzTx/>
                        <a:buFont typeface="Arial" panose="020B0604020202020204" pitchFamily="34" charset="0"/>
                        <a:buChar char="•"/>
                        <a:tabLst/>
                      </a:pPr>
                      <a:r>
                        <a:rPr lang="en-US" sz="1000" b="1"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APPOINTMENT OF SECONDEE</a:t>
                      </a: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 The Secondee shall be nominated based on the competency required by Salam. Salam  shall be allowed the opportunity to interview the Secondee. Salam, in its sole discretion, shall select the Secondee based on the successful interview, after which Salam shall agree the Job Description with Deloitte for the daily requirements of the Secondee. As the Secondee will be subject to the applicable working rules and regulations that apply to Salam’s employees, Salam agrees to provide copies of all such rules and regulations to the Secondee at the start of the Secondment. The Secondee shall remain an employee of Deloitte and Salam  shall not have any responsibility towards the Secondee in its capacity as an Employer.</a:t>
                      </a:r>
                    </a:p>
                    <a:p>
                      <a:pPr marL="171450" marR="0" indent="-171450" algn="just" defTabSz="914400" rtl="0" latinLnBrk="0">
                        <a:lnSpc>
                          <a:spcPct val="107000"/>
                        </a:lnSpc>
                        <a:spcBef>
                          <a:spcPts val="0"/>
                        </a:spcBef>
                        <a:spcAft>
                          <a:spcPts val="0"/>
                        </a:spcAft>
                        <a:buClr>
                          <a:srgbClr val="000000"/>
                        </a:buClr>
                        <a:buSzTx/>
                        <a:buFont typeface="Arial" panose="020B0604020202020204" pitchFamily="34" charset="0"/>
                        <a:buChar char="•"/>
                        <a:tabLst/>
                      </a:pPr>
                      <a:r>
                        <a:rPr lang="en-US" sz="1000" b="1"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TERMINATION AND REPLACEMENT</a:t>
                      </a: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 If for any reason, apart from short-term illness, the Secondee is unable to complete the Secondment term, or if the Secondee resigns from our employment, we will endeavor to provide a replacement member of staff, who will be subject to your approval and on the same terms as the Contract. References in the Contract to the Secondee shall include any such replacement. </a:t>
                      </a:r>
                    </a:p>
                    <a:p>
                      <a:pPr marL="171450" marR="0" lvl="0" indent="-171450" algn="just" defTabSz="914400" rtl="0" eaLnBrk="1" fontAlgn="auto" latinLnBrk="0" hangingPunct="1">
                        <a:lnSpc>
                          <a:spcPct val="107000"/>
                        </a:lnSpc>
                        <a:spcBef>
                          <a:spcPts val="0"/>
                        </a:spcBef>
                        <a:spcAft>
                          <a:spcPts val="0"/>
                        </a:spcAft>
                        <a:buClr>
                          <a:srgbClr val="000000"/>
                        </a:buClr>
                        <a:buSzTx/>
                        <a:buFont typeface="Arial" panose="020B0604020202020204" pitchFamily="34" charset="0"/>
                        <a:buChar char="•"/>
                        <a:tabLst/>
                        <a:defRPr/>
                      </a:pPr>
                      <a:r>
                        <a:rPr lang="en-US" sz="1000" b="1"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DELIVERABLES</a:t>
                      </a: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 Secondment will be utilized for the scope of work mentioned in the RFP. Secondee’s timesheet will be reviewed periodically by Deloitte engagement leader and Salam to ensure expectations are being met. Secondee will be available for 60 hours per month for two years. It is agreed that the Secondee shall not be responsible for any outputs produced such as Deliverables and there shall be no liability for any Delivery by said Deloitte Secondee. Deloitte shall have no responsibility for any Deliverable or quality assurance of Deliverables while the Secondee is working under the direct instruction of Salam. Salam  shall be solely responsible for determining that the scope and quality of the Secondee’s work is sufficient and appropriate for Salam ’s needs (including accepting responsibility for the results of that work). The Secondee shall report directly to Salam’s appointed representative and work under Salam ’s direction and supervision. Deloitte will not implement/purchase any IT system / application/ software and hardware licenses.</a:t>
                      </a:r>
                    </a:p>
                    <a:p>
                      <a:pPr marL="171450" marR="0" indent="-171450" algn="just" defTabSz="914400" rtl="0" latinLnBrk="0">
                        <a:lnSpc>
                          <a:spcPct val="107000"/>
                        </a:lnSpc>
                        <a:spcBef>
                          <a:spcPts val="0"/>
                        </a:spcBef>
                        <a:spcAft>
                          <a:spcPts val="0"/>
                        </a:spcAft>
                        <a:buClr>
                          <a:srgbClr val="000000"/>
                        </a:buClr>
                        <a:buSzTx/>
                        <a:buFont typeface="Arial" panose="020B0604020202020204" pitchFamily="34" charset="0"/>
                        <a:buChar char="•"/>
                        <a:tabLst/>
                      </a:pPr>
                      <a:r>
                        <a:rPr lang="en-US" sz="1000" b="1"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CLIENT RESPONSIBILITIES</a:t>
                      </a: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 Salam agrees to remain solely responsible for managing all aspects of their business, for making all management judgements and decisions, for all management responsibilities and operating all accounting, internal control or management information systems. In connection with this Contract, all Deloitte Secondee(s) hereunder, shall be entitled to unequivocally rely on all decisions and approvals of Salam . Salam  in its absolute sole discretion shall be liable and responsible for all decisions. </a:t>
                      </a:r>
                    </a:p>
                    <a:p>
                      <a:pPr marL="171450" marR="0" indent="-171450" algn="just" defTabSz="914400" rtl="0" latinLnBrk="0">
                        <a:lnSpc>
                          <a:spcPct val="107000"/>
                        </a:lnSpc>
                        <a:spcBef>
                          <a:spcPts val="0"/>
                        </a:spcBef>
                        <a:spcAft>
                          <a:spcPts val="0"/>
                        </a:spcAft>
                        <a:buClr>
                          <a:srgbClr val="000000"/>
                        </a:buClr>
                        <a:buSzTx/>
                        <a:buFont typeface="Arial" panose="020B0604020202020204" pitchFamily="34" charset="0"/>
                        <a:buChar char="•"/>
                        <a:tabLst/>
                      </a:pPr>
                      <a:r>
                        <a:rPr lang="en-US" sz="1000" b="1"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LIMITATION OF LIABILITY</a:t>
                      </a: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 Deloitte will not be supervising the Secondee during the Secondment and cannot be responsible for the Secondee's work. During the Secondment, the Secondee is deemed to be Salam ’s agent and Salam agrees to be solely liable for any loss, liability, damage, cost, charge or expense of whatever nature and howsoever caused and including interest (together "Losses") which relate to or arise out of any act or omission of the Secondee. Deloitte shall not be responsible for any Losses resulting from or connected with the work undertaken by the Secondee. If Deloitte are found liable to Salam, Salam agrees that Deloitte, and its personnel shall not be liable to Salam for any claims, liabilities, or expenses relating to this Secondment (“Claims”) for an aggregate amount in excess of the fees paid by Salam to Deloitte pursuant to this Secondment, except to the extent finally judicially determined to have resulted primarily from the bad faith or intentional misconduct of Deloitte. In no event shall Deloitte or its personnel be liable for consequential, special, indirect, incidental, punitive or exemplary loss, damage, or expense relating to this engagement. Deloitte shall not be liable for any loss, damages, costs or expenses directly or indirectly incurred by any party other than the Client as stated above, who may rely upon the Deliverables for whatsoever reason.</a:t>
                      </a:r>
                    </a:p>
                    <a:p>
                      <a:pPr marL="171450" marR="0" indent="-171450" algn="just" defTabSz="914400" rtl="0" latinLnBrk="0">
                        <a:lnSpc>
                          <a:spcPct val="107000"/>
                        </a:lnSpc>
                        <a:spcBef>
                          <a:spcPts val="0"/>
                        </a:spcBef>
                        <a:spcAft>
                          <a:spcPts val="0"/>
                        </a:spcAft>
                        <a:buClr>
                          <a:srgbClr val="000000"/>
                        </a:buClr>
                        <a:buSzTx/>
                        <a:buFont typeface="Arial" panose="020B0604020202020204" pitchFamily="34" charset="0"/>
                        <a:buChar char="•"/>
                        <a:tabLst/>
                      </a:pPr>
                      <a:r>
                        <a:rPr lang="en-US" sz="1000" b="1"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Call off orders</a:t>
                      </a: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 For the avoidance of doubt, each Purchase Order shall have its own maximum liability, and the Parties record that this will not be cumulative across all Purchase Orders.]</a:t>
                      </a:r>
                    </a:p>
                    <a:p>
                      <a:pPr marL="171450" marR="0" indent="-171450" algn="just" defTabSz="914400" rtl="0" latinLnBrk="0">
                        <a:lnSpc>
                          <a:spcPct val="107000"/>
                        </a:lnSpc>
                        <a:spcBef>
                          <a:spcPts val="0"/>
                        </a:spcBef>
                        <a:spcAft>
                          <a:spcPts val="0"/>
                        </a:spcAft>
                        <a:buClr>
                          <a:srgbClr val="000000"/>
                        </a:buClr>
                        <a:buSzTx/>
                        <a:buFont typeface="Arial" panose="020B0604020202020204" pitchFamily="34" charset="0"/>
                        <a:buChar char="•"/>
                        <a:tabLst/>
                      </a:pPr>
                      <a:r>
                        <a:rPr lang="en-US" sz="1000" b="1"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RE-PERFORMANCE</a:t>
                      </a:r>
                      <a:r>
                        <a:rPr lang="en-US" sz="1000" b="0" i="0" u="none" strike="noStrike" cap="none" spc="0" baseline="0" dirty="0">
                          <a:solidFill>
                            <a:schemeClr val="tx2">
                              <a:lumMod val="50000"/>
                            </a:schemeClr>
                          </a:solidFill>
                          <a:effectLst/>
                          <a:uFillTx/>
                          <a:latin typeface="+mn-lt"/>
                          <a:ea typeface="Open Sans Light" panose="020B0306030504020204" pitchFamily="34" charset="0"/>
                          <a:cs typeface="Open Sans Light" panose="020B0306030504020204" pitchFamily="34" charset="0"/>
                          <a:sym typeface="Open Sans Light"/>
                        </a:rPr>
                        <a:t>: If Salam is, with good reason, dissatisfied with the Secondee's work, Deloitte will identify an alternative individual to re-perform (or revise) the Secondee's work provided that any such dissatisfaction is brought to Deloitte’s attention during the period of the Secondment. In the event that re-performance or revision of the original work achieves Salam ’s satisfaction, then Deloitte shall have no further liability in respect of such work. In the event that this re-performance does not achieve Salam ’s satisfaction,  Salam ’s exclusive remedy shall be for Deloitte, upon receipt of written notice, the return of professional fees paid to Deloitte hereunder with respect to the services giving rise to such dissatisfa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28475725"/>
                  </a:ext>
                </a:extLst>
              </a:tr>
            </a:tbl>
          </a:graphicData>
        </a:graphic>
      </p:graphicFrame>
    </p:spTree>
    <p:extLst>
      <p:ext uri="{BB962C8B-B14F-4D97-AF65-F5344CB8AC3E}">
        <p14:creationId xmlns:p14="http://schemas.microsoft.com/office/powerpoint/2010/main" val="1863641052"/>
      </p:ext>
    </p:extLst>
  </p:cSld>
  <p:clrMapOvr>
    <a:masterClrMapping/>
  </p:clrMapOvr>
  <p:transition spd="med"/>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2" name="Title 1"/>
          <p:cNvSpPr txBox="1">
            <a:spLocks noGrp="1"/>
          </p:cNvSpPr>
          <p:nvPr>
            <p:ph type="title"/>
          </p:nvPr>
        </p:nvSpPr>
        <p:spPr>
          <a:prstGeom prst="rect">
            <a:avLst/>
          </a:prstGeom>
        </p:spPr>
        <p:txBody>
          <a:bodyPr/>
          <a:lstStyle/>
          <a:p>
            <a:r>
              <a:rPr lang="en-US" dirty="0">
                <a:latin typeface="+mn-lt"/>
              </a:rPr>
              <a:t>General Business Terms &amp; Conditions</a:t>
            </a:r>
            <a:endParaRPr dirty="0">
              <a:latin typeface="+mn-lt"/>
            </a:endParaRPr>
          </a:p>
        </p:txBody>
      </p:sp>
    </p:spTree>
    <p:extLst>
      <p:ext uri="{BB962C8B-B14F-4D97-AF65-F5344CB8AC3E}">
        <p14:creationId xmlns:p14="http://schemas.microsoft.com/office/powerpoint/2010/main" val="2936310886"/>
      </p:ext>
    </p:extLst>
  </p:cSld>
  <p:clrMapOvr>
    <a:masterClrMapping/>
  </p:clrMapOvr>
  <p:transition spd="slow">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914314-A01C-44E3-AC84-C79B490DD84B}"/>
              </a:ext>
            </a:extLst>
          </p:cNvPr>
          <p:cNvSpPr>
            <a:spLocks noGrp="1"/>
          </p:cNvSpPr>
          <p:nvPr>
            <p:ph type="title"/>
          </p:nvPr>
        </p:nvSpPr>
        <p:spPr/>
        <p:txBody>
          <a:bodyPr/>
          <a:lstStyle/>
          <a:p>
            <a:r>
              <a:rPr lang="en-US" dirty="0">
                <a:latin typeface="+mn-lt"/>
              </a:rPr>
              <a:t>General Business Terms and Conditions (1 of 18)</a:t>
            </a:r>
          </a:p>
        </p:txBody>
      </p:sp>
      <p:sp>
        <p:nvSpPr>
          <p:cNvPr id="4" name="TextBox 3">
            <a:extLst>
              <a:ext uri="{FF2B5EF4-FFF2-40B4-BE49-F238E27FC236}">
                <a16:creationId xmlns:a16="http://schemas.microsoft.com/office/drawing/2014/main" id="{03C8783D-063E-1E73-2A82-5AC95D1D205E}"/>
              </a:ext>
            </a:extLst>
          </p:cNvPr>
          <p:cNvSpPr txBox="1"/>
          <p:nvPr/>
        </p:nvSpPr>
        <p:spPr bwMode="gray">
          <a:xfrm>
            <a:off x="522377" y="761804"/>
            <a:ext cx="10342039" cy="6067633"/>
          </a:xfrm>
          <a:prstGeom prst="rect">
            <a:avLst/>
          </a:prstGeom>
          <a:noFill/>
        </p:spPr>
        <p:txBody>
          <a:bodyPr wrap="square">
            <a:spAutoFit/>
          </a:bodyPr>
          <a:lstStyle/>
          <a:p>
            <a:pPr algn="just" hangingPunct="1">
              <a:spcBef>
                <a:spcPts val="591"/>
              </a:spcBef>
            </a:pPr>
            <a:r>
              <a:rPr lang="en-US" sz="1041" b="1" kern="1200" dirty="0">
                <a:solidFill>
                  <a:prstClr val="black"/>
                </a:solidFill>
                <a:latin typeface="Calibri" panose="020F0502020204030204" pitchFamily="34" charset="0"/>
                <a:ea typeface="+mn-ea"/>
                <a:cs typeface="Calibri" panose="020F0502020204030204" pitchFamily="34" charset="0"/>
              </a:rPr>
              <a:t>Master General Business Terms and Conditions</a:t>
            </a:r>
          </a:p>
          <a:p>
            <a:pPr marL="362481" indent="-634342" algn="just" hangingPunct="1">
              <a:spcBef>
                <a:spcPts val="591"/>
              </a:spcBef>
            </a:pPr>
            <a:endParaRPr lang="en-US" sz="1041" b="1" kern="1200" dirty="0">
              <a:solidFill>
                <a:prstClr val="black"/>
              </a:solidFill>
              <a:latin typeface="Calibri" panose="020F0502020204030204" pitchFamily="34" charset="0"/>
              <a:ea typeface="+mn-ea"/>
              <a:cs typeface="Calibri" panose="020F0502020204030204" pitchFamily="34" charset="0"/>
            </a:endParaRPr>
          </a:p>
          <a:p>
            <a:pPr marL="362481" indent="-634342" algn="just" hangingPunct="1">
              <a:spcBef>
                <a:spcPts val="591"/>
              </a:spcBef>
            </a:pPr>
            <a:r>
              <a:rPr lang="en-US" sz="1041" b="1" kern="1200" dirty="0">
                <a:solidFill>
                  <a:prstClr val="black"/>
                </a:solidFill>
                <a:latin typeface="Calibri" panose="020F0502020204030204" pitchFamily="34" charset="0"/>
                <a:ea typeface="+mn-ea"/>
                <a:cs typeface="Calibri" panose="020F0502020204030204" pitchFamily="34" charset="0"/>
              </a:rPr>
              <a:t>1	Terms of Reference. </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1.1	Deloitte hereby agrees to render Services to the Client, as set out in the General Business Terms and Conditions read together with the Proposal (hereinafter collectively referred to as the “Agreement”).  Deloitte accepts the appointment to render the Services to the Client on the terms and conditions set out in this General Business Terms and Conditions. All Services rendered by Deloitte for the Client will be in accordance with the agreed terms of reference for the Project as contained in this Agreement unless both Parties in writing agree upon a revision. </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1.1.1	It is specifically recorded that a number of assumptions have been made by the Parties around the rendering of Services, and these are as described in the 	Proposal.</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1.1.2	It is agreed that should any of these assumptions be proven to be incorrect (by either Party), this will be treated as a change of scope to the Agreement, and will be dealt with accordingly by the Parties. </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1.2	In the event of Services already being delivered, Client agrees that these terms shall apply to the Engagement retrospectively. In the event that any of the General Business Terms and Conditions in whole or in part are found to be illegal, void or unenforceable, the remainder of the terms shall not be impacted and will remain in force. </a:t>
            </a:r>
          </a:p>
          <a:p>
            <a:pPr marL="362481" indent="-634342" algn="just" hangingPunct="1">
              <a:spcBef>
                <a:spcPts val="591"/>
              </a:spcBef>
            </a:pPr>
            <a:endParaRPr lang="en-US" sz="1041" kern="1200" dirty="0">
              <a:solidFill>
                <a:prstClr val="black"/>
              </a:solidFill>
              <a:latin typeface="Calibri" panose="020F0502020204030204" pitchFamily="34" charset="0"/>
              <a:ea typeface="+mn-ea"/>
              <a:cs typeface="Calibri" panose="020F0502020204030204" pitchFamily="34" charset="0"/>
            </a:endParaRPr>
          </a:p>
          <a:p>
            <a:pPr marL="362481" indent="-634342" algn="just" hangingPunct="1">
              <a:spcBef>
                <a:spcPts val="591"/>
              </a:spcBef>
            </a:pPr>
            <a:r>
              <a:rPr lang="en-US" sz="1041" b="1" kern="1200" dirty="0">
                <a:solidFill>
                  <a:prstClr val="black"/>
                </a:solidFill>
                <a:latin typeface="Calibri" panose="020F0502020204030204" pitchFamily="34" charset="0"/>
                <a:ea typeface="+mn-ea"/>
                <a:cs typeface="Calibri" panose="020F0502020204030204" pitchFamily="34" charset="0"/>
              </a:rPr>
              <a:t>2	Interpretation.</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2.1	The headings to the clauses in this Agreement are for convenient reference purposes only, shall not be used in the interpretation of this Agreement and shall not limit or extend the language of the clauses to which they refer.</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2.2	Unless the context otherwise requires:</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2.2.1	The singular shall import and include the plural and vice versa;</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2.2.2	Words indicating a gender shall import and include other genders;</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2.2.3	Words indicating natural persons shall include juristic persons;</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2.3	The Gregorian calendar shall be the basis for any years, quarters, months or dates expressed in this Agreement; and</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2.4	References to clauses, parts and sections are, unless otherwise provided, references to clauses, parts and sections of this Agreement. </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2.5	Order of Precedence: </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2.5.1	Proposal;</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2.5.2	Letter of Engagement;  </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2.5.3	Change Order (if applicable, the Change Order would supersede the Proposal and be followed by the General Business Terms and Conditions).</a:t>
            </a:r>
          </a:p>
        </p:txBody>
      </p:sp>
    </p:spTree>
    <p:extLst>
      <p:ext uri="{BB962C8B-B14F-4D97-AF65-F5344CB8AC3E}">
        <p14:creationId xmlns:p14="http://schemas.microsoft.com/office/powerpoint/2010/main" val="351412068"/>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ext Placeholder 20">
            <a:extLst>
              <a:ext uri="{FF2B5EF4-FFF2-40B4-BE49-F238E27FC236}">
                <a16:creationId xmlns:a16="http://schemas.microsoft.com/office/drawing/2014/main" id="{0B00487E-9A8E-46E0-B60F-BB884C23310C}"/>
              </a:ext>
            </a:extLst>
          </p:cNvPr>
          <p:cNvSpPr txBox="1">
            <a:spLocks/>
          </p:cNvSpPr>
          <p:nvPr/>
        </p:nvSpPr>
        <p:spPr>
          <a:xfrm>
            <a:off x="412436"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575757"/>
                </a:solidFill>
                <a:effectLst/>
                <a:uLnTx/>
                <a:uFillTx/>
                <a:latin typeface="+mn-lt"/>
                <a:ea typeface="Open Sans Light" panose="020B0306030504020204" pitchFamily="34" charset="0"/>
                <a:cs typeface="Open Sans Light" panose="020B0306030504020204" pitchFamily="34" charset="0"/>
                <a:sym typeface="Open Sans Light"/>
              </a:rPr>
              <a:t>Our Expertise</a:t>
            </a:r>
          </a:p>
        </p:txBody>
      </p:sp>
      <p:sp>
        <p:nvSpPr>
          <p:cNvPr id="76" name="Title 1">
            <a:extLst>
              <a:ext uri="{FF2B5EF4-FFF2-40B4-BE49-F238E27FC236}">
                <a16:creationId xmlns:a16="http://schemas.microsoft.com/office/drawing/2014/main" id="{11F95CE4-70DC-4FF6-9740-A5C6EC6923E7}"/>
              </a:ext>
            </a:extLst>
          </p:cNvPr>
          <p:cNvSpPr txBox="1">
            <a:spLocks/>
          </p:cNvSpPr>
          <p:nvPr/>
        </p:nvSpPr>
        <p:spPr bwMode="gray">
          <a:xfrm>
            <a:off x="412436"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400" kern="1200">
                <a:solidFill>
                  <a:srgbClr val="86BC25"/>
                </a:solidFill>
                <a:latin typeface="+mj-lt"/>
                <a:ea typeface="Verdana" panose="020B0604030504040204" pitchFamily="34" charset="0"/>
                <a:cs typeface="Calibri" panose="020F0502020204030204" pitchFamily="34"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en-US" sz="2000" dirty="0">
                <a:solidFill>
                  <a:sysClr val="windowText" lastClr="000000"/>
                </a:solidFill>
                <a:latin typeface="+mn-lt"/>
                <a:ea typeface="Open Sans Semibold" panose="020B0706030804020204" pitchFamily="34" charset="0"/>
                <a:cs typeface="Open Sans Semibold" panose="020B0706030804020204" pitchFamily="34" charset="0"/>
              </a:rPr>
              <a:t>Executive Summary</a:t>
            </a:r>
            <a:endParaRPr kumimoji="0" lang="en-US" sz="2000" b="0" i="0" u="none" strike="noStrike" kern="1200" cap="none" spc="0" normalizeH="0" baseline="0" noProof="0" dirty="0">
              <a:ln>
                <a:noFill/>
              </a:ln>
              <a:solidFill>
                <a:sysClr val="windowText" lastClr="000000"/>
              </a:solidFill>
              <a:effectLst/>
              <a:uLnTx/>
              <a:uFillTx/>
              <a:latin typeface="+mn-lt"/>
              <a:ea typeface="Open Sans Semibold" panose="020B0706030804020204" pitchFamily="34" charset="0"/>
              <a:cs typeface="Open Sans Semibold" panose="020B0706030804020204" pitchFamily="34" charset="0"/>
              <a:sym typeface="Open Sans Light"/>
            </a:endParaRPr>
          </a:p>
        </p:txBody>
      </p:sp>
      <p:sp>
        <p:nvSpPr>
          <p:cNvPr id="48" name="Content Placeholder 3">
            <a:extLst>
              <a:ext uri="{FF2B5EF4-FFF2-40B4-BE49-F238E27FC236}">
                <a16:creationId xmlns:a16="http://schemas.microsoft.com/office/drawing/2014/main" id="{BB9961BD-55CB-CB73-3CF7-AE60DF435CC3}"/>
              </a:ext>
            </a:extLst>
          </p:cNvPr>
          <p:cNvSpPr txBox="1">
            <a:spLocks/>
          </p:cNvSpPr>
          <p:nvPr/>
        </p:nvSpPr>
        <p:spPr>
          <a:xfrm>
            <a:off x="412436" y="1020730"/>
            <a:ext cx="11454667" cy="606080"/>
          </a:xfrm>
          <a:prstGeom prst="rect">
            <a:avLst/>
          </a:prstGeom>
        </p:spPr>
        <p:txBody>
          <a:bodyPr vert="horz" lIns="0" tIns="0" rIns="0" bIns="0" rtlCol="0" anchor="t">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1219170">
              <a:spcBef>
                <a:spcPts val="600"/>
              </a:spcBef>
              <a:spcAft>
                <a:spcPts val="998"/>
              </a:spcAft>
              <a:defRPr/>
            </a:pPr>
            <a:r>
              <a:rPr lang="en-US" sz="1200" dirty="0">
                <a:solidFill>
                  <a:srgbClr val="3E3E3E"/>
                </a:solidFill>
                <a:ea typeface="Open Sans Light" panose="020B0306030504020204" pitchFamily="34" charset="0"/>
                <a:cs typeface="Open Sans Light" panose="020B0306030504020204" pitchFamily="34" charset="0"/>
              </a:rPr>
              <a:t>Our Middle East BCM practice has experienced practitioners and consultants certified in the business continuity field. We have successfully developed and evolved BCMS, implemented end-to-end projects, assessed readiness and maturity, and advised on BCM best practices.</a:t>
            </a:r>
          </a:p>
        </p:txBody>
      </p:sp>
      <p:grpSp>
        <p:nvGrpSpPr>
          <p:cNvPr id="88" name="Group 87">
            <a:extLst>
              <a:ext uri="{FF2B5EF4-FFF2-40B4-BE49-F238E27FC236}">
                <a16:creationId xmlns:a16="http://schemas.microsoft.com/office/drawing/2014/main" id="{C331B404-CDCA-5482-FC28-B641E33D5BA6}"/>
              </a:ext>
            </a:extLst>
          </p:cNvPr>
          <p:cNvGrpSpPr/>
          <p:nvPr/>
        </p:nvGrpSpPr>
        <p:grpSpPr>
          <a:xfrm>
            <a:off x="886009" y="1638885"/>
            <a:ext cx="10137432" cy="4814712"/>
            <a:chOff x="617654" y="1638885"/>
            <a:chExt cx="10137432" cy="4814712"/>
          </a:xfrm>
        </p:grpSpPr>
        <p:pic>
          <p:nvPicPr>
            <p:cNvPr id="51" name="Picture 50">
              <a:extLst>
                <a:ext uri="{FF2B5EF4-FFF2-40B4-BE49-F238E27FC236}">
                  <a16:creationId xmlns:a16="http://schemas.microsoft.com/office/drawing/2014/main" id="{B42DE202-605F-8646-8FD4-F6057FCD9FB2}"/>
                </a:ext>
              </a:extLst>
            </p:cNvPr>
            <p:cNvPicPr/>
            <p:nvPr/>
          </p:nvPicPr>
          <p:blipFill>
            <a:blip r:embed="rId2" cstate="email">
              <a:extLst>
                <a:ext uri="{28A0092B-C50C-407E-A947-70E740481C1C}">
                  <a14:useLocalDpi xmlns:a14="http://schemas.microsoft.com/office/drawing/2010/main"/>
                </a:ext>
              </a:extLst>
            </a:blip>
            <a:stretch>
              <a:fillRect/>
            </a:stretch>
          </p:blipFill>
          <p:spPr>
            <a:xfrm>
              <a:off x="8278444" y="4831015"/>
              <a:ext cx="1125379" cy="699958"/>
            </a:xfrm>
            <a:prstGeom prst="rect">
              <a:avLst/>
            </a:prstGeom>
          </p:spPr>
        </p:pic>
        <p:pic>
          <p:nvPicPr>
            <p:cNvPr id="52" name="Picture 51" descr="http://www.heavyliftpfi.com/_Attachments/Gallery/Shared/Etihad%20Rail%20Logo.jpg">
              <a:extLst>
                <a:ext uri="{FF2B5EF4-FFF2-40B4-BE49-F238E27FC236}">
                  <a16:creationId xmlns:a16="http://schemas.microsoft.com/office/drawing/2014/main" id="{C63D9AE8-6779-E743-CBA7-F60489DF6EA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157202" y="3819839"/>
              <a:ext cx="1367862" cy="594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7" descr="image001">
              <a:extLst>
                <a:ext uri="{FF2B5EF4-FFF2-40B4-BE49-F238E27FC236}">
                  <a16:creationId xmlns:a16="http://schemas.microsoft.com/office/drawing/2014/main" id="{4A611BA0-194A-7206-9A47-5A7CDA7F307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074855" y="2716927"/>
              <a:ext cx="1532556" cy="549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53" descr="C:\Users\haammar\Desktop\Maaden Logo - Good.png">
              <a:extLst>
                <a:ext uri="{FF2B5EF4-FFF2-40B4-BE49-F238E27FC236}">
                  <a16:creationId xmlns:a16="http://schemas.microsoft.com/office/drawing/2014/main" id="{7F1AD0BA-BB0B-89F7-53EE-CA7BCBC218A4}"/>
                </a:ext>
              </a:extLst>
            </p:cNvPr>
            <p:cNvPicPr/>
            <p:nvPr/>
          </p:nvPicPr>
          <p:blipFill>
            <a:blip r:embed="rId5" cstate="email">
              <a:extLst>
                <a:ext uri="{28A0092B-C50C-407E-A947-70E740481C1C}">
                  <a14:useLocalDpi xmlns:a14="http://schemas.microsoft.com/office/drawing/2010/main"/>
                </a:ext>
              </a:extLst>
            </a:blip>
            <a:srcRect/>
            <a:stretch>
              <a:fillRect/>
            </a:stretch>
          </p:blipFill>
          <p:spPr bwMode="auto">
            <a:xfrm>
              <a:off x="8307122" y="5915182"/>
              <a:ext cx="1068023" cy="443248"/>
            </a:xfrm>
            <a:prstGeom prst="rect">
              <a:avLst/>
            </a:prstGeom>
            <a:noFill/>
            <a:ln w="9525">
              <a:noFill/>
              <a:miter lim="800000"/>
              <a:headEnd/>
              <a:tailEnd/>
            </a:ln>
          </p:spPr>
        </p:pic>
        <p:pic>
          <p:nvPicPr>
            <p:cNvPr id="55" name="Picture 54">
              <a:extLst>
                <a:ext uri="{FF2B5EF4-FFF2-40B4-BE49-F238E27FC236}">
                  <a16:creationId xmlns:a16="http://schemas.microsoft.com/office/drawing/2014/main" id="{CBE65F01-448C-9947-CE23-F7ACD5C0228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157004" y="1756412"/>
              <a:ext cx="1368258" cy="482934"/>
            </a:xfrm>
            <a:prstGeom prst="rect">
              <a:avLst/>
            </a:prstGeom>
          </p:spPr>
        </p:pic>
        <p:pic>
          <p:nvPicPr>
            <p:cNvPr id="56" name="Picture 55">
              <a:extLst>
                <a:ext uri="{FF2B5EF4-FFF2-40B4-BE49-F238E27FC236}">
                  <a16:creationId xmlns:a16="http://schemas.microsoft.com/office/drawing/2014/main" id="{3DC785C3-9732-EF6D-78B9-41E088C229E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645536" y="4795498"/>
              <a:ext cx="1462974" cy="770993"/>
            </a:xfrm>
            <a:prstGeom prst="rect">
              <a:avLst/>
            </a:prstGeom>
          </p:spPr>
        </p:pic>
        <p:pic>
          <p:nvPicPr>
            <p:cNvPr id="57" name="Picture 56">
              <a:extLst>
                <a:ext uri="{FF2B5EF4-FFF2-40B4-BE49-F238E27FC236}">
                  <a16:creationId xmlns:a16="http://schemas.microsoft.com/office/drawing/2014/main" id="{03BDA2AB-8974-6B18-3613-DE0A02499535}"/>
                </a:ext>
              </a:extLst>
            </p:cNvPr>
            <p:cNvPicPr/>
            <p:nvPr/>
          </p:nvPicPr>
          <p:blipFill>
            <a:blip r:embed="rId8" cstate="email">
              <a:extLst>
                <a:ext uri="{28A0092B-C50C-407E-A947-70E740481C1C}">
                  <a14:useLocalDpi xmlns:a14="http://schemas.microsoft.com/office/drawing/2010/main"/>
                </a:ext>
              </a:extLst>
            </a:blip>
            <a:stretch>
              <a:fillRect/>
            </a:stretch>
          </p:blipFill>
          <p:spPr>
            <a:xfrm>
              <a:off x="6839838" y="3994642"/>
              <a:ext cx="1074371" cy="244446"/>
            </a:xfrm>
            <a:prstGeom prst="rect">
              <a:avLst/>
            </a:prstGeom>
          </p:spPr>
        </p:pic>
        <p:pic>
          <p:nvPicPr>
            <p:cNvPr id="58" name="Picture 57">
              <a:extLst>
                <a:ext uri="{FF2B5EF4-FFF2-40B4-BE49-F238E27FC236}">
                  <a16:creationId xmlns:a16="http://schemas.microsoft.com/office/drawing/2014/main" id="{366B8C32-0F3E-86A1-A1DB-B85C083BDEE6}"/>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850279" y="2668146"/>
              <a:ext cx="1053489" cy="646854"/>
            </a:xfrm>
            <a:prstGeom prst="rect">
              <a:avLst/>
            </a:prstGeom>
          </p:spPr>
        </p:pic>
        <p:pic>
          <p:nvPicPr>
            <p:cNvPr id="59" name="Picture 58">
              <a:extLst>
                <a:ext uri="{FF2B5EF4-FFF2-40B4-BE49-F238E27FC236}">
                  <a16:creationId xmlns:a16="http://schemas.microsoft.com/office/drawing/2014/main" id="{A59A7C48-7E67-1DDF-4AE9-85EDCB461CA4}"/>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728815" y="5822919"/>
              <a:ext cx="1296417" cy="627774"/>
            </a:xfrm>
            <a:prstGeom prst="rect">
              <a:avLst/>
            </a:prstGeom>
          </p:spPr>
        </p:pic>
        <p:pic>
          <p:nvPicPr>
            <p:cNvPr id="60" name="Picture 59">
              <a:extLst>
                <a:ext uri="{FF2B5EF4-FFF2-40B4-BE49-F238E27FC236}">
                  <a16:creationId xmlns:a16="http://schemas.microsoft.com/office/drawing/2014/main" id="{615F4612-A51E-4BA8-5851-AABCFEF6B728}"/>
                </a:ext>
              </a:extLst>
            </p:cNvPr>
            <p:cNvPicPr/>
            <p:nvPr/>
          </p:nvPicPr>
          <p:blipFill>
            <a:blip r:embed="rId11" cstate="email">
              <a:extLst>
                <a:ext uri="{28A0092B-C50C-407E-A947-70E740481C1C}">
                  <a14:useLocalDpi xmlns:a14="http://schemas.microsoft.com/office/drawing/2010/main"/>
                </a:ext>
              </a:extLst>
            </a:blip>
            <a:stretch>
              <a:fillRect/>
            </a:stretch>
          </p:blipFill>
          <p:spPr>
            <a:xfrm>
              <a:off x="6737700" y="1843409"/>
              <a:ext cx="1278646" cy="308940"/>
            </a:xfrm>
            <a:prstGeom prst="rect">
              <a:avLst/>
            </a:prstGeom>
          </p:spPr>
        </p:pic>
        <p:pic>
          <p:nvPicPr>
            <p:cNvPr id="61" name="Picture 60">
              <a:extLst>
                <a:ext uri="{FF2B5EF4-FFF2-40B4-BE49-F238E27FC236}">
                  <a16:creationId xmlns:a16="http://schemas.microsoft.com/office/drawing/2014/main" id="{7F9E9284-D6C0-1858-9CDD-0517CBDE4F0D}"/>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018078" y="1869275"/>
              <a:ext cx="1216514" cy="438236"/>
            </a:xfrm>
            <a:prstGeom prst="rect">
              <a:avLst/>
            </a:prstGeom>
          </p:spPr>
        </p:pic>
        <p:pic>
          <p:nvPicPr>
            <p:cNvPr id="62" name="Picture 61">
              <a:extLst>
                <a:ext uri="{FF2B5EF4-FFF2-40B4-BE49-F238E27FC236}">
                  <a16:creationId xmlns:a16="http://schemas.microsoft.com/office/drawing/2014/main" id="{39E6FC7C-1DFA-5A6A-2FC2-5CA055045FD3}"/>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550152" y="2544914"/>
              <a:ext cx="949336" cy="893319"/>
            </a:xfrm>
            <a:prstGeom prst="rect">
              <a:avLst/>
            </a:prstGeom>
          </p:spPr>
        </p:pic>
        <p:pic>
          <p:nvPicPr>
            <p:cNvPr id="63" name="Picture 62">
              <a:extLst>
                <a:ext uri="{FF2B5EF4-FFF2-40B4-BE49-F238E27FC236}">
                  <a16:creationId xmlns:a16="http://schemas.microsoft.com/office/drawing/2014/main" id="{F0B3EE13-C444-8137-709F-9A52B543CDFF}"/>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5365469" y="5835872"/>
              <a:ext cx="1318702" cy="601869"/>
            </a:xfrm>
            <a:prstGeom prst="rect">
              <a:avLst/>
            </a:prstGeom>
          </p:spPr>
        </p:pic>
        <p:pic>
          <p:nvPicPr>
            <p:cNvPr id="64" name="Picture 63">
              <a:extLst>
                <a:ext uri="{FF2B5EF4-FFF2-40B4-BE49-F238E27FC236}">
                  <a16:creationId xmlns:a16="http://schemas.microsoft.com/office/drawing/2014/main" id="{C9F4F4E4-D2F9-FC3F-61F3-4CBB30312A32}"/>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2340079" y="4894529"/>
              <a:ext cx="1643489" cy="572930"/>
            </a:xfrm>
            <a:prstGeom prst="rect">
              <a:avLst/>
            </a:prstGeom>
          </p:spPr>
        </p:pic>
        <p:pic>
          <p:nvPicPr>
            <p:cNvPr id="65" name="Picture 64">
              <a:extLst>
                <a:ext uri="{FF2B5EF4-FFF2-40B4-BE49-F238E27FC236}">
                  <a16:creationId xmlns:a16="http://schemas.microsoft.com/office/drawing/2014/main" id="{01C019EE-C447-8A85-70F0-73F4BA2BD0FA}"/>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2595701" y="3856660"/>
              <a:ext cx="1132245" cy="520411"/>
            </a:xfrm>
            <a:prstGeom prst="rect">
              <a:avLst/>
            </a:prstGeom>
          </p:spPr>
        </p:pic>
        <p:pic>
          <p:nvPicPr>
            <p:cNvPr id="66" name="Picture 65" descr="Mubadala">
              <a:extLst>
                <a:ext uri="{FF2B5EF4-FFF2-40B4-BE49-F238E27FC236}">
                  <a16:creationId xmlns:a16="http://schemas.microsoft.com/office/drawing/2014/main" id="{9C56CBF7-B6B2-429C-D0FF-1430DE11AF33}"/>
                </a:ext>
              </a:extLst>
            </p:cNvPr>
            <p:cNvPicPr/>
            <p:nvPr/>
          </p:nvPicPr>
          <p:blipFill>
            <a:blip r:embed="rId17" cstate="email">
              <a:extLst>
                <a:ext uri="{28A0092B-C50C-407E-A947-70E740481C1C}">
                  <a14:useLocalDpi xmlns:a14="http://schemas.microsoft.com/office/drawing/2010/main"/>
                </a:ext>
              </a:extLst>
            </a:blip>
            <a:srcRect/>
            <a:stretch>
              <a:fillRect/>
            </a:stretch>
          </p:blipFill>
          <p:spPr bwMode="auto">
            <a:xfrm>
              <a:off x="2628870" y="2850857"/>
              <a:ext cx="1065907" cy="281433"/>
            </a:xfrm>
            <a:prstGeom prst="rect">
              <a:avLst/>
            </a:prstGeom>
            <a:noFill/>
            <a:ln w="9525">
              <a:noFill/>
              <a:miter lim="800000"/>
              <a:headEnd/>
              <a:tailEnd/>
            </a:ln>
          </p:spPr>
        </p:pic>
        <p:pic>
          <p:nvPicPr>
            <p:cNvPr id="67" name="Picture 66" descr="http://www.iranmall.ir/source/Arab%20Banks/rte_NCB%20logo.JPG">
              <a:extLst>
                <a:ext uri="{FF2B5EF4-FFF2-40B4-BE49-F238E27FC236}">
                  <a16:creationId xmlns:a16="http://schemas.microsoft.com/office/drawing/2014/main" id="{457AFD4E-0F6E-93FD-DB52-A2FCE78514EB}"/>
                </a:ext>
              </a:extLst>
            </p:cNvPr>
            <p:cNvPicPr/>
            <p:nvPr/>
          </p:nvPicPr>
          <p:blipFill>
            <a:blip r:embed="rId18" cstate="email">
              <a:extLst>
                <a:ext uri="{28A0092B-C50C-407E-A947-70E740481C1C}">
                  <a14:useLocalDpi xmlns:a14="http://schemas.microsoft.com/office/drawing/2010/main"/>
                </a:ext>
              </a:extLst>
            </a:blip>
            <a:srcRect/>
            <a:stretch>
              <a:fillRect/>
            </a:stretch>
          </p:blipFill>
          <p:spPr bwMode="auto">
            <a:xfrm>
              <a:off x="2539598" y="6005328"/>
              <a:ext cx="1244450" cy="262956"/>
            </a:xfrm>
            <a:prstGeom prst="rect">
              <a:avLst/>
            </a:prstGeom>
            <a:noFill/>
            <a:ln>
              <a:noFill/>
            </a:ln>
          </p:spPr>
        </p:pic>
        <p:pic>
          <p:nvPicPr>
            <p:cNvPr id="68" name="Picture 67" descr="Logo&#10;&#10;Description automatically generated">
              <a:extLst>
                <a:ext uri="{FF2B5EF4-FFF2-40B4-BE49-F238E27FC236}">
                  <a16:creationId xmlns:a16="http://schemas.microsoft.com/office/drawing/2014/main" id="{6FF325F6-8DAC-09D6-69B7-51F86D688B7E}"/>
                </a:ext>
              </a:extLst>
            </p:cNvPr>
            <p:cNvPicPr/>
            <p:nvPr/>
          </p:nvPicPr>
          <p:blipFill rotWithShape="1">
            <a:blip r:embed="rId19" cstate="email">
              <a:extLst>
                <a:ext uri="{28A0092B-C50C-407E-A947-70E740481C1C}">
                  <a14:useLocalDpi xmlns:a14="http://schemas.microsoft.com/office/drawing/2010/main"/>
                </a:ext>
              </a:extLst>
            </a:blip>
            <a:srcRect/>
            <a:stretch/>
          </p:blipFill>
          <p:spPr bwMode="auto">
            <a:xfrm>
              <a:off x="617654" y="5875496"/>
              <a:ext cx="1812844" cy="482934"/>
            </a:xfrm>
            <a:prstGeom prst="rect">
              <a:avLst/>
            </a:prstGeom>
            <a:ln>
              <a:noFill/>
            </a:ln>
            <a:extLst>
              <a:ext uri="{53640926-AAD7-44D8-BBD7-CCE9431645EC}">
                <a14:shadowObscured xmlns:a14="http://schemas.microsoft.com/office/drawing/2010/main"/>
              </a:ext>
            </a:extLst>
          </p:spPr>
        </p:pic>
        <p:pic>
          <p:nvPicPr>
            <p:cNvPr id="69" name="Picture 68">
              <a:extLst>
                <a:ext uri="{FF2B5EF4-FFF2-40B4-BE49-F238E27FC236}">
                  <a16:creationId xmlns:a16="http://schemas.microsoft.com/office/drawing/2014/main" id="{EE22D790-C5E6-AB0B-6957-A1D2CC3885E1}"/>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3878859" y="4949227"/>
              <a:ext cx="1506068" cy="463535"/>
            </a:xfrm>
            <a:prstGeom prst="rect">
              <a:avLst/>
            </a:prstGeom>
          </p:spPr>
        </p:pic>
        <p:pic>
          <p:nvPicPr>
            <p:cNvPr id="70" name="Picture 69">
              <a:extLst>
                <a:ext uri="{FF2B5EF4-FFF2-40B4-BE49-F238E27FC236}">
                  <a16:creationId xmlns:a16="http://schemas.microsoft.com/office/drawing/2014/main" id="{E6034C74-DD10-8C95-598F-4306702B6E7E}"/>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2533381" y="1859757"/>
              <a:ext cx="1326903" cy="457272"/>
            </a:xfrm>
            <a:prstGeom prst="rect">
              <a:avLst/>
            </a:prstGeom>
          </p:spPr>
        </p:pic>
        <p:pic>
          <p:nvPicPr>
            <p:cNvPr id="71" name="Picture 133207">
              <a:extLst>
                <a:ext uri="{FF2B5EF4-FFF2-40B4-BE49-F238E27FC236}">
                  <a16:creationId xmlns:a16="http://schemas.microsoft.com/office/drawing/2014/main" id="{B32CA1AE-7FC2-3806-1607-2D47ABFE3999}"/>
                </a:ext>
              </a:extLst>
            </p:cNvPr>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4065771" y="2751401"/>
              <a:ext cx="1132245" cy="480345"/>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a:extLst>
                <a:ext uri="{FF2B5EF4-FFF2-40B4-BE49-F238E27FC236}">
                  <a16:creationId xmlns:a16="http://schemas.microsoft.com/office/drawing/2014/main" id="{A1CB4FB9-972D-212D-D72D-CB79091CDE2F}"/>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3985866" y="5820016"/>
              <a:ext cx="1292054" cy="633581"/>
            </a:xfrm>
            <a:prstGeom prst="rect">
              <a:avLst/>
            </a:prstGeom>
          </p:spPr>
        </p:pic>
        <p:pic>
          <p:nvPicPr>
            <p:cNvPr id="73" name="Picture 72" descr="ENEC_HeaderLogoPNG.png">
              <a:extLst>
                <a:ext uri="{FF2B5EF4-FFF2-40B4-BE49-F238E27FC236}">
                  <a16:creationId xmlns:a16="http://schemas.microsoft.com/office/drawing/2014/main" id="{6C356D35-6508-5FB3-6BC4-43B0BEBEDD58}"/>
                </a:ext>
              </a:extLst>
            </p:cNvPr>
            <p:cNvPicPr/>
            <p:nvPr/>
          </p:nvPicPr>
          <p:blipFill>
            <a:blip r:embed="rId24" cstate="email">
              <a:extLst>
                <a:ext uri="{28A0092B-C50C-407E-A947-70E740481C1C}">
                  <a14:useLocalDpi xmlns:a14="http://schemas.microsoft.com/office/drawing/2010/main"/>
                </a:ext>
              </a:extLst>
            </a:blip>
            <a:srcRect/>
            <a:stretch>
              <a:fillRect/>
            </a:stretch>
          </p:blipFill>
          <p:spPr>
            <a:xfrm>
              <a:off x="10040079" y="4989015"/>
              <a:ext cx="594872" cy="383958"/>
            </a:xfrm>
            <a:prstGeom prst="rect">
              <a:avLst/>
            </a:prstGeom>
            <a:noFill/>
            <a:ln>
              <a:noFill/>
            </a:ln>
          </p:spPr>
        </p:pic>
        <p:pic>
          <p:nvPicPr>
            <p:cNvPr id="74" name="Picture 73">
              <a:extLst>
                <a:ext uri="{FF2B5EF4-FFF2-40B4-BE49-F238E27FC236}">
                  <a16:creationId xmlns:a16="http://schemas.microsoft.com/office/drawing/2014/main" id="{814FCC9F-7C5E-CA06-EEFF-7004B7307273}"/>
                </a:ext>
              </a:extLst>
            </p:cNvPr>
            <p:cNvPicPr/>
            <p:nvPr/>
          </p:nvPicPr>
          <p:blipFill>
            <a:blip r:embed="rId25" cstate="email">
              <a:extLst>
                <a:ext uri="{28A0092B-C50C-407E-A947-70E740481C1C}">
                  <a14:useLocalDpi xmlns:a14="http://schemas.microsoft.com/office/drawing/2010/main"/>
                </a:ext>
              </a:extLst>
            </a:blip>
            <a:stretch>
              <a:fillRect/>
            </a:stretch>
          </p:blipFill>
          <p:spPr>
            <a:xfrm>
              <a:off x="9919944" y="3753671"/>
              <a:ext cx="835142" cy="726388"/>
            </a:xfrm>
            <a:prstGeom prst="rect">
              <a:avLst/>
            </a:prstGeom>
          </p:spPr>
        </p:pic>
        <p:pic>
          <p:nvPicPr>
            <p:cNvPr id="77" name="Picture 76" descr="C:\Users\haammar\AppData\Local\Microsoft\Windows\Temporary Internet Files\Content.Outlook\NVB6F3QA\CBK - LOGO.png">
              <a:extLst>
                <a:ext uri="{FF2B5EF4-FFF2-40B4-BE49-F238E27FC236}">
                  <a16:creationId xmlns:a16="http://schemas.microsoft.com/office/drawing/2014/main" id="{19AC7816-96ED-FDD8-04E6-C52FE81005F7}"/>
                </a:ext>
              </a:extLst>
            </p:cNvPr>
            <p:cNvPicPr/>
            <p:nvPr/>
          </p:nvPicPr>
          <p:blipFill>
            <a:blip r:embed="rId26" cstate="email">
              <a:extLst>
                <a:ext uri="{28A0092B-C50C-407E-A947-70E740481C1C}">
                  <a14:useLocalDpi xmlns:a14="http://schemas.microsoft.com/office/drawing/2010/main"/>
                </a:ext>
              </a:extLst>
            </a:blip>
            <a:srcRect/>
            <a:stretch>
              <a:fillRect/>
            </a:stretch>
          </p:blipFill>
          <p:spPr bwMode="auto">
            <a:xfrm>
              <a:off x="9986427" y="2664659"/>
              <a:ext cx="702176" cy="653829"/>
            </a:xfrm>
            <a:prstGeom prst="rect">
              <a:avLst/>
            </a:prstGeom>
            <a:noFill/>
            <a:ln w="9525">
              <a:noFill/>
              <a:miter lim="800000"/>
              <a:headEnd/>
              <a:tailEnd/>
            </a:ln>
          </p:spPr>
        </p:pic>
        <p:graphicFrame>
          <p:nvGraphicFramePr>
            <p:cNvPr id="78" name="Object 77">
              <a:extLst>
                <a:ext uri="{FF2B5EF4-FFF2-40B4-BE49-F238E27FC236}">
                  <a16:creationId xmlns:a16="http://schemas.microsoft.com/office/drawing/2014/main" id="{C5E7D498-BFB8-6250-4397-9E3C3F2AC6BD}"/>
                </a:ext>
              </a:extLst>
            </p:cNvPr>
            <p:cNvGraphicFramePr>
              <a:graphicFrameLocks noChangeAspect="1"/>
            </p:cNvGraphicFramePr>
            <p:nvPr>
              <p:extLst>
                <p:ext uri="{D42A27DB-BD31-4B8C-83A1-F6EECF244321}">
                  <p14:modId xmlns:p14="http://schemas.microsoft.com/office/powerpoint/2010/main" val="1051860894"/>
                </p:ext>
              </p:extLst>
            </p:nvPr>
          </p:nvGraphicFramePr>
          <p:xfrm>
            <a:off x="10007106" y="6007405"/>
            <a:ext cx="660818" cy="258802"/>
          </p:xfrm>
          <a:graphic>
            <a:graphicData uri="http://schemas.openxmlformats.org/presentationml/2006/ole">
              <mc:AlternateContent xmlns:mc="http://schemas.openxmlformats.org/markup-compatibility/2006">
                <mc:Choice xmlns:v="urn:schemas-microsoft-com:vml" Requires="v">
                  <p:oleObj name="Bitmap Image" r:id="rId27" imgW="1695687" imgH="733333" progId="Paint.Picture">
                    <p:embed/>
                  </p:oleObj>
                </mc:Choice>
                <mc:Fallback>
                  <p:oleObj name="Bitmap Image" r:id="rId27" imgW="1695687" imgH="733333" progId="Paint.Picture">
                    <p:embed/>
                    <p:pic>
                      <p:nvPicPr>
                        <p:cNvPr id="78" name="Object 77">
                          <a:extLst>
                            <a:ext uri="{FF2B5EF4-FFF2-40B4-BE49-F238E27FC236}">
                              <a16:creationId xmlns:a16="http://schemas.microsoft.com/office/drawing/2014/main" id="{C5E7D498-BFB8-6250-4397-9E3C3F2AC6BD}"/>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0007106" y="6007405"/>
                          <a:ext cx="660818" cy="258802"/>
                        </a:xfrm>
                        <a:prstGeom prst="rect">
                          <a:avLst/>
                        </a:prstGeom>
                        <a:noFill/>
                      </p:spPr>
                    </p:pic>
                  </p:oleObj>
                </mc:Fallback>
              </mc:AlternateContent>
            </a:graphicData>
          </a:graphic>
        </p:graphicFrame>
        <p:pic>
          <p:nvPicPr>
            <p:cNvPr id="79" name="Picture 78">
              <a:extLst>
                <a:ext uri="{FF2B5EF4-FFF2-40B4-BE49-F238E27FC236}">
                  <a16:creationId xmlns:a16="http://schemas.microsoft.com/office/drawing/2014/main" id="{A84E2251-39E4-F3FD-940D-C622AA2BFF71}"/>
                </a:ext>
              </a:extLst>
            </p:cNvPr>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844675" y="4836004"/>
              <a:ext cx="1260472" cy="689981"/>
            </a:xfrm>
            <a:prstGeom prst="rect">
              <a:avLst/>
            </a:prstGeom>
          </p:spPr>
        </p:pic>
        <p:pic>
          <p:nvPicPr>
            <p:cNvPr id="80" name="Picture 79" descr="p2">
              <a:extLst>
                <a:ext uri="{FF2B5EF4-FFF2-40B4-BE49-F238E27FC236}">
                  <a16:creationId xmlns:a16="http://schemas.microsoft.com/office/drawing/2014/main" id="{90672766-F2BE-71E5-38DB-6032775DA882}"/>
                </a:ext>
              </a:extLst>
            </p:cNvPr>
            <p:cNvPicPr/>
            <p:nvPr/>
          </p:nvPicPr>
          <p:blipFill rotWithShape="1">
            <a:blip r:embed="rId30" cstate="email">
              <a:extLst>
                <a:ext uri="{28A0092B-C50C-407E-A947-70E740481C1C}">
                  <a14:useLocalDpi xmlns:a14="http://schemas.microsoft.com/office/drawing/2010/main"/>
                </a:ext>
              </a:extLst>
            </a:blip>
            <a:srcRect/>
            <a:stretch/>
          </p:blipFill>
          <p:spPr bwMode="auto">
            <a:xfrm>
              <a:off x="797182" y="2782344"/>
              <a:ext cx="1355459" cy="418459"/>
            </a:xfrm>
            <a:prstGeom prst="rect">
              <a:avLst/>
            </a:prstGeom>
            <a:noFill/>
            <a:ln>
              <a:noFill/>
            </a:ln>
          </p:spPr>
        </p:pic>
        <p:pic>
          <p:nvPicPr>
            <p:cNvPr id="81" name="Picture 80">
              <a:extLst>
                <a:ext uri="{FF2B5EF4-FFF2-40B4-BE49-F238E27FC236}">
                  <a16:creationId xmlns:a16="http://schemas.microsoft.com/office/drawing/2014/main" id="{6194C36D-222F-99A7-0A69-D97EB33C8DA1}"/>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9679953" y="1882858"/>
              <a:ext cx="1008650" cy="230043"/>
            </a:xfrm>
            <a:prstGeom prst="rect">
              <a:avLst/>
            </a:prstGeom>
          </p:spPr>
        </p:pic>
        <p:pic>
          <p:nvPicPr>
            <p:cNvPr id="82" name="Picture 81" descr="Text&#10;&#10;Description automatically generated">
              <a:extLst>
                <a:ext uri="{FF2B5EF4-FFF2-40B4-BE49-F238E27FC236}">
                  <a16:creationId xmlns:a16="http://schemas.microsoft.com/office/drawing/2014/main" id="{780AE9B8-62EB-87B3-AF98-1CD415687E5C}"/>
                </a:ext>
              </a:extLst>
            </p:cNvPr>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5490267" y="4991943"/>
              <a:ext cx="1068309" cy="381030"/>
            </a:xfrm>
            <a:prstGeom prst="rect">
              <a:avLst/>
            </a:prstGeom>
          </p:spPr>
        </p:pic>
        <p:pic>
          <p:nvPicPr>
            <p:cNvPr id="83" name="Picture 82" descr="A logo with a arch and text&#10;&#10;Description automatically generated">
              <a:extLst>
                <a:ext uri="{FF2B5EF4-FFF2-40B4-BE49-F238E27FC236}">
                  <a16:creationId xmlns:a16="http://schemas.microsoft.com/office/drawing/2014/main" id="{B5F758D2-600D-650A-D8B8-4A00A7594FCD}"/>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5550152" y="1638885"/>
              <a:ext cx="881731" cy="881731"/>
            </a:xfrm>
            <a:prstGeom prst="rect">
              <a:avLst/>
            </a:prstGeom>
          </p:spPr>
        </p:pic>
        <p:pic>
          <p:nvPicPr>
            <p:cNvPr id="84" name="Picture 83">
              <a:extLst>
                <a:ext uri="{FF2B5EF4-FFF2-40B4-BE49-F238E27FC236}">
                  <a16:creationId xmlns:a16="http://schemas.microsoft.com/office/drawing/2014/main" id="{B54D2F75-EA3D-14B9-BF46-1C1B44368813}"/>
                </a:ext>
              </a:extLst>
            </p:cNvPr>
            <p:cNvPicPr>
              <a:picLocks noChangeAspect="1"/>
            </p:cNvPicPr>
            <p:nvPr/>
          </p:nvPicPr>
          <p:blipFill rotWithShape="1">
            <a:blip r:embed="rId34"/>
            <a:srcRect t="26688" b="25999"/>
            <a:stretch/>
          </p:blipFill>
          <p:spPr>
            <a:xfrm>
              <a:off x="755265" y="3799812"/>
              <a:ext cx="1356818" cy="641938"/>
            </a:xfrm>
            <a:prstGeom prst="rect">
              <a:avLst/>
            </a:prstGeom>
          </p:spPr>
        </p:pic>
        <p:pic>
          <p:nvPicPr>
            <p:cNvPr id="85" name="Picture 84">
              <a:extLst>
                <a:ext uri="{FF2B5EF4-FFF2-40B4-BE49-F238E27FC236}">
                  <a16:creationId xmlns:a16="http://schemas.microsoft.com/office/drawing/2014/main" id="{B8BF60F7-B6A9-2E51-AC78-E2C742E15307}"/>
                </a:ext>
              </a:extLst>
            </p:cNvPr>
            <p:cNvPicPr>
              <a:picLocks noChangeAspect="1"/>
            </p:cNvPicPr>
            <p:nvPr/>
          </p:nvPicPr>
          <p:blipFill>
            <a:blip r:embed="rId35" cstate="email">
              <a:extLst>
                <a:ext uri="{BEBA8EAE-BF5A-486C-A8C5-ECC9F3942E4B}">
                  <a14:imgProps xmlns:a14="http://schemas.microsoft.com/office/drawing/2010/main">
                    <a14:imgLayer r:embed="rId36">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692562" y="1847107"/>
              <a:ext cx="1492825" cy="433134"/>
            </a:xfrm>
            <a:prstGeom prst="rect">
              <a:avLst/>
            </a:prstGeom>
          </p:spPr>
        </p:pic>
        <p:pic>
          <p:nvPicPr>
            <p:cNvPr id="86" name="Picture 85">
              <a:extLst>
                <a:ext uri="{FF2B5EF4-FFF2-40B4-BE49-F238E27FC236}">
                  <a16:creationId xmlns:a16="http://schemas.microsoft.com/office/drawing/2014/main" id="{D8D32FB7-3468-D361-8470-73E263916877}"/>
                </a:ext>
              </a:extLst>
            </p:cNvPr>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a:off x="5319337" y="3899883"/>
              <a:ext cx="1209304" cy="438235"/>
            </a:xfrm>
            <a:prstGeom prst="rect">
              <a:avLst/>
            </a:prstGeom>
          </p:spPr>
        </p:pic>
        <p:pic>
          <p:nvPicPr>
            <p:cNvPr id="87" name="Picture 6" descr="C:\Users\Khaled\Desktop\Saudi Payments\Stationary\PPT Template\JPG\PPT-09.png">
              <a:extLst>
                <a:ext uri="{FF2B5EF4-FFF2-40B4-BE49-F238E27FC236}">
                  <a16:creationId xmlns:a16="http://schemas.microsoft.com/office/drawing/2014/main" id="{BD5B0AB0-44CA-0234-6B6C-D1CDADC7CAC7}"/>
                </a:ext>
              </a:extLst>
            </p:cNvPr>
            <p:cNvPicPr>
              <a:picLocks noChangeAspect="1" noChangeArrowheads="1"/>
            </p:cNvPicPr>
            <p:nvPr/>
          </p:nvPicPr>
          <p:blipFill>
            <a:blip r:embed="rId38" cstate="email">
              <a:extLst>
                <a:ext uri="{28A0092B-C50C-407E-A947-70E740481C1C}">
                  <a14:useLocalDpi xmlns:a14="http://schemas.microsoft.com/office/drawing/2010/main"/>
                </a:ext>
              </a:extLst>
            </a:blip>
            <a:srcRect/>
            <a:stretch>
              <a:fillRect/>
            </a:stretch>
          </p:blipFill>
          <p:spPr bwMode="auto">
            <a:xfrm>
              <a:off x="3966052" y="3853894"/>
              <a:ext cx="898675" cy="53021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32895860"/>
      </p:ext>
    </p:extLst>
  </p:cSld>
  <p:clrMapOvr>
    <a:masterClrMapping/>
  </p:clrMapOvr>
  <p:transition spd="med"/>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914314-A01C-44E3-AC84-C79B490DD84B}"/>
              </a:ext>
            </a:extLst>
          </p:cNvPr>
          <p:cNvSpPr>
            <a:spLocks noGrp="1"/>
          </p:cNvSpPr>
          <p:nvPr>
            <p:ph type="title"/>
          </p:nvPr>
        </p:nvSpPr>
        <p:spPr/>
        <p:txBody>
          <a:bodyPr/>
          <a:lstStyle/>
          <a:p>
            <a:r>
              <a:rPr lang="en-US" dirty="0">
                <a:latin typeface="+mn-lt"/>
              </a:rPr>
              <a:t>General Business Terms and Conditions (2 of 18)</a:t>
            </a:r>
          </a:p>
        </p:txBody>
      </p:sp>
      <p:sp>
        <p:nvSpPr>
          <p:cNvPr id="2" name="TextBox 1">
            <a:extLst>
              <a:ext uri="{FF2B5EF4-FFF2-40B4-BE49-F238E27FC236}">
                <a16:creationId xmlns:a16="http://schemas.microsoft.com/office/drawing/2014/main" id="{47961EB6-5C9D-D371-3E52-B47C12601710}"/>
              </a:ext>
            </a:extLst>
          </p:cNvPr>
          <p:cNvSpPr txBox="1"/>
          <p:nvPr/>
        </p:nvSpPr>
        <p:spPr bwMode="gray">
          <a:xfrm>
            <a:off x="522377" y="761803"/>
            <a:ext cx="10342039" cy="5312990"/>
          </a:xfrm>
          <a:prstGeom prst="rect">
            <a:avLst/>
          </a:prstGeom>
          <a:noFill/>
        </p:spPr>
        <p:txBody>
          <a:bodyPr wrap="square">
            <a:spAutoFit/>
          </a:bodyPr>
          <a:lstStyle/>
          <a:p>
            <a:pPr marL="362481" indent="-634342" algn="just" hangingPunct="1">
              <a:spcBef>
                <a:spcPts val="591"/>
              </a:spcBef>
            </a:pPr>
            <a:r>
              <a:rPr lang="en-US" sz="1041" b="1" kern="1200" dirty="0">
                <a:solidFill>
                  <a:prstClr val="black"/>
                </a:solidFill>
                <a:latin typeface="Calibri" panose="020F0502020204030204" pitchFamily="34" charset="0"/>
                <a:ea typeface="+mn-ea"/>
                <a:cs typeface="Calibri" panose="020F0502020204030204" pitchFamily="34" charset="0"/>
              </a:rPr>
              <a:t>3</a:t>
            </a:r>
            <a:r>
              <a:rPr lang="en-US" sz="1041" kern="1200" dirty="0">
                <a:solidFill>
                  <a:prstClr val="black"/>
                </a:solidFill>
                <a:latin typeface="Calibri" panose="020F0502020204030204" pitchFamily="34" charset="0"/>
                <a:ea typeface="+mn-ea"/>
                <a:cs typeface="Calibri" panose="020F0502020204030204" pitchFamily="34" charset="0"/>
              </a:rPr>
              <a:t>	</a:t>
            </a:r>
            <a:r>
              <a:rPr lang="en-US" sz="1041" b="1" kern="1200" dirty="0">
                <a:solidFill>
                  <a:prstClr val="black"/>
                </a:solidFill>
                <a:latin typeface="Calibri" panose="020F0502020204030204" pitchFamily="34" charset="0"/>
                <a:ea typeface="+mn-ea"/>
                <a:cs typeface="Calibri" panose="020F0502020204030204" pitchFamily="34" charset="0"/>
              </a:rPr>
              <a:t>Services. </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Shall mean the Services to be rendered by Deloitte to the Client as described in the Proposal (“Services"). The Services could include the production and delivery of Deliverables (“Deliverables”), as described in the Proposal. It is understood and agreed that Deloitte’s Services may include advice and recommendations, but all decisions in connection with the Services of such advice and recommendations shall be the responsibility of, and made by the Client. In connection with its Services hereunder, Deloitte shall be entitled to unequivocally rely on all decisions and approvals of the Client. </a:t>
            </a:r>
          </a:p>
          <a:p>
            <a:pPr marL="362481" indent="-634342" algn="just" hangingPunct="1">
              <a:spcBef>
                <a:spcPts val="591"/>
              </a:spcBef>
            </a:pPr>
            <a:endParaRPr lang="en-US" sz="1041" kern="1200" dirty="0">
              <a:solidFill>
                <a:prstClr val="black"/>
              </a:solidFill>
              <a:latin typeface="Calibri" panose="020F0502020204030204" pitchFamily="34" charset="0"/>
              <a:ea typeface="+mn-ea"/>
              <a:cs typeface="Calibri" panose="020F0502020204030204" pitchFamily="34" charset="0"/>
            </a:endParaRPr>
          </a:p>
          <a:p>
            <a:pPr marL="362481" indent="-634342" algn="just" hangingPunct="1">
              <a:spcBef>
                <a:spcPts val="591"/>
              </a:spcBef>
            </a:pPr>
            <a:r>
              <a:rPr lang="en-US" sz="1041" b="1" kern="1200" dirty="0">
                <a:solidFill>
                  <a:prstClr val="black"/>
                </a:solidFill>
                <a:latin typeface="Calibri" panose="020F0502020204030204" pitchFamily="34" charset="0"/>
                <a:ea typeface="+mn-ea"/>
                <a:cs typeface="Calibri" panose="020F0502020204030204" pitchFamily="34" charset="0"/>
              </a:rPr>
              <a:t>4	Change Order.</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4.1	If applicable, any amendments to this agreement, including but not limited to new or additional Services to be rendered by Deloitte to the Client outside of the scope of Services included in this Agreement shall be detailed in a (“Change Order”), signed by both parties. Except as expressly modified in the Change Order, all other terms and conditions of the Proposal and General Business Terms and Conditions remain unchanged. </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4.2	Unless stated otherwise in a Change Order, each Change Order, as read together with this Agreement, shall form the sole basis of the agreement between the Parties as to its subject matter.  Where there is a conflict between the terms of this Agreement and the terms of a Change Order, the Change Order will take precedence. </a:t>
            </a:r>
          </a:p>
          <a:p>
            <a:pPr marL="362481" indent="-634342" algn="just" hangingPunct="1">
              <a:spcBef>
                <a:spcPts val="591"/>
              </a:spcBef>
            </a:pPr>
            <a:endParaRPr lang="en-US" sz="1041" kern="1200" dirty="0">
              <a:solidFill>
                <a:prstClr val="black"/>
              </a:solidFill>
              <a:latin typeface="Calibri" panose="020F0502020204030204" pitchFamily="34" charset="0"/>
              <a:ea typeface="+mn-ea"/>
              <a:cs typeface="Calibri" panose="020F0502020204030204" pitchFamily="34" charset="0"/>
            </a:endParaRPr>
          </a:p>
          <a:p>
            <a:pPr marL="362481" indent="-634342" algn="just" hangingPunct="1">
              <a:spcBef>
                <a:spcPts val="591"/>
              </a:spcBef>
            </a:pPr>
            <a:r>
              <a:rPr lang="en-US" sz="1041" b="1" kern="1200" dirty="0">
                <a:solidFill>
                  <a:prstClr val="black"/>
                </a:solidFill>
                <a:latin typeface="Calibri" panose="020F0502020204030204" pitchFamily="34" charset="0"/>
                <a:ea typeface="+mn-ea"/>
                <a:cs typeface="Calibri" panose="020F0502020204030204" pitchFamily="34" charset="0"/>
              </a:rPr>
              <a:t>5	Acceptance and Testing.</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5.1	“Acceptance” or “Accepted” or “Accept” means, in respect of any Service or Deliverable, confirmation in writing by the Client that the agreed Acceptance Testing criteria or agreed alternative acceptance formalities  have been satisfied in respect of the Service or Deliverable as commercially agreed between the Parties.</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5.2	Unless the Letter of Engagement specifies other arrangements, you agree that each Deliverable will be deemed accepted by you (and our Services, or the relevant part of them, completed) when it is in its final form or when you first make use of the Deliverable, whichever first occurs.</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5.3	“Deliverable/Service Defect” means:</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5.3.1	A material deviation from the Specifications for a Deliverable or Service agreed to in writing between the Parties; and/or,</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5.3.2	Non-compliance of a Deliverable or Service with the standards agreed to in writing between the Parties for such Deliverable or Service; and/or,</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5.3.3	An error that materially impacts the Client’s ability to use any specific component of a Deliverable; and/or,</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5.3.4	An error that materially reduces the effectiveness of a Service rendered; and/or,</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5.3.5	An error in a Deliverable or Service that materially negatively impacts the technical performance of the Client’s systems; and/or,</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5.3.6	Non-compliance with the scope of work as agreed for a Deliverable or Service, but excluding errors which are minor or cosmetic in nature.</a:t>
            </a:r>
          </a:p>
        </p:txBody>
      </p:sp>
    </p:spTree>
    <p:extLst>
      <p:ext uri="{BB962C8B-B14F-4D97-AF65-F5344CB8AC3E}">
        <p14:creationId xmlns:p14="http://schemas.microsoft.com/office/powerpoint/2010/main" val="3115985725"/>
      </p:ext>
    </p:extLst>
  </p:cSld>
  <p:clrMapOvr>
    <a:masterClrMapping/>
  </p:clrMapOvr>
  <p:transition spd="med"/>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914314-A01C-44E3-AC84-C79B490DD84B}"/>
              </a:ext>
            </a:extLst>
          </p:cNvPr>
          <p:cNvSpPr>
            <a:spLocks noGrp="1"/>
          </p:cNvSpPr>
          <p:nvPr>
            <p:ph type="title"/>
          </p:nvPr>
        </p:nvSpPr>
        <p:spPr/>
        <p:txBody>
          <a:bodyPr/>
          <a:lstStyle/>
          <a:p>
            <a:r>
              <a:rPr lang="en-US" dirty="0">
                <a:latin typeface="+mn-lt"/>
              </a:rPr>
              <a:t>General Business Terms and Conditions (3 of 18)</a:t>
            </a:r>
          </a:p>
        </p:txBody>
      </p:sp>
      <p:sp>
        <p:nvSpPr>
          <p:cNvPr id="2" name="TextBox 1">
            <a:extLst>
              <a:ext uri="{FF2B5EF4-FFF2-40B4-BE49-F238E27FC236}">
                <a16:creationId xmlns:a16="http://schemas.microsoft.com/office/drawing/2014/main" id="{493BFF48-3CB6-6785-5B50-8E5D89698F48}"/>
              </a:ext>
            </a:extLst>
          </p:cNvPr>
          <p:cNvSpPr txBox="1"/>
          <p:nvPr/>
        </p:nvSpPr>
        <p:spPr bwMode="gray">
          <a:xfrm>
            <a:off x="522377" y="761807"/>
            <a:ext cx="10342039" cy="4291554"/>
          </a:xfrm>
          <a:prstGeom prst="rect">
            <a:avLst/>
          </a:prstGeom>
          <a:noFill/>
        </p:spPr>
        <p:txBody>
          <a:bodyPr wrap="square">
            <a:spAutoFit/>
          </a:bodyPr>
          <a:lstStyle/>
          <a:p>
            <a:pPr marL="362481" indent="-634342" algn="just" hangingPunct="1">
              <a:spcBef>
                <a:spcPts val="591"/>
              </a:spcBef>
            </a:pPr>
            <a:r>
              <a:rPr lang="en-US" sz="1041" kern="1200" dirty="0">
                <a:solidFill>
                  <a:srgbClr val="000000"/>
                </a:solidFill>
                <a:latin typeface="Calibri" panose="020F0502020204030204"/>
                <a:ea typeface="+mn-ea"/>
                <a:cs typeface="+mn-cs"/>
              </a:rPr>
              <a:t>5.4	“Specifications” means the technical or descriptive specifications of functional, operational, performance or other characteristics required of a Service or Deliverable, as agreed between the Parties from time to time;</a:t>
            </a:r>
          </a:p>
          <a:p>
            <a:pPr marL="362481" indent="-634342" algn="just" hangingPunct="1">
              <a:spcBef>
                <a:spcPts val="591"/>
              </a:spcBef>
            </a:pPr>
            <a:r>
              <a:rPr lang="en-US" sz="1041" kern="1200" dirty="0">
                <a:solidFill>
                  <a:srgbClr val="000000"/>
                </a:solidFill>
                <a:latin typeface="Calibri" panose="020F0502020204030204"/>
                <a:ea typeface="+mn-ea"/>
                <a:cs typeface="+mn-cs"/>
              </a:rPr>
              <a:t>	5.4.1	It is specifically recorded that the Parties Intend for each Service and Deliverable to undergo Acceptance Testing relevant to such Service or Deliverable, based on 	Acceptance Testing criteria agreed (or to be agreed) in writing between the Parties, and based on the Acceptance Testing procedure for the Service or Deliverable 	agreed (or to be agreed) in writing between the Parties.</a:t>
            </a:r>
          </a:p>
          <a:p>
            <a:pPr marL="362481" indent="-634342" algn="just" hangingPunct="1">
              <a:spcBef>
                <a:spcPts val="591"/>
              </a:spcBef>
            </a:pPr>
            <a:r>
              <a:rPr lang="en-US" sz="1041" kern="1200" dirty="0">
                <a:solidFill>
                  <a:srgbClr val="000000"/>
                </a:solidFill>
                <a:latin typeface="Calibri" panose="020F0502020204030204"/>
                <a:ea typeface="+mn-ea"/>
                <a:cs typeface="+mn-cs"/>
              </a:rPr>
              <a:t>	5.4.2	Each Deliverable shall be considered Accepted by the Client when the Acceptance Testing procedure agreed in writing between the relevant Parties for such a 	Deliverable, if 	any, have been completed for such Deliverable.  </a:t>
            </a:r>
          </a:p>
          <a:p>
            <a:pPr marL="362481" indent="-634342" algn="just" hangingPunct="1">
              <a:spcBef>
                <a:spcPts val="591"/>
              </a:spcBef>
            </a:pPr>
            <a:r>
              <a:rPr lang="en-US" sz="1041" kern="1200" dirty="0">
                <a:solidFill>
                  <a:srgbClr val="000000"/>
                </a:solidFill>
                <a:latin typeface="Calibri" panose="020F0502020204030204"/>
                <a:ea typeface="+mn-ea"/>
                <a:cs typeface="+mn-cs"/>
              </a:rPr>
              <a:t>	5.4.3	Acceptance constitutes an acknowledgment, in writing, that the Agreement’s requirements in respect of the tested Service and/or Deliverable have been satisfied as 	at the date of Acceptance.</a:t>
            </a:r>
          </a:p>
          <a:p>
            <a:pPr marL="362481" indent="-634342" algn="just" hangingPunct="1">
              <a:spcBef>
                <a:spcPts val="591"/>
              </a:spcBef>
            </a:pPr>
            <a:r>
              <a:rPr lang="en-US" sz="1041" kern="1200" dirty="0">
                <a:solidFill>
                  <a:srgbClr val="000000"/>
                </a:solidFill>
                <a:latin typeface="Calibri" panose="020F0502020204030204"/>
                <a:ea typeface="+mn-ea"/>
                <a:cs typeface="+mn-cs"/>
              </a:rPr>
              <a:t>	5.4.4	The Acceptance Testing procedures for the Services and Deliverables will be described in the Proposal or in the relevant Change Order.</a:t>
            </a:r>
          </a:p>
          <a:p>
            <a:pPr marL="362481" indent="-634342" algn="just" hangingPunct="1">
              <a:spcBef>
                <a:spcPts val="591"/>
              </a:spcBef>
            </a:pPr>
            <a:r>
              <a:rPr lang="en-US" sz="1041" kern="1200" dirty="0">
                <a:solidFill>
                  <a:srgbClr val="000000"/>
                </a:solidFill>
                <a:latin typeface="Calibri" panose="020F0502020204030204"/>
                <a:ea typeface="+mn-ea"/>
                <a:cs typeface="+mn-cs"/>
              </a:rPr>
              <a:t>5.5	Disputes related to Acceptance.</a:t>
            </a:r>
          </a:p>
          <a:p>
            <a:pPr marL="362481" indent="-634342" algn="just" hangingPunct="1">
              <a:spcBef>
                <a:spcPts val="591"/>
              </a:spcBef>
            </a:pPr>
            <a:r>
              <a:rPr lang="en-US" sz="1041" kern="1200" dirty="0">
                <a:solidFill>
                  <a:srgbClr val="000000"/>
                </a:solidFill>
                <a:latin typeface="Calibri" panose="020F0502020204030204"/>
                <a:ea typeface="+mn-ea"/>
                <a:cs typeface="+mn-cs"/>
              </a:rPr>
              <a:t>	5.5.1	In the event that Deloitte considers a Deliverable or Service ready to be Accepted by the Client, and the Client unreasonably withholds or delays such Acceptance, 	Deloitte shall be entitled to initiate a Dispute. </a:t>
            </a:r>
          </a:p>
          <a:p>
            <a:pPr marL="362481" indent="-634342" algn="just" hangingPunct="1">
              <a:spcBef>
                <a:spcPts val="591"/>
              </a:spcBef>
            </a:pPr>
            <a:r>
              <a:rPr lang="en-US" sz="1041" kern="1200" dirty="0">
                <a:solidFill>
                  <a:srgbClr val="000000"/>
                </a:solidFill>
                <a:latin typeface="Calibri" panose="020F0502020204030204"/>
                <a:ea typeface="+mn-ea"/>
                <a:cs typeface="+mn-cs"/>
              </a:rPr>
              <a:t>	5.5.2	Test Procedures:</a:t>
            </a:r>
          </a:p>
          <a:p>
            <a:pPr marL="362481" indent="-634342" algn="just" hangingPunct="1">
              <a:spcBef>
                <a:spcPts val="591"/>
              </a:spcBef>
            </a:pPr>
            <a:r>
              <a:rPr lang="en-US" sz="1041" kern="1200" dirty="0">
                <a:solidFill>
                  <a:srgbClr val="000000"/>
                </a:solidFill>
                <a:latin typeface="Calibri" panose="020F0502020204030204"/>
                <a:ea typeface="+mn-ea"/>
                <a:cs typeface="+mn-cs"/>
              </a:rPr>
              <a:t>		5.5.2.1	The Parties will conduct the Acceptance Testing, and discharge their respective responsibilities, in the manner specified. </a:t>
            </a:r>
          </a:p>
          <a:p>
            <a:pPr marL="362481" indent="-634342" algn="just" hangingPunct="1">
              <a:spcBef>
                <a:spcPts val="591"/>
              </a:spcBef>
            </a:pPr>
            <a:r>
              <a:rPr lang="en-US" sz="1041" kern="1200" dirty="0">
                <a:solidFill>
                  <a:srgbClr val="000000"/>
                </a:solidFill>
                <a:latin typeface="Calibri" panose="020F0502020204030204"/>
                <a:ea typeface="+mn-ea"/>
                <a:cs typeface="+mn-cs"/>
              </a:rPr>
              <a:t>		5.5.2.2	The Client may appoint any third party, at its sole expense and risk, to assist them with, or to conduct on behalf of the Client, any Acceptance 		Testing and quality assurance activities, as specified. </a:t>
            </a:r>
          </a:p>
          <a:p>
            <a:pPr marL="362481" indent="-634342" algn="just" hangingPunct="1">
              <a:spcBef>
                <a:spcPts val="591"/>
              </a:spcBef>
            </a:pPr>
            <a:r>
              <a:rPr lang="en-US" sz="1041" kern="1200" dirty="0">
                <a:solidFill>
                  <a:srgbClr val="000000"/>
                </a:solidFill>
                <a:latin typeface="Calibri" panose="020F0502020204030204"/>
                <a:ea typeface="+mn-ea"/>
                <a:cs typeface="+mn-cs"/>
              </a:rPr>
              <a:t>	5.5.3	Failure of Acceptance Testing:</a:t>
            </a:r>
          </a:p>
          <a:p>
            <a:pPr marL="362481" indent="-634342" algn="just" hangingPunct="1">
              <a:spcBef>
                <a:spcPts val="591"/>
              </a:spcBef>
            </a:pPr>
            <a:r>
              <a:rPr lang="en-US" sz="1041" kern="1200" dirty="0">
                <a:solidFill>
                  <a:srgbClr val="000000"/>
                </a:solidFill>
                <a:latin typeface="Calibri" panose="020F0502020204030204"/>
                <a:ea typeface="+mn-ea"/>
                <a:cs typeface="+mn-cs"/>
              </a:rPr>
              <a:t>		Following the completion of the Acceptance Testing, or within the 5 (Five) Business Days of formal submission by Deloitte, if the Client considers a Service and/or 	Deliverable to have failed an Acceptance Test, or considers the Service or Deliverable to contain a Deliverable and/or Service Defect, the Client must set out the basis 	of this conclusion in writing to Deloitte with the acceptable reasonable period of remedy.</a:t>
            </a:r>
          </a:p>
        </p:txBody>
      </p:sp>
    </p:spTree>
    <p:extLst>
      <p:ext uri="{BB962C8B-B14F-4D97-AF65-F5344CB8AC3E}">
        <p14:creationId xmlns:p14="http://schemas.microsoft.com/office/powerpoint/2010/main" val="1461059303"/>
      </p:ext>
    </p:extLst>
  </p:cSld>
  <p:clrMapOvr>
    <a:masterClrMapping/>
  </p:clrMapOvr>
  <p:transition spd="med"/>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914314-A01C-44E3-AC84-C79B490DD84B}"/>
              </a:ext>
            </a:extLst>
          </p:cNvPr>
          <p:cNvSpPr>
            <a:spLocks noGrp="1"/>
          </p:cNvSpPr>
          <p:nvPr>
            <p:ph type="title"/>
          </p:nvPr>
        </p:nvSpPr>
        <p:spPr/>
        <p:txBody>
          <a:bodyPr/>
          <a:lstStyle/>
          <a:p>
            <a:r>
              <a:rPr lang="en-US" dirty="0">
                <a:latin typeface="+mn-lt"/>
              </a:rPr>
              <a:t>General Business Terms and Conditions (4 of 18)</a:t>
            </a:r>
          </a:p>
        </p:txBody>
      </p:sp>
      <p:sp>
        <p:nvSpPr>
          <p:cNvPr id="2" name="TextBox 1">
            <a:extLst>
              <a:ext uri="{FF2B5EF4-FFF2-40B4-BE49-F238E27FC236}">
                <a16:creationId xmlns:a16="http://schemas.microsoft.com/office/drawing/2014/main" id="{92DBE6DA-73BE-47F3-67EC-23EB17F253BB}"/>
              </a:ext>
            </a:extLst>
          </p:cNvPr>
          <p:cNvSpPr txBox="1"/>
          <p:nvPr/>
        </p:nvSpPr>
        <p:spPr bwMode="gray">
          <a:xfrm>
            <a:off x="522377" y="761805"/>
            <a:ext cx="10342039" cy="5564536"/>
          </a:xfrm>
          <a:prstGeom prst="rect">
            <a:avLst/>
          </a:prstGeom>
          <a:noFill/>
        </p:spPr>
        <p:txBody>
          <a:bodyPr wrap="square">
            <a:spAutoFit/>
          </a:bodyPr>
          <a:lstStyle/>
          <a:p>
            <a:pPr marL="362481" indent="-634342" algn="just" defTabSz="1208241" hangingPunct="1">
              <a:spcBef>
                <a:spcPts val="591"/>
              </a:spcBef>
              <a:defRPr/>
            </a:pPr>
            <a:r>
              <a:rPr lang="en-US" sz="1041" b="1" kern="1200" dirty="0">
                <a:solidFill>
                  <a:srgbClr val="000000"/>
                </a:solidFill>
                <a:latin typeface="Calibri" panose="020F0502020204030204"/>
                <a:ea typeface="+mn-ea"/>
                <a:cs typeface="+mn-cs"/>
              </a:rPr>
              <a:t>6	Deloitte Touche Tohmatsu Limited.</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6.1	Deloitte Touche Tohmatsu Limited (“DTTL”), is a UK private company limited by guarantee. DTTL and each of the DTTL member firms, their subsidiaries, predecessors, successors, assignees and subcontractors and all partners, associate partners, members, owners, directors, employees and agents of all such entities (hereinafter collectively “D&amp;T Parties”) are separate and independent legal entities, which cannot obligate, bind or act on behalf of each other. Each DTTL member firm renders services in a particular geographic area and jurisdiction and is subject to the laws and professional regulations of the particular country or countries in which it operates. DTTL itself does not render services to clients. DTTL and each DTTL member firm are liable only for their own acts or omissions and not those of each other. This Agreement is solely between the Client and Deloitte.</a:t>
            </a:r>
            <a:r>
              <a:rPr lang="en-US" sz="1041" kern="1200" dirty="0">
                <a:solidFill>
                  <a:srgbClr val="000000"/>
                </a:solidFill>
                <a:highlight>
                  <a:srgbClr val="FFFF00"/>
                </a:highlight>
                <a:latin typeface="Calibri" panose="020F0502020204030204"/>
                <a:ea typeface="+mn-ea"/>
                <a:cs typeface="+mn-cs"/>
              </a:rPr>
              <a:t>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6.2	The Client agrees that its relationship with DTTL and the D&amp;T Parties is solely with Deloitte as the cited contracting entity herein, contracting with the Client under this Agreement.  Notwithstanding the fact that certain Services under the Agreement may be carried out by Personnel provided to Deloitte from other D&amp;T Parties through service or other internal agreements, the Client agrees that none of the D&amp;T Parties (except Deloitte as referenced in this Agreement) will have any liability to the Client and that the Client will not bring any claim or proceedings of any nature (whether in contract, breach of statutory duty or otherwise and including, but not limited to, a claim for negligence) in any way in respect of or in connection with this Agreement against any of the D&amp;T Parties (except Deloitte) nor against any subcontractors that Deloitte may use to render the Services. </a:t>
            </a:r>
          </a:p>
          <a:p>
            <a:pPr marL="362481" indent="-634342" algn="just" defTabSz="1208241" hangingPunct="1">
              <a:spcBef>
                <a:spcPts val="591"/>
              </a:spcBef>
              <a:defRPr/>
            </a:pPr>
            <a:endParaRPr lang="en-US" sz="1041" kern="1200" dirty="0">
              <a:solidFill>
                <a:srgbClr val="000000"/>
              </a:solidFill>
              <a:latin typeface="Calibri" panose="020F0502020204030204"/>
              <a:ea typeface="+mn-ea"/>
              <a:cs typeface="+mn-cs"/>
            </a:endParaRPr>
          </a:p>
          <a:p>
            <a:pPr marL="362481" indent="-634342" algn="just" defTabSz="1208241" hangingPunct="1">
              <a:spcBef>
                <a:spcPts val="591"/>
              </a:spcBef>
              <a:defRPr/>
            </a:pPr>
            <a:r>
              <a:rPr lang="en-US" sz="1041" b="1" kern="1200" dirty="0">
                <a:solidFill>
                  <a:srgbClr val="000000"/>
                </a:solidFill>
                <a:latin typeface="Calibri" panose="020F0502020204030204"/>
                <a:ea typeface="+mn-ea"/>
                <a:cs typeface="+mn-cs"/>
              </a:rPr>
              <a:t>7	Payment of Invoices.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7.1	Invoices:  Deloitte’s invoices are due per the terms and conditions set forth in the Proposal.</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7.1.1	Properly submitted invoices upon which payment is not received within 30 (Thirty) calendar days of the invoice date shall accrue a late charge of the lesser of (i) 1½% 	(One and a half percent) per month or (ii) the highest rate allowable by law, in each case compounded monthly to the extent allowable by law.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7.1.2	Without limiting its other rights or remedies, Deloitte shall have the right to suspend or terminate the Services entirely or in part if payment is not received within 30 	(Thirty) calendar days of the invoice date.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7.1.3	All amounts payable excludes Value Added Taxes “VAT” and the Client, at its sole expense, shall be responsible for all taxes, such as VAT, sales and use tax, gross 	receipts tax, withholding tax, and any similar tax, imposed or applicable, at date of this agreement or introduced and made applicable by legislation thereafter, 	whether in retrospect or not, on the Client or on Deloitte in connection with the Services, other than Deloitte’s corporate income and property taxes.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7.2	“Escalation Date” means the anniversary date of the Effective Date.</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7.3	“Annual Percentage Change” means, with reference to the most recent statistics available at the Escalation Date, the headline Consumer Price Index annual inflation rate at the Escalation Date, expressed as a percentage for the month in which the Escalation Date occurs.</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7.4	Deloitte may, at its discretion, on each Escalation Date, increase or decrease the rates applicable to this Agreement by the Annual Percentage Change.</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7.5	Such rate increases, or decreases are to be communicated by Deloitte to the Client 30 (Thirty) calendar days in advance of them becoming effective, providing all relevant documentary evidence as reasonably required by the Client. </a:t>
            </a:r>
          </a:p>
          <a:p>
            <a:pPr marL="362481" indent="-634342" algn="just" defTabSz="1208241" hangingPunct="1">
              <a:spcBef>
                <a:spcPts val="591"/>
              </a:spcBef>
              <a:defRPr/>
            </a:pPr>
            <a:endParaRPr lang="en-US" sz="1041" kern="1200" dirty="0">
              <a:solidFill>
                <a:srgbClr val="000000"/>
              </a:solidFill>
              <a:latin typeface="Calibri" panose="020F0502020204030204"/>
              <a:ea typeface="+mn-ea"/>
              <a:cs typeface="+mn-cs"/>
            </a:endParaRPr>
          </a:p>
        </p:txBody>
      </p:sp>
    </p:spTree>
    <p:extLst>
      <p:ext uri="{BB962C8B-B14F-4D97-AF65-F5344CB8AC3E}">
        <p14:creationId xmlns:p14="http://schemas.microsoft.com/office/powerpoint/2010/main" val="2157805163"/>
      </p:ext>
    </p:extLst>
  </p:cSld>
  <p:clrMapOvr>
    <a:masterClrMapping/>
  </p:clrMapOvr>
  <p:transition spd="med"/>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914314-A01C-44E3-AC84-C79B490DD84B}"/>
              </a:ext>
            </a:extLst>
          </p:cNvPr>
          <p:cNvSpPr>
            <a:spLocks noGrp="1"/>
          </p:cNvSpPr>
          <p:nvPr>
            <p:ph type="title"/>
          </p:nvPr>
        </p:nvSpPr>
        <p:spPr/>
        <p:txBody>
          <a:bodyPr/>
          <a:lstStyle/>
          <a:p>
            <a:r>
              <a:rPr lang="en-US" dirty="0">
                <a:latin typeface="+mn-lt"/>
              </a:rPr>
              <a:t>General Business Terms and Conditions (5 of 18)</a:t>
            </a:r>
          </a:p>
        </p:txBody>
      </p:sp>
      <p:sp>
        <p:nvSpPr>
          <p:cNvPr id="2" name="TextBox 1">
            <a:extLst>
              <a:ext uri="{FF2B5EF4-FFF2-40B4-BE49-F238E27FC236}">
                <a16:creationId xmlns:a16="http://schemas.microsoft.com/office/drawing/2014/main" id="{E0C2DD61-2B7C-5E44-FCAC-76816740F38D}"/>
              </a:ext>
            </a:extLst>
          </p:cNvPr>
          <p:cNvSpPr txBox="1"/>
          <p:nvPr/>
        </p:nvSpPr>
        <p:spPr bwMode="gray">
          <a:xfrm>
            <a:off x="522377" y="761808"/>
            <a:ext cx="10342039" cy="5549288"/>
          </a:xfrm>
          <a:prstGeom prst="rect">
            <a:avLst/>
          </a:prstGeom>
          <a:noFill/>
        </p:spPr>
        <p:txBody>
          <a:bodyPr wrap="square">
            <a:spAutoFit/>
          </a:bodyPr>
          <a:lstStyle/>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7.6	Disputed Invoices.  Should a dispute arise relating to any Project Fees or Reimbursable Expenses due to Deloitte:</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7.6.1	The Client must notify Deloitte of the disputed amount(s) in writing, specifying the affected amount(s), and the alleged reasons for such dispute, within 30 (Thirty) 	calendar days of receipt of the invoice containing the disputed amount(s), failing which the Client shall be deemed to have accepted the invoice as correct, due and 	payable;</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7.6.2	Any notification, as contemplated in the clause above, shall detail the amount(s) disputed and the reason(s) therefore;</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7.6.3	The undisputed portion(s) of the invoice shall be payable on the terms defined above;</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7.6.4	The Client shall be entitled to withhold payment of the disputed portion(s) of any amount(s) payable until the dispute is resolved;</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7.6.5	If the Client disputes, and withholds, an amount in excess of 50 % (Fifty percent) of the relevant invoice total, Deloitte shall be entitled to suspend the rendering of 	the Services until the dispute is resolved and any amount payable to Deloitte pursuant to the resolved dispute is paid.</a:t>
            </a:r>
          </a:p>
          <a:p>
            <a:pPr marL="362481" indent="-634342" algn="just" defTabSz="1208241" hangingPunct="1">
              <a:spcBef>
                <a:spcPts val="591"/>
              </a:spcBef>
              <a:defRPr/>
            </a:pPr>
            <a:r>
              <a:rPr lang="en-US" sz="1041" b="1" kern="1200" dirty="0">
                <a:solidFill>
                  <a:srgbClr val="000000"/>
                </a:solidFill>
                <a:latin typeface="Calibri" panose="020F0502020204030204"/>
                <a:ea typeface="+mn-ea"/>
                <a:cs typeface="+mn-cs"/>
              </a:rPr>
              <a:t>8	Charges.</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8.1	All fees and charges for the services and applicable expenses and taxes (“Charges”) are set out in the Proposal (“Fee and Payment Schedule”).</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8.2	Project Fees and Expenses:</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8.2.1	“Project Fees” charged by Deloitte on the Project can include either or both of the following:</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8.2.1.1     “Time and Material Fees”, which are based on the actual time spent by Deloitte Personnel on the Project at the rates which are agreed between the 	Parties, taking  into account the experience and seniority of Personnel, and the complexity of work undertaken unless otherwise agreed; and,</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8.2.1.2       “Fixed Price Fees”, which are based on the amounts agreed to in writing by the Parties, regardless of the actual time spent by Deloitte Personnel.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8.3	Unless agreed otherwise between the Parties in writing for the Project, out of pocket expenses incurred directly on a Project by Deloitte and its Personnel (“Reimbursable Expenses”) will be charged to the Client at actual cost.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8.4	Reimbursable Expenses include all reasonable costs necessary for the successful completion of the Project including but not limited to travelling, subsistence, goods and services purchased on the Client's behalf, communications, stationery, administration charges, report and presentation material, secretarial time and computer charges.</a:t>
            </a:r>
          </a:p>
          <a:p>
            <a:pPr marL="362481" indent="-634342" algn="just" defTabSz="1208241" hangingPunct="1">
              <a:spcBef>
                <a:spcPts val="591"/>
              </a:spcBef>
              <a:defRPr/>
            </a:pPr>
            <a:r>
              <a:rPr lang="en-US" sz="1041" b="1" kern="1200" dirty="0">
                <a:solidFill>
                  <a:srgbClr val="000000"/>
                </a:solidFill>
                <a:latin typeface="Calibri" panose="020F0502020204030204"/>
                <a:ea typeface="+mn-ea"/>
                <a:cs typeface="+mn-cs"/>
              </a:rPr>
              <a:t>9	Termination.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9.1	Unless terminated sooner in accordance with its terms, this engagement shall terminate on the completion of the Services.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9.2	This engagement may be terminated by either Party at any time by giving written notice to the other Party not less than 30 (Thirty) calendar days before the effective date of termination.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9.3	Upon termination of the engagement, the Client will compensate Deloitte for all hours and expenses incurred for Services performed through to the effective date of termination. Deloitte reserves the right to waive any discounts provided to clients due to early termination. </a:t>
            </a:r>
          </a:p>
        </p:txBody>
      </p:sp>
    </p:spTree>
    <p:extLst>
      <p:ext uri="{BB962C8B-B14F-4D97-AF65-F5344CB8AC3E}">
        <p14:creationId xmlns:p14="http://schemas.microsoft.com/office/powerpoint/2010/main" val="217783735"/>
      </p:ext>
    </p:extLst>
  </p:cSld>
  <p:clrMapOvr>
    <a:masterClrMapping/>
  </p:clrMapOvr>
  <p:transition spd="med"/>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914314-A01C-44E3-AC84-C79B490DD84B}"/>
              </a:ext>
            </a:extLst>
          </p:cNvPr>
          <p:cNvSpPr>
            <a:spLocks noGrp="1"/>
          </p:cNvSpPr>
          <p:nvPr>
            <p:ph type="title"/>
          </p:nvPr>
        </p:nvSpPr>
        <p:spPr/>
        <p:txBody>
          <a:bodyPr/>
          <a:lstStyle/>
          <a:p>
            <a:r>
              <a:rPr lang="en-US" dirty="0">
                <a:latin typeface="+mn-lt"/>
              </a:rPr>
              <a:t>General Business Terms and Conditions (6 of 18)</a:t>
            </a:r>
          </a:p>
        </p:txBody>
      </p:sp>
      <p:sp>
        <p:nvSpPr>
          <p:cNvPr id="2" name="TextBox 1">
            <a:extLst>
              <a:ext uri="{FF2B5EF4-FFF2-40B4-BE49-F238E27FC236}">
                <a16:creationId xmlns:a16="http://schemas.microsoft.com/office/drawing/2014/main" id="{A593920E-446A-AEEC-3DA9-889DDA9CDEB6}"/>
              </a:ext>
            </a:extLst>
          </p:cNvPr>
          <p:cNvSpPr txBox="1"/>
          <p:nvPr/>
        </p:nvSpPr>
        <p:spPr bwMode="gray">
          <a:xfrm>
            <a:off x="522377" y="761806"/>
            <a:ext cx="10342039" cy="6010462"/>
          </a:xfrm>
          <a:prstGeom prst="rect">
            <a:avLst/>
          </a:prstGeom>
          <a:noFill/>
        </p:spPr>
        <p:txBody>
          <a:bodyPr wrap="square">
            <a:spAutoFit/>
          </a:bodyPr>
          <a:lstStyle/>
          <a:p>
            <a:pPr marL="362481" indent="-634342" algn="just" defTabSz="1208241" hangingPunct="1">
              <a:spcBef>
                <a:spcPts val="591"/>
              </a:spcBef>
              <a:defRPr/>
            </a:pPr>
            <a:r>
              <a:rPr lang="en-US" sz="1041" b="1" kern="1200" dirty="0">
                <a:solidFill>
                  <a:srgbClr val="000000"/>
                </a:solidFill>
                <a:latin typeface="Calibri" panose="020F0502020204030204"/>
                <a:ea typeface="+mn-ea"/>
                <a:cs typeface="+mn-cs"/>
              </a:rPr>
              <a:t>10	Intellectual Property.</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0.1	Own Technology: Each Party has created, acquired or otherwise obtained rights in, and may, in connection with the Project, employ, provide, modify, create, acquire or otherwise obtain rights in various concepts, ideas, methods, methodologies, procedures, processes, know-how, techniques, models, templates, generalized features of the structure, sequence and organization of software, user interfaces and screen designs; general purpose consulting and software tools, utilities and routines; and logic, coherence and methods of operation systems (collectively known as the “Own Technology” of each Party).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0.2	To the extent that either Party utilizes any of its property (including intellectual property and its Own Technology) in connection with the Project, such property shall remain the property of that Party. Except for cases where a license is expressly granted in writing, the other Party shall acquire no right or interest in such property.  Any improvements or enhancements to a Party’s Own Technology resulting from a Project will remain the property of that Party.</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0.3	Notwithstanding anything in this Agreement, each Party will exclusively own all right, title and interest, including but not limited to all rights under all copyright, patent and other intellectual property laws, in and to its Own Technology.</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0.4	In the event of either Party requesting the use of the other Party’s Own Technology, outside the scope of the Project, this would be subject to the Parties agreeing to a written license agreement for such use.</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0.5	Client Data:</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0.5.1	“Client Data” means information of the Client including information relating to subsidiaries or associated companies of the Client and its business, as well as personal 	data of its employees and of customers, provided by the Client to Deloitte pursuant to Deloitte rendering the Services.</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0.5.2	Ownership in all the Client Data belonging to the Client whether under its control or not shall continue to vest in the Client, and Deloitte shall not obtain any 	proprietary rights in such data.  Any improvements or enhancements to the Client Data resulting from a Project will remain the property of the Client.</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0.5.3	The Client Data in the possession of Deloitte, or to which Deloitte may have access during the currency of this Agreement, may not be used by Deloitte for any 	purposes whatsoever other than as may be specifically required to enable Deloitte to fulfil its obligations in terms of this Agreement.</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0.5.4	The Client Data is and shall remain the property of the Client and shall be deemed Confidential Information of the Client in terms of this Agreement.</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0.6	Deliverables under this Agreement: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0.6.1	Except as otherwise provided in this Agreement, and upon full and final payment to Deloitte of all amounts owing to Deloitte in terms of this Agreement, all 	Deliverables shall become the property of the Client.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0.7	Intellectual Property Rights of Third Parties:</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0.7.1	Deloitte warrants to the Client that the Deliverables or any part thereof do not infringe the intellectual property rights of any third party.</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0.7.2	Deloitte undertakes to defend the Client from and against any claim or action that the use or possession of the Deliverables or any part of them infringes the 	Intellectual Property Rights of a third party (“IPR Claim”), and shall indemnify the Client against all liabilities, costs, expenses, damages and losses (including any direct, 	indirect or consequential losses, loss of profit, loss of reputation and all interest, penalties and legal and other reasonable professional costs and expenses) suffered or 	incurred by the Client arising out of or in connection with that IPR Claim.</a:t>
            </a:r>
          </a:p>
          <a:p>
            <a:pPr marL="362481" indent="-634342" algn="just" defTabSz="1208241" hangingPunct="1">
              <a:spcBef>
                <a:spcPts val="591"/>
              </a:spcBef>
              <a:defRPr/>
            </a:pPr>
            <a:endParaRPr lang="en-US" sz="891" kern="1200" dirty="0">
              <a:solidFill>
                <a:srgbClr val="000000"/>
              </a:solidFill>
              <a:latin typeface="Calibri" panose="020F0502020204030204"/>
              <a:ea typeface="+mn-ea"/>
              <a:cs typeface="+mn-cs"/>
            </a:endParaRPr>
          </a:p>
        </p:txBody>
      </p:sp>
    </p:spTree>
    <p:extLst>
      <p:ext uri="{BB962C8B-B14F-4D97-AF65-F5344CB8AC3E}">
        <p14:creationId xmlns:p14="http://schemas.microsoft.com/office/powerpoint/2010/main" val="1557836467"/>
      </p:ext>
    </p:extLst>
  </p:cSld>
  <p:clrMapOvr>
    <a:masterClrMapping/>
  </p:clrMapOvr>
  <p:transition spd="med"/>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914314-A01C-44E3-AC84-C79B490DD84B}"/>
              </a:ext>
            </a:extLst>
          </p:cNvPr>
          <p:cNvSpPr>
            <a:spLocks noGrp="1"/>
          </p:cNvSpPr>
          <p:nvPr>
            <p:ph type="title"/>
          </p:nvPr>
        </p:nvSpPr>
        <p:spPr/>
        <p:txBody>
          <a:bodyPr/>
          <a:lstStyle/>
          <a:p>
            <a:r>
              <a:rPr lang="en-US" dirty="0">
                <a:latin typeface="+mn-lt"/>
              </a:rPr>
              <a:t>General Business Terms and Conditions (7 of 18)</a:t>
            </a:r>
          </a:p>
        </p:txBody>
      </p:sp>
      <p:sp>
        <p:nvSpPr>
          <p:cNvPr id="2" name="TextBox 1">
            <a:extLst>
              <a:ext uri="{FF2B5EF4-FFF2-40B4-BE49-F238E27FC236}">
                <a16:creationId xmlns:a16="http://schemas.microsoft.com/office/drawing/2014/main" id="{B73BBCD8-115F-4287-ABF4-7F8131A4BD41}"/>
              </a:ext>
            </a:extLst>
          </p:cNvPr>
          <p:cNvSpPr txBox="1"/>
          <p:nvPr/>
        </p:nvSpPr>
        <p:spPr bwMode="gray">
          <a:xfrm>
            <a:off x="522377" y="761810"/>
            <a:ext cx="10342039" cy="5625519"/>
          </a:xfrm>
          <a:prstGeom prst="rect">
            <a:avLst/>
          </a:prstGeom>
          <a:noFill/>
        </p:spPr>
        <p:txBody>
          <a:bodyPr wrap="square">
            <a:spAutoFit/>
          </a:bodyPr>
          <a:lstStyle/>
          <a:p>
            <a:pPr marL="362481" indent="-634342" algn="just" defTabSz="1208241" hangingPunct="1">
              <a:spcBef>
                <a:spcPts val="591"/>
              </a:spcBef>
              <a:defRPr/>
            </a:pPr>
            <a:r>
              <a:rPr lang="en-US" sz="1041" b="1" kern="1200" dirty="0">
                <a:solidFill>
                  <a:srgbClr val="000000"/>
                </a:solidFill>
                <a:latin typeface="Calibri" panose="020F0502020204030204"/>
                <a:ea typeface="+mn-ea"/>
                <a:cs typeface="+mn-cs"/>
              </a:rPr>
              <a:t>11	Limitation on Warranties. </a:t>
            </a:r>
          </a:p>
          <a:p>
            <a:pPr marL="362481" indent="-634342" algn="just" defTabSz="1208241" hangingPunct="1">
              <a:spcBef>
                <a:spcPts val="591"/>
              </a:spcBef>
              <a:defRPr/>
            </a:pPr>
            <a:r>
              <a:rPr lang="en-US" sz="1041" b="1" kern="1200" dirty="0">
                <a:solidFill>
                  <a:srgbClr val="000000"/>
                </a:solidFill>
                <a:latin typeface="Calibri" panose="020F0502020204030204"/>
                <a:ea typeface="+mn-ea"/>
                <a:cs typeface="+mn-cs"/>
              </a:rPr>
              <a:t>	</a:t>
            </a:r>
            <a:r>
              <a:rPr lang="en-US" sz="1041" kern="1200" dirty="0">
                <a:solidFill>
                  <a:srgbClr val="000000"/>
                </a:solidFill>
                <a:latin typeface="Calibri" panose="020F0502020204030204"/>
                <a:ea typeface="+mn-ea"/>
                <a:cs typeface="+mn-cs"/>
              </a:rPr>
              <a:t>This is a professional services engagement. Deloitte warrants that it shall perform the Services in good faith and in a professional manner. Deloitte disclaims all other warranties, either express or implied, including, without limitation, warranties of merchantability and fitness for a particular purpose.  The client’s exclusive remedy for any breach of this warranty shall be for Deloitte, upon receipt of written notice, to use diligent efforts to cure such breach, or, failing any cure in a reasonable period of time (up to a maximum of 1 (One) ) year, the return of professional fees paid to Deloitte hereunder with respect to the services giving rise to such breach.</a:t>
            </a:r>
          </a:p>
          <a:p>
            <a:pPr marL="362481" indent="-634342" algn="just" defTabSz="1208241" hangingPunct="1">
              <a:spcBef>
                <a:spcPts val="591"/>
              </a:spcBef>
              <a:defRPr/>
            </a:pPr>
            <a:endParaRPr lang="en-US" sz="1041" b="1" kern="1200" dirty="0">
              <a:solidFill>
                <a:srgbClr val="000000"/>
              </a:solidFill>
              <a:latin typeface="Calibri" panose="020F0502020204030204"/>
              <a:ea typeface="+mn-ea"/>
              <a:cs typeface="+mn-cs"/>
            </a:endParaRPr>
          </a:p>
          <a:p>
            <a:pPr marL="362481" indent="-634342" algn="just" defTabSz="1208241" hangingPunct="1">
              <a:spcBef>
                <a:spcPts val="591"/>
              </a:spcBef>
              <a:defRPr/>
            </a:pPr>
            <a:r>
              <a:rPr lang="en-US" sz="1041" b="1" kern="1200" dirty="0">
                <a:solidFill>
                  <a:srgbClr val="000000"/>
                </a:solidFill>
                <a:latin typeface="Calibri" panose="020F0502020204030204"/>
                <a:ea typeface="+mn-ea"/>
                <a:cs typeface="+mn-cs"/>
              </a:rPr>
              <a:t>12	Limitation on Damages and Indemnification.</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2.1	The Client agrees that Deloitte, and its personnel shall not be liable to the Client for any claims, liabilities, or expenses relating to this engagement (“Claims”) for an aggregate amount in excess of the fees paid by the Client to Deloitte pursuant to this engagement, except to the extent finally judicially determined to have resulted primarily from the bad faith or intentional misconduct of Deloitte. In no event shall Deloitte or its personnel be liable for consequential, special, indirect, incidental, punitive or exemplary loss, damage, or expense relating to this engagement.</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2.2	The Client shall indemnify and hold harmless Deloitte and its personnel from all claims, liabilities, and expenses relating to this engagement, except to the extent finally judicially determined to have resulted primarily from the bad faith or intentional misconduct of Deloitte.</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2.3	The provisions of this Clause and Clause 18 shall apply to the fullest extent of the law, whether in contract, statute, tort (such as negligence), or otherwise. In circumstances where all or any portion of the provisions of this Clause are finally judicially determined to be unavailable, Deloitte’s aggregate liability for any claims, liabilities, or expenses relating to this engagement shall not exceed an amount which is proportional to the relative fault that Deloitte’s conduct bears to all other conduct giving rise to such Claims, liabilities, or expenses and on no account shall exceed Deloitte paid fees.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2.4	Deloitte indemnifies the Client against any claim by a subcontractor to Deloitte, arising from payment obligations between Deloitte and the relevant subcontractor, provided that the Client gives prompt notice to Deloitte of any such claim and Deloitte controls the defence thereof.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2.5	The Client indemnifies Deloitte against any loss, damages, costs or expenses directly or indirectly incurred by Deloitte as a result of inaccurate or incomplete information supplied by, or misrepresentations, fraudulent acts or wilful Default on the part of the Client, the Client’s Personnel, or any third party under the control of the Client.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2.6	Deloitte indemnifies the Client against any loss, damages, costs or expenses directly or indirectly incurred by the Client as a result of misrepresentation, fraudulent acts or wilful default on the part of Deloitte, the Personnel of Deloitte, or any third party under the control of Deloitte. Deloitte shall accept liability to the client, only to the extent of its portion of the Services, as agreed.</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2.7	The Client indemnifies Deloitte and D&amp;T Parties against any Claim by any third party arising from a copy of any report, certificate, schedule or other Deliverable which the third party received from the Client, its Personnel, or its advisors.</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2.8	In the event of the Client not being the final consumer of the Services under this Agreement (the “Consumer”), the client indemnifies Deloitte and D&amp;T Parties against any Claims by the Consumer.</a:t>
            </a:r>
          </a:p>
          <a:p>
            <a:pPr marL="362481" indent="-634342" algn="just" defTabSz="1208241" hangingPunct="1">
              <a:spcBef>
                <a:spcPts val="591"/>
              </a:spcBef>
              <a:defRPr/>
            </a:pPr>
            <a:endParaRPr lang="en-US" sz="891" kern="1200" dirty="0">
              <a:solidFill>
                <a:srgbClr val="000000"/>
              </a:solidFill>
              <a:latin typeface="Calibri" panose="020F0502020204030204"/>
              <a:ea typeface="+mn-ea"/>
              <a:cs typeface="+mn-cs"/>
            </a:endParaRPr>
          </a:p>
        </p:txBody>
      </p:sp>
    </p:spTree>
    <p:extLst>
      <p:ext uri="{BB962C8B-B14F-4D97-AF65-F5344CB8AC3E}">
        <p14:creationId xmlns:p14="http://schemas.microsoft.com/office/powerpoint/2010/main" val="975493396"/>
      </p:ext>
    </p:extLst>
  </p:cSld>
  <p:clrMapOvr>
    <a:masterClrMapping/>
  </p:clrMapOvr>
  <p:transition spd="med"/>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914314-A01C-44E3-AC84-C79B490DD84B}"/>
              </a:ext>
            </a:extLst>
          </p:cNvPr>
          <p:cNvSpPr>
            <a:spLocks noGrp="1"/>
          </p:cNvSpPr>
          <p:nvPr>
            <p:ph type="title"/>
          </p:nvPr>
        </p:nvSpPr>
        <p:spPr/>
        <p:txBody>
          <a:bodyPr/>
          <a:lstStyle/>
          <a:p>
            <a:r>
              <a:rPr lang="en-US" dirty="0">
                <a:latin typeface="+mn-lt"/>
              </a:rPr>
              <a:t>General Business Terms and Conditions (8 of 18)</a:t>
            </a:r>
          </a:p>
        </p:txBody>
      </p:sp>
      <p:sp>
        <p:nvSpPr>
          <p:cNvPr id="2" name="TextBox 1">
            <a:extLst>
              <a:ext uri="{FF2B5EF4-FFF2-40B4-BE49-F238E27FC236}">
                <a16:creationId xmlns:a16="http://schemas.microsoft.com/office/drawing/2014/main" id="{F8AF4CBC-44E3-4717-C491-29DE3829FCF6}"/>
              </a:ext>
            </a:extLst>
          </p:cNvPr>
          <p:cNvSpPr txBox="1"/>
          <p:nvPr/>
        </p:nvSpPr>
        <p:spPr bwMode="gray">
          <a:xfrm>
            <a:off x="522377" y="761808"/>
            <a:ext cx="10342039" cy="4665062"/>
          </a:xfrm>
          <a:prstGeom prst="rect">
            <a:avLst/>
          </a:prstGeom>
          <a:noFill/>
        </p:spPr>
        <p:txBody>
          <a:bodyPr wrap="square">
            <a:spAutoFit/>
          </a:bodyPr>
          <a:lstStyle/>
          <a:p>
            <a:pPr marL="362481" indent="-634342" algn="just" defTabSz="1208241" hangingPunct="1">
              <a:spcBef>
                <a:spcPts val="591"/>
              </a:spcBef>
              <a:defRPr/>
            </a:pPr>
            <a:r>
              <a:rPr lang="en-US" sz="1041" b="1" kern="1200" dirty="0">
                <a:solidFill>
                  <a:prstClr val="black"/>
                </a:solidFill>
                <a:latin typeface="Calibri" panose="020F0502020204030204" pitchFamily="34" charset="0"/>
                <a:ea typeface="+mn-ea"/>
                <a:cs typeface="Calibri" panose="020F0502020204030204" pitchFamily="34" charset="0"/>
              </a:rPr>
              <a:t>13	Client Responsibilities. </a:t>
            </a:r>
          </a:p>
          <a:p>
            <a:pPr marL="362481" indent="-634342" algn="just" defTabSz="1208241" hangingPunct="1">
              <a:spcBef>
                <a:spcPts val="591"/>
              </a:spcBef>
              <a:defRPr/>
            </a:pPr>
            <a:r>
              <a:rPr lang="en-US" sz="1041" kern="1200" dirty="0">
                <a:solidFill>
                  <a:prstClr val="black"/>
                </a:solidFill>
                <a:latin typeface="Calibri" panose="020F0502020204030204" pitchFamily="34" charset="0"/>
                <a:ea typeface="+mn-ea"/>
                <a:cs typeface="Calibri" panose="020F0502020204030204" pitchFamily="34" charset="0"/>
              </a:rPr>
              <a:t>13.1	The Client and related parties, e.g., hardware/software providers or Internet Service Providers, shall cooperate with Deloitte in the performance by Deloitte of the Services, including, without limitation, providing Deloitte with reasonable facilities and timely access to data, information and personnel of the Client. The Client shall be responsible for the performance of its personnel and agents and for the accuracy and completeness of all data and information provided to Deloitte for purposes of the performance by Deloitte of the Services.  The Client acknowledges and agrees that Deloitte’s performance is dependent upon the timely and effective satisfaction of the Client’s responsibilities hereunder and timely decisions and approvals of the Client in connection with the Services.  Deloitte shall be entitled to rely on all decisions and approvals of the Client.  </a:t>
            </a:r>
          </a:p>
          <a:p>
            <a:pPr marL="362481" indent="-634342" algn="just" defTabSz="1208241" hangingPunct="1">
              <a:spcBef>
                <a:spcPts val="591"/>
              </a:spcBef>
              <a:defRPr/>
            </a:pPr>
            <a:r>
              <a:rPr lang="en-US" sz="1041" kern="1200" dirty="0">
                <a:solidFill>
                  <a:prstClr val="black"/>
                </a:solidFill>
                <a:latin typeface="Calibri" panose="020F0502020204030204" pitchFamily="34" charset="0"/>
                <a:ea typeface="+mn-ea"/>
                <a:cs typeface="Calibri" panose="020F0502020204030204" pitchFamily="34" charset="0"/>
              </a:rPr>
              <a:t>13.2	The Client shall be solely responsible for, among other things: </a:t>
            </a:r>
          </a:p>
          <a:p>
            <a:pPr marL="362481" indent="-634342" algn="just" defTabSz="1208241" hangingPunct="1">
              <a:spcBef>
                <a:spcPts val="591"/>
              </a:spcBef>
              <a:defRPr/>
            </a:pPr>
            <a:r>
              <a:rPr lang="en-US" sz="1041" kern="1200" dirty="0">
                <a:solidFill>
                  <a:prstClr val="black"/>
                </a:solidFill>
                <a:latin typeface="Calibri" panose="020F0502020204030204" pitchFamily="34" charset="0"/>
                <a:ea typeface="+mn-ea"/>
                <a:cs typeface="Calibri" panose="020F0502020204030204" pitchFamily="34" charset="0"/>
              </a:rPr>
              <a:t>	13.2.1	making all management decisions and performing all management functions;</a:t>
            </a:r>
          </a:p>
          <a:p>
            <a:pPr marL="362481" indent="-634342" algn="just" defTabSz="1208241" hangingPunct="1">
              <a:spcBef>
                <a:spcPts val="591"/>
              </a:spcBef>
              <a:defRPr/>
            </a:pPr>
            <a:r>
              <a:rPr lang="en-US" sz="1041" kern="1200" dirty="0">
                <a:solidFill>
                  <a:prstClr val="black"/>
                </a:solidFill>
                <a:latin typeface="Calibri" panose="020F0502020204030204" pitchFamily="34" charset="0"/>
                <a:ea typeface="+mn-ea"/>
                <a:cs typeface="Calibri" panose="020F0502020204030204" pitchFamily="34" charset="0"/>
              </a:rPr>
              <a:t>	13.2.2	designating a competent management member to oversee the Services;</a:t>
            </a:r>
          </a:p>
          <a:p>
            <a:pPr marL="362481" indent="-634342" algn="just" defTabSz="1208241" hangingPunct="1">
              <a:spcBef>
                <a:spcPts val="591"/>
              </a:spcBef>
              <a:defRPr/>
            </a:pPr>
            <a:r>
              <a:rPr lang="en-US" sz="1041" kern="1200" dirty="0">
                <a:solidFill>
                  <a:prstClr val="black"/>
                </a:solidFill>
                <a:latin typeface="Calibri" panose="020F0502020204030204" pitchFamily="34" charset="0"/>
                <a:ea typeface="+mn-ea"/>
                <a:cs typeface="Calibri" panose="020F0502020204030204" pitchFamily="34" charset="0"/>
              </a:rPr>
              <a:t>	13.2.3	evaluating the adequacy and results of the Services;</a:t>
            </a:r>
          </a:p>
          <a:p>
            <a:pPr marL="362481" indent="-634342" algn="just" defTabSz="1208241" hangingPunct="1">
              <a:spcBef>
                <a:spcPts val="591"/>
              </a:spcBef>
              <a:defRPr/>
            </a:pPr>
            <a:r>
              <a:rPr lang="en-US" sz="1041" kern="1200" dirty="0">
                <a:solidFill>
                  <a:prstClr val="black"/>
                </a:solidFill>
                <a:latin typeface="Calibri" panose="020F0502020204030204" pitchFamily="34" charset="0"/>
                <a:ea typeface="+mn-ea"/>
                <a:cs typeface="Calibri" panose="020F0502020204030204" pitchFamily="34" charset="0"/>
              </a:rPr>
              <a:t>	13.2.4	accepting responsibility for the results of the Services;</a:t>
            </a:r>
          </a:p>
          <a:p>
            <a:pPr marL="362481" indent="-634342" algn="just" defTabSz="1208241" hangingPunct="1">
              <a:spcBef>
                <a:spcPts val="591"/>
              </a:spcBef>
              <a:defRPr/>
            </a:pPr>
            <a:r>
              <a:rPr lang="en-US" sz="1041" kern="1200" dirty="0">
                <a:solidFill>
                  <a:prstClr val="black"/>
                </a:solidFill>
                <a:latin typeface="Calibri" panose="020F0502020204030204" pitchFamily="34" charset="0"/>
                <a:ea typeface="+mn-ea"/>
                <a:cs typeface="Calibri" panose="020F0502020204030204" pitchFamily="34" charset="0"/>
              </a:rPr>
              <a:t>	13.2.5	establishing and maintaining internal controls, including, without limitation, monitoring ongoing activities; and,</a:t>
            </a:r>
          </a:p>
          <a:p>
            <a:pPr marL="362481" indent="-634342" algn="just" defTabSz="1208241" hangingPunct="1">
              <a:spcBef>
                <a:spcPts val="591"/>
              </a:spcBef>
              <a:defRPr/>
            </a:pPr>
            <a:r>
              <a:rPr lang="en-US" sz="1041" kern="1200" dirty="0">
                <a:solidFill>
                  <a:prstClr val="black"/>
                </a:solidFill>
                <a:latin typeface="Calibri" panose="020F0502020204030204" pitchFamily="34" charset="0"/>
                <a:ea typeface="+mn-ea"/>
                <a:cs typeface="Calibri" panose="020F0502020204030204" pitchFamily="34" charset="0"/>
              </a:rPr>
              <a:t>	13.2.6	providing Deloitte with correct and accurate information, data, form or any other required to complete its Services, as Deloitte will carry no liability for any incorrect 	information provided by the Client.</a:t>
            </a:r>
          </a:p>
          <a:p>
            <a:pPr marL="362481" indent="-634342" algn="just" defTabSz="1208241" hangingPunct="1">
              <a:spcBef>
                <a:spcPts val="591"/>
              </a:spcBef>
              <a:defRPr/>
            </a:pPr>
            <a:endParaRPr lang="en-US" sz="1041" kern="1200" dirty="0">
              <a:solidFill>
                <a:prstClr val="black"/>
              </a:solidFill>
              <a:latin typeface="Calibri" panose="020F0502020204030204" pitchFamily="34" charset="0"/>
              <a:ea typeface="+mn-ea"/>
              <a:cs typeface="Calibri" panose="020F0502020204030204" pitchFamily="34" charset="0"/>
            </a:endParaRPr>
          </a:p>
          <a:p>
            <a:pPr marL="362481" indent="-634342" algn="just" defTabSz="1208241" hangingPunct="1">
              <a:spcBef>
                <a:spcPts val="591"/>
              </a:spcBef>
              <a:defRPr/>
            </a:pPr>
            <a:r>
              <a:rPr lang="en-US" sz="1041" b="1" kern="1200" dirty="0">
                <a:solidFill>
                  <a:prstClr val="black"/>
                </a:solidFill>
                <a:latin typeface="Calibri" panose="020F0502020204030204" pitchFamily="34" charset="0"/>
                <a:ea typeface="+mn-ea"/>
                <a:cs typeface="Calibri" panose="020F0502020204030204" pitchFamily="34" charset="0"/>
              </a:rPr>
              <a:t>14	Non-Solicitation.</a:t>
            </a:r>
          </a:p>
          <a:p>
            <a:pPr marL="362481" indent="-634342" algn="just" defTabSz="1208241" hangingPunct="1">
              <a:spcBef>
                <a:spcPts val="591"/>
              </a:spcBef>
              <a:defRPr/>
            </a:pPr>
            <a:r>
              <a:rPr lang="en-US" sz="1041" b="1" kern="1200" dirty="0">
                <a:solidFill>
                  <a:prstClr val="black"/>
                </a:solidFill>
                <a:latin typeface="Calibri" panose="020F0502020204030204" pitchFamily="34" charset="0"/>
                <a:ea typeface="+mn-ea"/>
                <a:cs typeface="Calibri" panose="020F0502020204030204" pitchFamily="34" charset="0"/>
              </a:rPr>
              <a:t>	</a:t>
            </a:r>
            <a:r>
              <a:rPr lang="en-US" sz="1041" kern="1200" dirty="0">
                <a:solidFill>
                  <a:prstClr val="black"/>
                </a:solidFill>
                <a:latin typeface="Calibri" panose="020F0502020204030204" pitchFamily="34" charset="0"/>
                <a:ea typeface="+mn-ea"/>
                <a:cs typeface="Calibri" panose="020F0502020204030204" pitchFamily="34" charset="0"/>
              </a:rPr>
              <a:t>The Client, its subsidiaries, parent company or any other of its affiliates undertake that, for the duration of the engagement and for 1 (One) year thereafter, it shall not solicit for employment, nor offer employment directly or indirectly, nor enter into any contract for services, nor engage the services of any team member assigned to this Project by Deloitte. In the event the Client breaches this provision, it shall be liable to the aggrieved party for an amount equal to 30% (Thirty percent) of the higher of either the annual base compensation of the relevant personnel in his/her new position or the annual base compensation of the relevant personnel in his/her last position with Deloitte. Although such payment shall be the Deloitte’s exclusive means of monetary recovery from the Client for any breach of this provision, Deloitte shall be entitled to seek injunctive or other equitable relief, as may be applicable.</a:t>
            </a:r>
          </a:p>
          <a:p>
            <a:pPr marL="362481" indent="-634342" algn="just" defTabSz="1208241" hangingPunct="1">
              <a:spcBef>
                <a:spcPts val="591"/>
              </a:spcBef>
              <a:defRPr/>
            </a:pPr>
            <a:endParaRPr lang="en-US" sz="991" kern="1200" dirty="0">
              <a:solidFill>
                <a:prstClr val="black"/>
              </a:solidFill>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77525531"/>
      </p:ext>
    </p:extLst>
  </p:cSld>
  <p:clrMapOvr>
    <a:masterClrMapping/>
  </p:clrMapOvr>
  <p:transition spd="med"/>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914314-A01C-44E3-AC84-C79B490DD84B}"/>
              </a:ext>
            </a:extLst>
          </p:cNvPr>
          <p:cNvSpPr>
            <a:spLocks noGrp="1"/>
          </p:cNvSpPr>
          <p:nvPr>
            <p:ph type="title"/>
          </p:nvPr>
        </p:nvSpPr>
        <p:spPr/>
        <p:txBody>
          <a:bodyPr/>
          <a:lstStyle/>
          <a:p>
            <a:r>
              <a:rPr lang="en-US" dirty="0">
                <a:latin typeface="+mn-lt"/>
              </a:rPr>
              <a:t>General Business Terms and Conditions (9 of 18)</a:t>
            </a:r>
          </a:p>
        </p:txBody>
      </p:sp>
      <p:sp>
        <p:nvSpPr>
          <p:cNvPr id="2" name="TextBox 1">
            <a:extLst>
              <a:ext uri="{FF2B5EF4-FFF2-40B4-BE49-F238E27FC236}">
                <a16:creationId xmlns:a16="http://schemas.microsoft.com/office/drawing/2014/main" id="{F23C4C36-04CA-05C8-AF0C-EBBD65D89A2A}"/>
              </a:ext>
            </a:extLst>
          </p:cNvPr>
          <p:cNvSpPr txBox="1"/>
          <p:nvPr/>
        </p:nvSpPr>
        <p:spPr bwMode="gray">
          <a:xfrm>
            <a:off x="522377" y="761804"/>
            <a:ext cx="10342039" cy="6113368"/>
          </a:xfrm>
          <a:prstGeom prst="rect">
            <a:avLst/>
          </a:prstGeom>
          <a:noFill/>
        </p:spPr>
        <p:txBody>
          <a:bodyPr wrap="square">
            <a:spAutoFit/>
          </a:bodyPr>
          <a:lstStyle/>
          <a:p>
            <a:pPr marL="362481" indent="-634342" algn="just" hangingPunct="1">
              <a:spcBef>
                <a:spcPts val="591"/>
              </a:spcBef>
            </a:pPr>
            <a:r>
              <a:rPr lang="en-US" sz="1041" b="1" kern="1200" dirty="0">
                <a:solidFill>
                  <a:prstClr val="black"/>
                </a:solidFill>
                <a:latin typeface="Calibri" panose="020F0502020204030204" pitchFamily="34" charset="0"/>
                <a:ea typeface="+mn-ea"/>
                <a:cs typeface="Calibri" panose="020F0502020204030204" pitchFamily="34" charset="0"/>
              </a:rPr>
              <a:t>15	Force Majeure. </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15.1	Except for the payment of money, neither Party shall be liable for any delays or non-performance resulting from circumstances or causes beyond its reasonable control, including, without limitation, acts or omissions or the failure to cooperate by the Client (including, without limitation, entities or individuals under its control, or any of their respective officers, directors, employees, other personnel and agents), acts or omissions or the failure to cooperate by any third party, fire or other casualty, act of God, strike or labor dispute, war or other violence, or any law, order or requirement of any governmental agency or authority.</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15.2	Both Parties agree to reasonably mitigate costs associated with such events, where possible. If the anticipated or actual delay or non-performance exceeds thirty (30) calendar days, the other Party may immediately terminate the Agreement by giving notice of termination.  The Client agrees to pay Deloitte for all amounts owed in terms of this Agreement for Services rendered by Deloitte up until the Force Majeure event.</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15.3	Additional restrictions and conditions imposed due to epidemics and/or pandemics:</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15.3.1	The Parties acknowledge the threat posed by the spread of diseases classified by the World Health Organization as epidemics (“Epidemics”) or pandemics 	(“Pandemics”), including but not limited to Covid-19 (“Coronavirus”) and the associated impact this might have on the delivery of the Services. The Parties personnel 	will comply with any restrictions or conditions imposed by their respective organizations on working practices as the threat of Epidemics or Pandemics continues.</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15.3.2	Whilst the Parties will seek to continue to comply with their respective obligations in accordance with the timeframes and approach set out in the Letter of 	Engagement, the Parties accept that they may be required to adopt alternative working practices and put in place safeguards during this period, including but not 	limited to working remotely, restrictions on travel to and from particular locations and the quarantining of individuals. These working practices and safeguards may 	impact or prevent the delivery of various activities or deliverables, for example, workshops or other face to face meetings.</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15.3.3	Without prejudice to this clause 15 (Force Majeure), the Parties will work collaboratively and in good faith to agree a Change Order to mitigate the adverse impact 	resulting from the effects of Epidemics or Pandemics on the Services, including the timetable for delivery of the Services, the approach, methods and working 	practices for delivering the Services, and any additional associated costs.</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15.3.4	In any event, Deloitte shall have no liability for any failure or delay to perform its obligations under this Proposal, to the extent caused and/or contributed to 	by the spread of Epidemics or Pandemics and its associated impact.</a:t>
            </a:r>
          </a:p>
          <a:p>
            <a:pPr marL="362481" indent="-634342" algn="just" hangingPunct="1">
              <a:spcBef>
                <a:spcPts val="591"/>
              </a:spcBef>
            </a:pPr>
            <a:endParaRPr lang="en-US" sz="1041" kern="1200" dirty="0">
              <a:solidFill>
                <a:prstClr val="black"/>
              </a:solidFill>
              <a:latin typeface="Calibri" panose="020F0502020204030204" pitchFamily="34" charset="0"/>
              <a:ea typeface="+mn-ea"/>
              <a:cs typeface="Calibri" panose="020F0502020204030204" pitchFamily="34" charset="0"/>
            </a:endParaRPr>
          </a:p>
          <a:p>
            <a:pPr marL="362481" indent="-634342" algn="just" hangingPunct="1">
              <a:spcBef>
                <a:spcPts val="591"/>
              </a:spcBef>
            </a:pPr>
            <a:r>
              <a:rPr lang="en-US" sz="1041" b="1" kern="1200" dirty="0">
                <a:solidFill>
                  <a:prstClr val="black"/>
                </a:solidFill>
                <a:latin typeface="Calibri" panose="020F0502020204030204" pitchFamily="34" charset="0"/>
                <a:ea typeface="+mn-ea"/>
                <a:cs typeface="Calibri" panose="020F0502020204030204" pitchFamily="34" charset="0"/>
              </a:rPr>
              <a:t>16	Limitation on Actions. </a:t>
            </a:r>
          </a:p>
          <a:p>
            <a:pPr marL="362481" indent="-634342" algn="just" hangingPunct="1">
              <a:spcBef>
                <a:spcPts val="591"/>
              </a:spcBef>
            </a:pPr>
            <a:r>
              <a:rPr lang="en-US" sz="1041" b="1" kern="1200" dirty="0">
                <a:solidFill>
                  <a:prstClr val="black"/>
                </a:solidFill>
                <a:latin typeface="Calibri" panose="020F0502020204030204" pitchFamily="34" charset="0"/>
                <a:ea typeface="+mn-ea"/>
                <a:cs typeface="Calibri" panose="020F0502020204030204" pitchFamily="34" charset="0"/>
              </a:rPr>
              <a:t>	</a:t>
            </a:r>
            <a:r>
              <a:rPr lang="en-US" sz="1041" kern="1200" dirty="0">
                <a:solidFill>
                  <a:prstClr val="black"/>
                </a:solidFill>
                <a:latin typeface="Calibri" panose="020F0502020204030204" pitchFamily="34" charset="0"/>
                <a:ea typeface="+mn-ea"/>
                <a:cs typeface="Calibri" panose="020F0502020204030204" pitchFamily="34" charset="0"/>
              </a:rPr>
              <a:t>No action, regardless of form, relating to this Engagement, may be brought by either Party more than 1 (One) year after the cause of action has accrued, except that an action for non-payment may be brought by a Party not later than 1 (One) year following the date of the last payment due to such Party bringing such action.</a:t>
            </a:r>
          </a:p>
          <a:p>
            <a:pPr marL="362481" indent="-634342" algn="just" hangingPunct="1">
              <a:spcBef>
                <a:spcPts val="591"/>
              </a:spcBef>
            </a:pPr>
            <a:endParaRPr lang="en-US" sz="1041" b="1" kern="1200" dirty="0">
              <a:solidFill>
                <a:prstClr val="black"/>
              </a:solidFill>
              <a:latin typeface="Calibri" panose="020F0502020204030204" pitchFamily="34" charset="0"/>
              <a:ea typeface="+mn-ea"/>
              <a:cs typeface="Calibri" panose="020F0502020204030204" pitchFamily="34" charset="0"/>
            </a:endParaRPr>
          </a:p>
          <a:p>
            <a:pPr marL="362481" indent="-634342" algn="just" hangingPunct="1">
              <a:spcBef>
                <a:spcPts val="591"/>
              </a:spcBef>
            </a:pPr>
            <a:r>
              <a:rPr lang="en-US" sz="1041" b="1" kern="1200" dirty="0">
                <a:solidFill>
                  <a:prstClr val="black"/>
                </a:solidFill>
                <a:latin typeface="Calibri" panose="020F0502020204030204" pitchFamily="34" charset="0"/>
                <a:ea typeface="+mn-ea"/>
                <a:cs typeface="Calibri" panose="020F0502020204030204" pitchFamily="34" charset="0"/>
              </a:rPr>
              <a:t>17	Independent Contractor. </a:t>
            </a:r>
          </a:p>
          <a:p>
            <a:pPr marL="362481" indent="-634342" algn="just" hangingPunct="1">
              <a:spcBef>
                <a:spcPts val="591"/>
              </a:spcBef>
            </a:pPr>
            <a:r>
              <a:rPr lang="en-US" sz="1041" b="1" kern="1200" dirty="0">
                <a:solidFill>
                  <a:prstClr val="black"/>
                </a:solidFill>
                <a:latin typeface="Calibri" panose="020F0502020204030204" pitchFamily="34" charset="0"/>
                <a:ea typeface="+mn-ea"/>
                <a:cs typeface="Calibri" panose="020F0502020204030204" pitchFamily="34" charset="0"/>
              </a:rPr>
              <a:t>	</a:t>
            </a:r>
            <a:r>
              <a:rPr lang="en-US" sz="1041" kern="1200" dirty="0">
                <a:solidFill>
                  <a:prstClr val="black"/>
                </a:solidFill>
                <a:latin typeface="Calibri" panose="020F0502020204030204" pitchFamily="34" charset="0"/>
                <a:ea typeface="+mn-ea"/>
                <a:cs typeface="Calibri" panose="020F0502020204030204" pitchFamily="34" charset="0"/>
              </a:rPr>
              <a:t>It is understood and agreed that each of the Parties hereto is an independent contractor and that neither Party is, nor shall be considered to be, the other’s agent, distributor, partner, fiduciary, joint venturer, co-owner or representative. Neither Party shall act or represent itself, directly or by implication, in any such capacity in respect of the other or in any manner assume or create any obligation on behalf of, or in the name of, the other.</a:t>
            </a:r>
          </a:p>
          <a:p>
            <a:pPr marL="362481" indent="-634342" algn="just" hangingPunct="1">
              <a:spcBef>
                <a:spcPts val="591"/>
              </a:spcBef>
            </a:pPr>
            <a:endParaRPr lang="en-US" sz="991" kern="1200" dirty="0">
              <a:solidFill>
                <a:prstClr val="black"/>
              </a:solidFill>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734703594"/>
      </p:ext>
    </p:extLst>
  </p:cSld>
  <p:clrMapOvr>
    <a:masterClrMapping/>
  </p:clrMapOvr>
  <p:transition spd="med"/>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914314-A01C-44E3-AC84-C79B490DD84B}"/>
              </a:ext>
            </a:extLst>
          </p:cNvPr>
          <p:cNvSpPr>
            <a:spLocks noGrp="1"/>
          </p:cNvSpPr>
          <p:nvPr>
            <p:ph type="title"/>
          </p:nvPr>
        </p:nvSpPr>
        <p:spPr/>
        <p:txBody>
          <a:bodyPr/>
          <a:lstStyle/>
          <a:p>
            <a:r>
              <a:rPr lang="en-US" dirty="0">
                <a:latin typeface="+mn-lt"/>
              </a:rPr>
              <a:t>General Business Terms and Conditions (10 of 18)</a:t>
            </a:r>
          </a:p>
        </p:txBody>
      </p:sp>
      <p:sp>
        <p:nvSpPr>
          <p:cNvPr id="2" name="TextBox 1">
            <a:extLst>
              <a:ext uri="{FF2B5EF4-FFF2-40B4-BE49-F238E27FC236}">
                <a16:creationId xmlns:a16="http://schemas.microsoft.com/office/drawing/2014/main" id="{6CFB9AF0-37C6-7242-F2F2-524DB767EB50}"/>
              </a:ext>
            </a:extLst>
          </p:cNvPr>
          <p:cNvSpPr txBox="1"/>
          <p:nvPr/>
        </p:nvSpPr>
        <p:spPr bwMode="gray">
          <a:xfrm>
            <a:off x="522377" y="761808"/>
            <a:ext cx="10342039" cy="5897768"/>
          </a:xfrm>
          <a:prstGeom prst="rect">
            <a:avLst/>
          </a:prstGeom>
          <a:noFill/>
        </p:spPr>
        <p:txBody>
          <a:bodyPr wrap="square">
            <a:spAutoFit/>
          </a:bodyPr>
          <a:lstStyle/>
          <a:p>
            <a:pPr marL="362481" indent="-634342" algn="just" hangingPunct="1">
              <a:spcBef>
                <a:spcPts val="591"/>
              </a:spcBef>
            </a:pPr>
            <a:r>
              <a:rPr lang="en-US" sz="1041" b="1" kern="1200" dirty="0">
                <a:solidFill>
                  <a:prstClr val="black"/>
                </a:solidFill>
                <a:latin typeface="Calibri" panose="020F0502020204030204" pitchFamily="34" charset="0"/>
                <a:ea typeface="+mn-ea"/>
                <a:cs typeface="Calibri" panose="020F0502020204030204" pitchFamily="34" charset="0"/>
              </a:rPr>
              <a:t>18	Confidentiality and Internal Use.</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18.1	The Client agrees that all Services and Deliverables shall be solely for the Client’s informational purposes and internal use, and are not intended to be, and should not be, used by any person or entity other than the Client except as otherwise specifically agreed in writing. The Client further agrees that such Services or Deliverables shall not be circulated, quoted, disclosed, or distributed to, nor shall reference to such Services or Deliverables be made to, any person or entity other than the Client, except as may be required by law or Agreed by the Parties.</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18.2	To the extent that, in connection with this engagement, either Party (each, the “Receiving Party”) comes into possession of any trade secrets or other proprietary or confidential information of the other (the “Disclosing Party”), it will not disclose such information to any third party without the Disclosing Party’s consent, except:</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18.2.1	 to subcontractors that are providing services in connection with this engagement and that have agreed to be bound by confidentiality obligations similar to those in 	this Clause;</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18.2.2	 as may be required by law, regulation, judicial or administrative process, or in accordance with applicable professional standards or rules, or in connection with 	litigation pertaining hereto; or,</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18.2.3	 to the extent such information:</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18.2.3 (a) 	shall have otherwise become publicly available (including, without limitation, any information filed with any governmental agency and available 			to the public) other than as the result of a disclosure in breach hereof,</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18.2.3 (b)	becomes available to the Receiving Party on a nonconfidential basis from a source other than the Disclosing Party that the Receiving Party 			believes is not prohibited from disclosing such information to the Receiving Party by obligation to the Disclosing Party,</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18.2.3 (c)	is known by the Receiving Party prior to its receipt from the Disclosing Party without any obligation of confidentiality with respect thereto, or</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		18.2.3 (d)	is developed by the Receiving Party independently of any disclosures made by the Disclosing Party to the Receiving Party of such information. In 			addition, the Client acknowledges and agrees that any such information that comes to the attention of Deloitte in the course of performing this 			engagement may be considered and used by Deloitte in the context of responding to its professional obligations as the independent 				accountants for the Client. </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18.3	Deloitte reports will be for the sole internal use of the Client. Provision of the reports to third parties requires Deloitte’s prior written approval. Third party recipients of the reports will be required to enter into separate arrangements with Deloitte, specifying their intended use of the report(s), or indemnify Deloitte by providing “hold harmless” letters. Deloitte will not unreasonably withhold consent for further distribution of the reports, provided that these terms are adhered to.</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18.4	Further, the Client agrees that Deloitte may use the Client’s name as a reference, to be included in proposals to other clients and marketing materials developed by Deloitte unless otherwise indicated in writing by the Client.</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18.5	The Client agrees not to reference Deloitte’s name or Deloitte’s reports, analysis or other documents prepared by Deloitte in whole or in part, in any document distributed to third parties other than the intended users without Deloitte’s written consent.</a:t>
            </a:r>
          </a:p>
          <a:p>
            <a:pPr marL="362481" indent="-634342" algn="just" hangingPunct="1">
              <a:spcBef>
                <a:spcPts val="591"/>
              </a:spcBef>
            </a:pPr>
            <a:r>
              <a:rPr lang="en-US" sz="1041" kern="1200" dirty="0">
                <a:solidFill>
                  <a:prstClr val="black"/>
                </a:solidFill>
                <a:latin typeface="Calibri" panose="020F0502020204030204" pitchFamily="34" charset="0"/>
                <a:ea typeface="+mn-ea"/>
                <a:cs typeface="Calibri" panose="020F0502020204030204" pitchFamily="34" charset="0"/>
              </a:rPr>
              <a:t>18.6	Neither Deloitte’s name nor the material submitted may be included in any prospectus, newspaper publicity or as a part of any printed material, or used in offerings or representations in connection with the sale of securities or participation interest to the public. </a:t>
            </a:r>
          </a:p>
        </p:txBody>
      </p:sp>
    </p:spTree>
    <p:extLst>
      <p:ext uri="{BB962C8B-B14F-4D97-AF65-F5344CB8AC3E}">
        <p14:creationId xmlns:p14="http://schemas.microsoft.com/office/powerpoint/2010/main" val="1689726473"/>
      </p:ext>
    </p:extLst>
  </p:cSld>
  <p:clrMapOvr>
    <a:masterClrMapping/>
  </p:clrMapOvr>
  <p:transition spd="med"/>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914314-A01C-44E3-AC84-C79B490DD84B}"/>
              </a:ext>
            </a:extLst>
          </p:cNvPr>
          <p:cNvSpPr>
            <a:spLocks noGrp="1"/>
          </p:cNvSpPr>
          <p:nvPr>
            <p:ph type="title"/>
          </p:nvPr>
        </p:nvSpPr>
        <p:spPr/>
        <p:txBody>
          <a:bodyPr/>
          <a:lstStyle/>
          <a:p>
            <a:r>
              <a:rPr lang="en-US" dirty="0">
                <a:latin typeface="+mn-lt"/>
              </a:rPr>
              <a:t>General Business Terms and Conditions (11 of 18)</a:t>
            </a:r>
          </a:p>
        </p:txBody>
      </p:sp>
      <p:sp>
        <p:nvSpPr>
          <p:cNvPr id="2" name="TextBox 1">
            <a:extLst>
              <a:ext uri="{FF2B5EF4-FFF2-40B4-BE49-F238E27FC236}">
                <a16:creationId xmlns:a16="http://schemas.microsoft.com/office/drawing/2014/main" id="{178E11AE-8999-22A9-9AFE-9AD71F234E5D}"/>
              </a:ext>
            </a:extLst>
          </p:cNvPr>
          <p:cNvSpPr txBox="1"/>
          <p:nvPr/>
        </p:nvSpPr>
        <p:spPr bwMode="gray">
          <a:xfrm>
            <a:off x="522377" y="761804"/>
            <a:ext cx="10342039" cy="5785593"/>
          </a:xfrm>
          <a:prstGeom prst="rect">
            <a:avLst/>
          </a:prstGeom>
          <a:noFill/>
        </p:spPr>
        <p:txBody>
          <a:bodyPr wrap="square">
            <a:spAutoFit/>
          </a:bodyPr>
          <a:lstStyle/>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8.7	In the course of providing the Services, we may make reference to spreadsheets and computer models that Client may provide to Deloitte or ask Deloitte to rely upon (“Client Models”) or that we may have developed or used in connection with the Services (“Deloitte Models”).  All models have limits and may not produce valid results for all possible combinations of input data.  As such, errors and potential errors may go unnoticed.  Unless otherwise expressly agreed in the Proposal:</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8.7.1	Deloitte will not be responsible for reviewing, testing or detecting any errors in any of the Client Models; and</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8.7.2	Deloitte will not provide Client with a copy of Deloitte Models for Client use.</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8.8	Deloitte owes no duty of performance to any party other than the Client. </a:t>
            </a:r>
          </a:p>
          <a:p>
            <a:pPr marL="362481" indent="-634342" algn="just" defTabSz="1208241" hangingPunct="1">
              <a:spcBef>
                <a:spcPts val="591"/>
              </a:spcBef>
              <a:defRPr/>
            </a:pPr>
            <a:endParaRPr lang="en-US" sz="1041" kern="1200" dirty="0">
              <a:solidFill>
                <a:srgbClr val="000000"/>
              </a:solidFill>
              <a:latin typeface="Calibri" panose="020F0502020204030204"/>
              <a:ea typeface="+mn-ea"/>
              <a:cs typeface="+mn-cs"/>
            </a:endParaRPr>
          </a:p>
          <a:p>
            <a:pPr marL="362481" indent="-634342" algn="just" defTabSz="1208241" hangingPunct="1">
              <a:spcBef>
                <a:spcPts val="591"/>
              </a:spcBef>
              <a:defRPr/>
            </a:pPr>
            <a:r>
              <a:rPr lang="en-US" sz="1041" b="1" kern="1200" dirty="0">
                <a:solidFill>
                  <a:srgbClr val="000000"/>
                </a:solidFill>
                <a:latin typeface="Calibri" panose="020F0502020204030204"/>
                <a:ea typeface="+mn-ea"/>
                <a:cs typeface="+mn-cs"/>
              </a:rPr>
              <a:t>19	Privacy and Data Protection.</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9.1	The Client acknowledges that Personal Data may be processed by Deloitte, either in its capacity as a Controller or as a Processor (as applicable), for the purpose of, or in connection with:</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9.1.1	The provision of the Services;</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9.1.2	Applicable legal or regulatory requirements;</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9.1.3	Requests and communications with competent authorities;</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9.1.4	Internal and external audits, and/or</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9.1.5	Administrative, financial, accounting, risk analysis, and client relationship purposes (the “Purposes”).</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9.2	“Personal Data” means any information relating to an identified or identifiable natural person (“data subject”); an identifiable person is one who can be identified, directly or indirectly, in particular by reference to an identifier such as a name, an identification number, location data, an online identifier or to one or more factors specific to the physical, physiological, genetic, mental, economic, cultural or social identity of that natural person.</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9.3	“Data Protection Legislation” means any applicable data protection legislation as amended, replaced or superseded from time to time.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9.4	“Deloitte Personal Data” means any Personal Data of Deloitte employees and or/clients processed by the Client on behalf of Deloitte pursuant to or in connection with the Proposal.</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9.5	“Controller” means a legal person which, alone or jointly with others, determines the purposes and means of the processing of Personal Data.</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19.6	“Processor” means a natural or legal person which processes Personal Data on behalf of the Controller.</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9.6.1	The Client acknowledges that without the provision of the requested Personal Data, Deloitte may not be able to provide the Services to the Client or carry out any of 	the other Purposes referenced herein. In providing the Services to the Client or otherwise in connection with the Services, Deloitte may also occasionally contact the 	Client with details of events/seminars Deloitte is holding, Deloitte may send you publications or newsletters which we believe are of interest to the Client, or provide 	the Client with direct marketing or promotional communication for subjects which may be of interest to the Client.</a:t>
            </a:r>
          </a:p>
          <a:p>
            <a:pPr marL="362481" indent="-634342" algn="just" defTabSz="1208241" hangingPunct="1">
              <a:spcBef>
                <a:spcPts val="591"/>
              </a:spcBef>
              <a:defRPr/>
            </a:pPr>
            <a:endParaRPr lang="en-US" sz="1041" kern="1200" dirty="0">
              <a:solidFill>
                <a:srgbClr val="000000"/>
              </a:solidFill>
              <a:latin typeface="Calibri" panose="020F0502020204030204"/>
              <a:ea typeface="+mn-ea"/>
              <a:cs typeface="+mn-cs"/>
            </a:endParaRPr>
          </a:p>
        </p:txBody>
      </p:sp>
    </p:spTree>
    <p:extLst>
      <p:ext uri="{BB962C8B-B14F-4D97-AF65-F5344CB8AC3E}">
        <p14:creationId xmlns:p14="http://schemas.microsoft.com/office/powerpoint/2010/main" val="2333028396"/>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ext Placeholder 20">
            <a:extLst>
              <a:ext uri="{FF2B5EF4-FFF2-40B4-BE49-F238E27FC236}">
                <a16:creationId xmlns:a16="http://schemas.microsoft.com/office/drawing/2014/main" id="{0B00487E-9A8E-46E0-B60F-BB884C23310C}"/>
              </a:ext>
            </a:extLst>
          </p:cNvPr>
          <p:cNvSpPr txBox="1">
            <a:spLocks/>
          </p:cNvSpPr>
          <p:nvPr/>
        </p:nvSpPr>
        <p:spPr>
          <a:xfrm>
            <a:off x="412436"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indent="0" algn="l" rtl="0" eaLnBrk="1" fontAlgn="auto" latinLnBrk="0" hangingPunct="1">
              <a:spcBef>
                <a:spcPts val="0"/>
              </a:spcBef>
              <a:spcAft>
                <a:spcPts val="1333"/>
              </a:spcAft>
            </a:pPr>
            <a:r>
              <a:rPr lang="en-US" sz="1400" b="1" i="0" kern="1200" spc="0" baseline="0" dirty="0">
                <a:ln>
                  <a:noFill/>
                </a:ln>
                <a:solidFill>
                  <a:srgbClr val="575757"/>
                </a:solidFill>
                <a:effectLst/>
                <a:latin typeface="+mn-lt"/>
                <a:ea typeface="+mn-ea"/>
                <a:cs typeface="Calibri" panose="020F0502020204030204" pitchFamily="34" charset="0"/>
              </a:rPr>
              <a:t>Our Experience in KSA Telecom Sector</a:t>
            </a:r>
            <a:endParaRPr lang="en-US" sz="1000" b="1" dirty="0">
              <a:effectLst/>
              <a:latin typeface="+mn-lt"/>
            </a:endParaRPr>
          </a:p>
        </p:txBody>
      </p:sp>
      <p:sp>
        <p:nvSpPr>
          <p:cNvPr id="76" name="Title 1">
            <a:extLst>
              <a:ext uri="{FF2B5EF4-FFF2-40B4-BE49-F238E27FC236}">
                <a16:creationId xmlns:a16="http://schemas.microsoft.com/office/drawing/2014/main" id="{11F95CE4-70DC-4FF6-9740-A5C6EC6923E7}"/>
              </a:ext>
            </a:extLst>
          </p:cNvPr>
          <p:cNvSpPr txBox="1">
            <a:spLocks/>
          </p:cNvSpPr>
          <p:nvPr/>
        </p:nvSpPr>
        <p:spPr bwMode="gray">
          <a:xfrm>
            <a:off x="412436"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400" kern="1200">
                <a:solidFill>
                  <a:srgbClr val="86BC25"/>
                </a:solidFill>
                <a:latin typeface="+mj-lt"/>
                <a:ea typeface="Verdana" panose="020B0604030504040204" pitchFamily="34" charset="0"/>
                <a:cs typeface="Calibri" panose="020F0502020204030204" pitchFamily="34" charset="0"/>
              </a:defRPr>
            </a:lvl1pPr>
          </a:lstStyle>
          <a:p>
            <a:pPr defTabSz="914400"/>
            <a:r>
              <a:rPr lang="en-US" sz="2000" kern="0" dirty="0">
                <a:solidFill>
                  <a:schemeClr val="tx2">
                    <a:lumMod val="50000"/>
                  </a:schemeClr>
                </a:solidFill>
                <a:latin typeface="+mn-lt"/>
                <a:ea typeface="Open Sans Semibold" panose="020B0706030804020204" pitchFamily="34" charset="0"/>
                <a:cs typeface="Open Sans Semibold" panose="020B0706030804020204" pitchFamily="34" charset="0"/>
              </a:rPr>
              <a:t>Executive Summary</a:t>
            </a:r>
          </a:p>
        </p:txBody>
      </p:sp>
      <p:grpSp>
        <p:nvGrpSpPr>
          <p:cNvPr id="70" name="Group 69">
            <a:extLst>
              <a:ext uri="{FF2B5EF4-FFF2-40B4-BE49-F238E27FC236}">
                <a16:creationId xmlns:a16="http://schemas.microsoft.com/office/drawing/2014/main" id="{DF4F13B0-33F8-EDD4-21D1-2C3C822F17F7}"/>
              </a:ext>
            </a:extLst>
          </p:cNvPr>
          <p:cNvGrpSpPr/>
          <p:nvPr/>
        </p:nvGrpSpPr>
        <p:grpSpPr>
          <a:xfrm>
            <a:off x="283119" y="1462687"/>
            <a:ext cx="11515532" cy="4436624"/>
            <a:chOff x="193668" y="1462687"/>
            <a:chExt cx="11515532" cy="4436624"/>
          </a:xfrm>
        </p:grpSpPr>
        <p:pic>
          <p:nvPicPr>
            <p:cNvPr id="139" name="Picture 138">
              <a:extLst>
                <a:ext uri="{FF2B5EF4-FFF2-40B4-BE49-F238E27FC236}">
                  <a16:creationId xmlns:a16="http://schemas.microsoft.com/office/drawing/2014/main" id="{26881ABE-AF17-706D-A42A-6E573D0E6555}"/>
                </a:ext>
              </a:extLst>
            </p:cNvPr>
            <p:cNvPicPr>
              <a:picLocks noChangeAspect="1"/>
            </p:cNvPicPr>
            <p:nvPr/>
          </p:nvPicPr>
          <p:blipFill>
            <a:blip r:embed="rId2"/>
            <a:stretch>
              <a:fillRect/>
            </a:stretch>
          </p:blipFill>
          <p:spPr>
            <a:xfrm>
              <a:off x="10751778" y="3744974"/>
              <a:ext cx="390342" cy="370825"/>
            </a:xfrm>
            <a:prstGeom prst="rect">
              <a:avLst/>
            </a:prstGeom>
          </p:spPr>
        </p:pic>
        <p:sp>
          <p:nvSpPr>
            <p:cNvPr id="124" name="TextBox 123">
              <a:extLst>
                <a:ext uri="{FF2B5EF4-FFF2-40B4-BE49-F238E27FC236}">
                  <a16:creationId xmlns:a16="http://schemas.microsoft.com/office/drawing/2014/main" id="{B9EC104E-5589-3E1B-0AD1-FD85179E4307}"/>
                </a:ext>
              </a:extLst>
            </p:cNvPr>
            <p:cNvSpPr txBox="1"/>
            <p:nvPr/>
          </p:nvSpPr>
          <p:spPr>
            <a:xfrm flipH="1">
              <a:off x="10211149" y="2872578"/>
              <a:ext cx="1453487" cy="261610"/>
            </a:xfrm>
            <a:prstGeom prst="rect">
              <a:avLst/>
            </a:prstGeom>
            <a:noFill/>
          </p:spPr>
          <p:txBody>
            <a:bodyPr wrap="square" rtlCol="0">
              <a:spAutoFit/>
            </a:bodyPr>
            <a:lstStyle/>
            <a:p>
              <a:pPr algn="ctr">
                <a:defRPr/>
              </a:pPr>
              <a:r>
                <a:rPr lang="en-GB" sz="1100" b="1" dirty="0">
                  <a:solidFill>
                    <a:srgbClr val="9D9D99"/>
                  </a:solidFill>
                  <a:latin typeface="Calibri" panose="020F0502020204030204" pitchFamily="34" charset="0"/>
                  <a:ea typeface="Verdana" panose="020B0604030504040204" pitchFamily="34" charset="0"/>
                  <a:cs typeface="Calibri" panose="020F0502020204030204" pitchFamily="34" charset="0"/>
                </a:rPr>
                <a:t>Center3</a:t>
              </a:r>
            </a:p>
          </p:txBody>
        </p:sp>
        <p:sp>
          <p:nvSpPr>
            <p:cNvPr id="131" name="TextBox 130">
              <a:extLst>
                <a:ext uri="{FF2B5EF4-FFF2-40B4-BE49-F238E27FC236}">
                  <a16:creationId xmlns:a16="http://schemas.microsoft.com/office/drawing/2014/main" id="{32198286-D35D-84EE-B9EE-F81008A655B9}"/>
                </a:ext>
              </a:extLst>
            </p:cNvPr>
            <p:cNvSpPr txBox="1"/>
            <p:nvPr/>
          </p:nvSpPr>
          <p:spPr>
            <a:xfrm>
              <a:off x="10335121" y="4068681"/>
              <a:ext cx="1374079" cy="307777"/>
            </a:xfrm>
            <a:prstGeom prst="rect">
              <a:avLst/>
            </a:prstGeom>
            <a:noFill/>
          </p:spPr>
          <p:txBody>
            <a:bodyPr wrap="square" lIns="0" tIns="0" rIns="0" bIns="0" rtlCol="0">
              <a:spAutoFit/>
            </a:bodyPr>
            <a:lstStyle/>
            <a:p>
              <a:pPr marL="118872" indent="-118872" defTabSz="801929" hangingPunct="1">
                <a:buClr>
                  <a:srgbClr val="002060"/>
                </a:buClr>
                <a:buFont typeface="Arial" panose="020B0604020202020204" pitchFamily="34" charset="0"/>
                <a:buChar char="•"/>
                <a:defRPr/>
              </a:pPr>
              <a:r>
                <a:rPr lang="en-GB" sz="1000" kern="1200" dirty="0">
                  <a:solidFill>
                    <a:prstClr val="black"/>
                  </a:solidFill>
                  <a:latin typeface="Calibri"/>
                  <a:ea typeface="Verdana" panose="020B0604030504040204" pitchFamily="34" charset="0"/>
                  <a:cs typeface="Calibri" panose="020F0502020204030204" pitchFamily="34" charset="0"/>
                </a:rPr>
                <a:t>Business Continuity Management Program</a:t>
              </a:r>
            </a:p>
          </p:txBody>
        </p:sp>
        <p:pic>
          <p:nvPicPr>
            <p:cNvPr id="3" name="Picture 2">
              <a:extLst>
                <a:ext uri="{FF2B5EF4-FFF2-40B4-BE49-F238E27FC236}">
                  <a16:creationId xmlns:a16="http://schemas.microsoft.com/office/drawing/2014/main" id="{B960C389-C844-6B55-FFA8-2E2A8EEBFA40}"/>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a:off x="7821013" y="2599055"/>
              <a:ext cx="534516" cy="206109"/>
            </a:xfrm>
            <a:prstGeom prst="rect">
              <a:avLst/>
            </a:prstGeom>
            <a:ln w="25400">
              <a:solidFill>
                <a:sysClr val="window" lastClr="FFFFFF"/>
              </a:solidFill>
            </a:ln>
            <a:effectLst/>
          </p:spPr>
        </p:pic>
        <p:pic>
          <p:nvPicPr>
            <p:cNvPr id="4" name="Picture 3">
              <a:extLst>
                <a:ext uri="{FF2B5EF4-FFF2-40B4-BE49-F238E27FC236}">
                  <a16:creationId xmlns:a16="http://schemas.microsoft.com/office/drawing/2014/main" id="{09A54084-85DB-F6F1-DC09-E4BE185ECA43}"/>
                </a:ext>
              </a:extLst>
            </p:cNvPr>
            <p:cNvPicPr>
              <a:picLocks noChangeAspect="1"/>
            </p:cNvPicPr>
            <p:nvPr/>
          </p:nvPicPr>
          <p:blipFill>
            <a:blip r:embed="rId4"/>
            <a:stretch>
              <a:fillRect/>
            </a:stretch>
          </p:blipFill>
          <p:spPr>
            <a:xfrm>
              <a:off x="501600" y="3790324"/>
              <a:ext cx="534516" cy="206605"/>
            </a:xfrm>
            <a:prstGeom prst="rect">
              <a:avLst/>
            </a:prstGeom>
          </p:spPr>
        </p:pic>
        <p:pic>
          <p:nvPicPr>
            <p:cNvPr id="5" name="Picture 4">
              <a:extLst>
                <a:ext uri="{FF2B5EF4-FFF2-40B4-BE49-F238E27FC236}">
                  <a16:creationId xmlns:a16="http://schemas.microsoft.com/office/drawing/2014/main" id="{D5844EC9-30E9-1ABC-14FB-DB819FE76162}"/>
                </a:ext>
              </a:extLst>
            </p:cNvPr>
            <p:cNvPicPr>
              <a:picLocks/>
            </p:cNvPicPr>
            <p:nvPr/>
          </p:nvPicPr>
          <p:blipFill>
            <a:blip r:embed="rId5" cstate="print">
              <a:extLst>
                <a:ext uri="{28A0092B-C50C-407E-A947-70E740481C1C}">
                  <a14:useLocalDpi xmlns:a14="http://schemas.microsoft.com/office/drawing/2010/main" val="0"/>
                </a:ext>
              </a:extLst>
            </a:blip>
            <a:stretch>
              <a:fillRect/>
            </a:stretch>
          </p:blipFill>
          <p:spPr>
            <a:xfrm>
              <a:off x="9653007" y="2487181"/>
              <a:ext cx="1036456" cy="345856"/>
            </a:xfrm>
            <a:prstGeom prst="rect">
              <a:avLst/>
            </a:prstGeom>
          </p:spPr>
        </p:pic>
        <p:cxnSp>
          <p:nvCxnSpPr>
            <p:cNvPr id="6" name="Straight Connector 5">
              <a:extLst>
                <a:ext uri="{FF2B5EF4-FFF2-40B4-BE49-F238E27FC236}">
                  <a16:creationId xmlns:a16="http://schemas.microsoft.com/office/drawing/2014/main" id="{550D6895-F46D-94FB-C96A-3E8A6A27A364}"/>
                </a:ext>
              </a:extLst>
            </p:cNvPr>
            <p:cNvCxnSpPr/>
            <p:nvPr/>
          </p:nvCxnSpPr>
          <p:spPr>
            <a:xfrm>
              <a:off x="212089" y="3298167"/>
              <a:ext cx="11216555" cy="0"/>
            </a:xfrm>
            <a:prstGeom prst="line">
              <a:avLst/>
            </a:prstGeom>
            <a:noFill/>
            <a:ln w="25400" cap="flat" cmpd="sng" algn="ctr">
              <a:solidFill>
                <a:srgbClr val="B0B0B0"/>
              </a:solidFill>
              <a:prstDash val="solid"/>
            </a:ln>
            <a:effectLst/>
          </p:spPr>
        </p:cxnSp>
        <p:sp>
          <p:nvSpPr>
            <p:cNvPr id="7" name="TextBox 6">
              <a:extLst>
                <a:ext uri="{FF2B5EF4-FFF2-40B4-BE49-F238E27FC236}">
                  <a16:creationId xmlns:a16="http://schemas.microsoft.com/office/drawing/2014/main" id="{76F920E3-61CA-F80A-07C4-2E08BB021161}"/>
                </a:ext>
              </a:extLst>
            </p:cNvPr>
            <p:cNvSpPr txBox="1"/>
            <p:nvPr/>
          </p:nvSpPr>
          <p:spPr>
            <a:xfrm>
              <a:off x="306594" y="4088689"/>
              <a:ext cx="1477348" cy="1661994"/>
            </a:xfrm>
            <a:prstGeom prst="rect">
              <a:avLst/>
            </a:prstGeom>
            <a:noFill/>
          </p:spPr>
          <p:txBody>
            <a:bodyPr wrap="square" lIns="0" tIns="0" rIns="0" bIns="0" rtlCol="0">
              <a:spAutoFit/>
            </a:bodyPr>
            <a:lstStyle/>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Site Lease &amp; Acquisition IA Review</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Operations IA Review</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IA Secondments 2022 (Ongoing)</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Risk Assessment &amp; IA Plan Development</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Internal Controls Review 2021 (Ongoing)</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Internal Controls Review 2020</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Internal Audit Services 2022</a:t>
              </a:r>
            </a:p>
          </p:txBody>
        </p:sp>
        <p:sp>
          <p:nvSpPr>
            <p:cNvPr id="8" name="Oval 7">
              <a:extLst>
                <a:ext uri="{FF2B5EF4-FFF2-40B4-BE49-F238E27FC236}">
                  <a16:creationId xmlns:a16="http://schemas.microsoft.com/office/drawing/2014/main" id="{496A53AC-4D74-3A3C-6A5E-983837F73265}"/>
                </a:ext>
              </a:extLst>
            </p:cNvPr>
            <p:cNvSpPr/>
            <p:nvPr/>
          </p:nvSpPr>
          <p:spPr>
            <a:xfrm flipH="1">
              <a:off x="1573902" y="3216468"/>
              <a:ext cx="188332" cy="163397"/>
            </a:xfrm>
            <a:prstGeom prst="ellipse">
              <a:avLst/>
            </a:prstGeom>
            <a:solidFill>
              <a:srgbClr val="C4D600"/>
            </a:solidFill>
            <a:ln w="25400" cap="flat" cmpd="sng" algn="ctr">
              <a:no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sp>
          <p:nvSpPr>
            <p:cNvPr id="9" name="Oval 8">
              <a:extLst>
                <a:ext uri="{FF2B5EF4-FFF2-40B4-BE49-F238E27FC236}">
                  <a16:creationId xmlns:a16="http://schemas.microsoft.com/office/drawing/2014/main" id="{94084F0E-46E4-0517-8410-F7219DDDE1E1}"/>
                </a:ext>
              </a:extLst>
            </p:cNvPr>
            <p:cNvSpPr/>
            <p:nvPr/>
          </p:nvSpPr>
          <p:spPr>
            <a:xfrm flipH="1">
              <a:off x="1495430" y="3148386"/>
              <a:ext cx="345276" cy="299561"/>
            </a:xfrm>
            <a:prstGeom prst="ellipse">
              <a:avLst/>
            </a:prstGeom>
            <a:noFill/>
            <a:ln w="25400" cap="flat" cmpd="sng" algn="ctr">
              <a:solidFill>
                <a:srgbClr val="C4D600"/>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cxnSp>
          <p:nvCxnSpPr>
            <p:cNvPr id="10" name="Straight Connector 9">
              <a:extLst>
                <a:ext uri="{FF2B5EF4-FFF2-40B4-BE49-F238E27FC236}">
                  <a16:creationId xmlns:a16="http://schemas.microsoft.com/office/drawing/2014/main" id="{2E7BF634-94FC-4BF0-9BFE-189F27198DCF}"/>
                </a:ext>
              </a:extLst>
            </p:cNvPr>
            <p:cNvCxnSpPr/>
            <p:nvPr/>
          </p:nvCxnSpPr>
          <p:spPr>
            <a:xfrm flipH="1" flipV="1">
              <a:off x="1668068" y="2888612"/>
              <a:ext cx="0" cy="249603"/>
            </a:xfrm>
            <a:prstGeom prst="line">
              <a:avLst/>
            </a:prstGeom>
            <a:noFill/>
            <a:ln w="25400" cap="flat" cmpd="sng" algn="ctr">
              <a:solidFill>
                <a:srgbClr val="C4D600"/>
              </a:solidFill>
              <a:prstDash val="solid"/>
              <a:tailEnd type="oval"/>
            </a:ln>
            <a:effectLst/>
          </p:spPr>
        </p:cxnSp>
        <p:sp>
          <p:nvSpPr>
            <p:cNvPr id="11" name="TextBox 10">
              <a:extLst>
                <a:ext uri="{FF2B5EF4-FFF2-40B4-BE49-F238E27FC236}">
                  <a16:creationId xmlns:a16="http://schemas.microsoft.com/office/drawing/2014/main" id="{C7463FD6-3AD8-0A83-88B6-DA9388DBF232}"/>
                </a:ext>
              </a:extLst>
            </p:cNvPr>
            <p:cNvSpPr txBox="1"/>
            <p:nvPr/>
          </p:nvSpPr>
          <p:spPr>
            <a:xfrm flipH="1">
              <a:off x="1013398" y="3475302"/>
              <a:ext cx="1267307" cy="261610"/>
            </a:xfrm>
            <a:prstGeom prst="rect">
              <a:avLst/>
            </a:prstGeom>
            <a:noFill/>
          </p:spPr>
          <p:txBody>
            <a:bodyPr wrap="square" rtlCol="0">
              <a:spAutoFit/>
            </a:bodyPr>
            <a:lstStyle/>
            <a:p>
              <a:pPr algn="ctr">
                <a:defRPr/>
              </a:pPr>
              <a:r>
                <a:rPr lang="en-GB" sz="1100" b="1" kern="0" dirty="0">
                  <a:solidFill>
                    <a:srgbClr val="C4D600"/>
                  </a:solidFill>
                  <a:latin typeface="Calibri" panose="020F0502020204030204" pitchFamily="34" charset="0"/>
                  <a:ea typeface="Verdana" panose="020B0604030504040204" pitchFamily="34" charset="0"/>
                  <a:cs typeface="Calibri" panose="020F0502020204030204" pitchFamily="34" charset="0"/>
                </a:rPr>
                <a:t>CCC</a:t>
              </a:r>
            </a:p>
          </p:txBody>
        </p:sp>
        <p:sp>
          <p:nvSpPr>
            <p:cNvPr id="12" name="Oval 11">
              <a:extLst>
                <a:ext uri="{FF2B5EF4-FFF2-40B4-BE49-F238E27FC236}">
                  <a16:creationId xmlns:a16="http://schemas.microsoft.com/office/drawing/2014/main" id="{0BF11788-36C6-A404-40C5-C091F638BAEF}"/>
                </a:ext>
              </a:extLst>
            </p:cNvPr>
            <p:cNvSpPr/>
            <p:nvPr/>
          </p:nvSpPr>
          <p:spPr>
            <a:xfrm flipH="1" flipV="1">
              <a:off x="2499023" y="3216468"/>
              <a:ext cx="188332" cy="163397"/>
            </a:xfrm>
            <a:prstGeom prst="ellipse">
              <a:avLst/>
            </a:prstGeom>
            <a:solidFill>
              <a:srgbClr val="00A3E0"/>
            </a:solidFill>
            <a:ln w="25400" cap="flat" cmpd="sng" algn="ctr">
              <a:no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sp>
          <p:nvSpPr>
            <p:cNvPr id="13" name="Oval 12">
              <a:extLst>
                <a:ext uri="{FF2B5EF4-FFF2-40B4-BE49-F238E27FC236}">
                  <a16:creationId xmlns:a16="http://schemas.microsoft.com/office/drawing/2014/main" id="{25FC8395-4FE2-0705-7D89-439EEF01B713}"/>
                </a:ext>
              </a:extLst>
            </p:cNvPr>
            <p:cNvSpPr/>
            <p:nvPr/>
          </p:nvSpPr>
          <p:spPr>
            <a:xfrm flipH="1" flipV="1">
              <a:off x="2420552" y="3148386"/>
              <a:ext cx="345276" cy="299561"/>
            </a:xfrm>
            <a:prstGeom prst="ellipse">
              <a:avLst/>
            </a:prstGeom>
            <a:noFill/>
            <a:ln w="25400" cap="flat" cmpd="sng" algn="ctr">
              <a:solidFill>
                <a:srgbClr val="00A3E0"/>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cxnSp>
          <p:nvCxnSpPr>
            <p:cNvPr id="14" name="Straight Connector 13">
              <a:extLst>
                <a:ext uri="{FF2B5EF4-FFF2-40B4-BE49-F238E27FC236}">
                  <a16:creationId xmlns:a16="http://schemas.microsoft.com/office/drawing/2014/main" id="{226CAB59-5C8D-A2F9-F486-FCC962F50BF2}"/>
                </a:ext>
              </a:extLst>
            </p:cNvPr>
            <p:cNvCxnSpPr>
              <a:cxnSpLocks/>
            </p:cNvCxnSpPr>
            <p:nvPr/>
          </p:nvCxnSpPr>
          <p:spPr>
            <a:xfrm flipH="1">
              <a:off x="2593189" y="3484155"/>
              <a:ext cx="0" cy="249604"/>
            </a:xfrm>
            <a:prstGeom prst="line">
              <a:avLst/>
            </a:prstGeom>
            <a:noFill/>
            <a:ln w="25400" cap="flat" cmpd="sng" algn="ctr">
              <a:solidFill>
                <a:srgbClr val="00A3E0"/>
              </a:solidFill>
              <a:prstDash val="solid"/>
              <a:tailEnd type="oval"/>
            </a:ln>
            <a:effectLst/>
          </p:spPr>
        </p:cxnSp>
        <p:sp>
          <p:nvSpPr>
            <p:cNvPr id="15" name="TextBox 14">
              <a:extLst>
                <a:ext uri="{FF2B5EF4-FFF2-40B4-BE49-F238E27FC236}">
                  <a16:creationId xmlns:a16="http://schemas.microsoft.com/office/drawing/2014/main" id="{5532C967-3722-2840-A4D3-EC0F017C1FE4}"/>
                </a:ext>
              </a:extLst>
            </p:cNvPr>
            <p:cNvSpPr txBox="1"/>
            <p:nvPr/>
          </p:nvSpPr>
          <p:spPr>
            <a:xfrm flipH="1">
              <a:off x="1959536" y="2880951"/>
              <a:ext cx="1267307" cy="261610"/>
            </a:xfrm>
            <a:prstGeom prst="rect">
              <a:avLst/>
            </a:prstGeom>
            <a:noFill/>
          </p:spPr>
          <p:txBody>
            <a:bodyPr wrap="square" rtlCol="0">
              <a:spAutoFit/>
            </a:bodyPr>
            <a:lstStyle/>
            <a:p>
              <a:pPr algn="ctr">
                <a:defRPr/>
              </a:pPr>
              <a:r>
                <a:rPr lang="en-GB" sz="1100" b="1" kern="0" dirty="0">
                  <a:solidFill>
                    <a:srgbClr val="00A3E0"/>
                  </a:solidFill>
                  <a:latin typeface="Calibri" panose="020F0502020204030204" pitchFamily="34" charset="0"/>
                  <a:ea typeface="Verdana" panose="020B0604030504040204" pitchFamily="34" charset="0"/>
                  <a:cs typeface="Calibri" panose="020F0502020204030204" pitchFamily="34" charset="0"/>
                </a:rPr>
                <a:t>stc Parent</a:t>
              </a:r>
            </a:p>
          </p:txBody>
        </p:sp>
        <p:sp>
          <p:nvSpPr>
            <p:cNvPr id="16" name="Oval 15">
              <a:extLst>
                <a:ext uri="{FF2B5EF4-FFF2-40B4-BE49-F238E27FC236}">
                  <a16:creationId xmlns:a16="http://schemas.microsoft.com/office/drawing/2014/main" id="{A5E3C95A-2744-40BF-DD34-DB42AC37E993}"/>
                </a:ext>
              </a:extLst>
            </p:cNvPr>
            <p:cNvSpPr/>
            <p:nvPr/>
          </p:nvSpPr>
          <p:spPr>
            <a:xfrm flipH="1">
              <a:off x="3505500" y="3216468"/>
              <a:ext cx="188332" cy="163397"/>
            </a:xfrm>
            <a:prstGeom prst="ellipse">
              <a:avLst/>
            </a:prstGeom>
            <a:solidFill>
              <a:srgbClr val="012169"/>
            </a:solidFill>
            <a:ln w="25400" cap="flat" cmpd="sng" algn="ctr">
              <a:no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sp>
          <p:nvSpPr>
            <p:cNvPr id="17" name="Oval 16">
              <a:extLst>
                <a:ext uri="{FF2B5EF4-FFF2-40B4-BE49-F238E27FC236}">
                  <a16:creationId xmlns:a16="http://schemas.microsoft.com/office/drawing/2014/main" id="{F94E2B68-A894-07AD-F2A0-58C4A003F189}"/>
                </a:ext>
              </a:extLst>
            </p:cNvPr>
            <p:cNvSpPr/>
            <p:nvPr/>
          </p:nvSpPr>
          <p:spPr>
            <a:xfrm flipH="1">
              <a:off x="3427029" y="3148386"/>
              <a:ext cx="345276" cy="299561"/>
            </a:xfrm>
            <a:prstGeom prst="ellipse">
              <a:avLst/>
            </a:prstGeom>
            <a:noFill/>
            <a:ln w="25400" cap="flat" cmpd="sng" algn="ctr">
              <a:solidFill>
                <a:srgbClr val="012169"/>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cxnSp>
          <p:nvCxnSpPr>
            <p:cNvPr id="18" name="Straight Connector 17">
              <a:extLst>
                <a:ext uri="{FF2B5EF4-FFF2-40B4-BE49-F238E27FC236}">
                  <a16:creationId xmlns:a16="http://schemas.microsoft.com/office/drawing/2014/main" id="{AF09D315-F71A-4E8F-C442-00BA13D9B3DC}"/>
                </a:ext>
              </a:extLst>
            </p:cNvPr>
            <p:cNvCxnSpPr/>
            <p:nvPr/>
          </p:nvCxnSpPr>
          <p:spPr>
            <a:xfrm flipH="1" flipV="1">
              <a:off x="3599666" y="2888612"/>
              <a:ext cx="0" cy="249603"/>
            </a:xfrm>
            <a:prstGeom prst="line">
              <a:avLst/>
            </a:prstGeom>
            <a:noFill/>
            <a:ln w="25400" cap="flat" cmpd="sng" algn="ctr">
              <a:solidFill>
                <a:srgbClr val="012169"/>
              </a:solidFill>
              <a:prstDash val="solid"/>
              <a:tailEnd type="oval"/>
            </a:ln>
            <a:effectLst/>
          </p:spPr>
        </p:cxnSp>
        <p:sp>
          <p:nvSpPr>
            <p:cNvPr id="19" name="TextBox 18">
              <a:extLst>
                <a:ext uri="{FF2B5EF4-FFF2-40B4-BE49-F238E27FC236}">
                  <a16:creationId xmlns:a16="http://schemas.microsoft.com/office/drawing/2014/main" id="{89426A46-FB9D-58F7-9383-8A6E62750AA5}"/>
                </a:ext>
              </a:extLst>
            </p:cNvPr>
            <p:cNvSpPr txBox="1"/>
            <p:nvPr/>
          </p:nvSpPr>
          <p:spPr>
            <a:xfrm flipH="1">
              <a:off x="2966011" y="3513548"/>
              <a:ext cx="1267307" cy="261610"/>
            </a:xfrm>
            <a:prstGeom prst="rect">
              <a:avLst/>
            </a:prstGeom>
            <a:noFill/>
          </p:spPr>
          <p:txBody>
            <a:bodyPr wrap="square" rtlCol="0">
              <a:spAutoFit/>
            </a:bodyPr>
            <a:lstStyle/>
            <a:p>
              <a:pPr algn="ctr">
                <a:defRPr/>
              </a:pPr>
              <a:r>
                <a:rPr lang="en-GB" sz="1100" b="1" kern="0" dirty="0">
                  <a:solidFill>
                    <a:srgbClr val="012169"/>
                  </a:solidFill>
                  <a:latin typeface="Calibri" panose="020F0502020204030204" pitchFamily="34" charset="0"/>
                  <a:ea typeface="Verdana" panose="020B0604030504040204" pitchFamily="34" charset="0"/>
                  <a:cs typeface="Calibri" panose="020F0502020204030204" pitchFamily="34" charset="0"/>
                </a:rPr>
                <a:t>AQALAT</a:t>
              </a:r>
            </a:p>
          </p:txBody>
        </p:sp>
        <p:sp>
          <p:nvSpPr>
            <p:cNvPr id="20" name="Oval 19">
              <a:extLst>
                <a:ext uri="{FF2B5EF4-FFF2-40B4-BE49-F238E27FC236}">
                  <a16:creationId xmlns:a16="http://schemas.microsoft.com/office/drawing/2014/main" id="{EE755FDC-B06C-3159-E44B-49C7C7A146AB}"/>
                </a:ext>
              </a:extLst>
            </p:cNvPr>
            <p:cNvSpPr/>
            <p:nvPr/>
          </p:nvSpPr>
          <p:spPr>
            <a:xfrm flipH="1">
              <a:off x="5799876" y="3221910"/>
              <a:ext cx="188332" cy="163397"/>
            </a:xfrm>
            <a:prstGeom prst="ellipse">
              <a:avLst/>
            </a:prstGeom>
            <a:solidFill>
              <a:srgbClr val="26890D"/>
            </a:solidFill>
            <a:ln w="25400" cap="flat" cmpd="sng" algn="ctr">
              <a:solidFill>
                <a:srgbClr val="26890D"/>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sp>
          <p:nvSpPr>
            <p:cNvPr id="21" name="Oval 20">
              <a:extLst>
                <a:ext uri="{FF2B5EF4-FFF2-40B4-BE49-F238E27FC236}">
                  <a16:creationId xmlns:a16="http://schemas.microsoft.com/office/drawing/2014/main" id="{9D628B71-2168-5832-7D13-C3D4E3C4B39B}"/>
                </a:ext>
              </a:extLst>
            </p:cNvPr>
            <p:cNvSpPr/>
            <p:nvPr/>
          </p:nvSpPr>
          <p:spPr>
            <a:xfrm flipH="1">
              <a:off x="5721404" y="3153828"/>
              <a:ext cx="345276" cy="299561"/>
            </a:xfrm>
            <a:prstGeom prst="ellipse">
              <a:avLst/>
            </a:prstGeom>
            <a:noFill/>
            <a:ln w="25400" cap="flat" cmpd="sng" algn="ctr">
              <a:solidFill>
                <a:srgbClr val="26890D"/>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cxnSp>
          <p:nvCxnSpPr>
            <p:cNvPr id="22" name="Straight Connector 21">
              <a:extLst>
                <a:ext uri="{FF2B5EF4-FFF2-40B4-BE49-F238E27FC236}">
                  <a16:creationId xmlns:a16="http://schemas.microsoft.com/office/drawing/2014/main" id="{D71217B3-936D-DBBD-6AAC-054994F6EB54}"/>
                </a:ext>
              </a:extLst>
            </p:cNvPr>
            <p:cNvCxnSpPr/>
            <p:nvPr/>
          </p:nvCxnSpPr>
          <p:spPr>
            <a:xfrm flipH="1" flipV="1">
              <a:off x="5894041" y="2894550"/>
              <a:ext cx="0" cy="249603"/>
            </a:xfrm>
            <a:prstGeom prst="line">
              <a:avLst/>
            </a:prstGeom>
            <a:noFill/>
            <a:ln w="25400" cap="flat" cmpd="sng" algn="ctr">
              <a:solidFill>
                <a:srgbClr val="26890D"/>
              </a:solidFill>
              <a:prstDash val="solid"/>
              <a:tailEnd type="oval"/>
            </a:ln>
            <a:effectLst/>
          </p:spPr>
        </p:cxnSp>
        <p:sp>
          <p:nvSpPr>
            <p:cNvPr id="23" name="TextBox 22">
              <a:extLst>
                <a:ext uri="{FF2B5EF4-FFF2-40B4-BE49-F238E27FC236}">
                  <a16:creationId xmlns:a16="http://schemas.microsoft.com/office/drawing/2014/main" id="{681E6191-2D21-56A3-D0AB-86B94575742D}"/>
                </a:ext>
              </a:extLst>
            </p:cNvPr>
            <p:cNvSpPr txBox="1"/>
            <p:nvPr/>
          </p:nvSpPr>
          <p:spPr>
            <a:xfrm flipH="1">
              <a:off x="5273238" y="3518991"/>
              <a:ext cx="1267307" cy="261610"/>
            </a:xfrm>
            <a:prstGeom prst="rect">
              <a:avLst/>
            </a:prstGeom>
            <a:noFill/>
          </p:spPr>
          <p:txBody>
            <a:bodyPr wrap="square" rtlCol="0">
              <a:spAutoFit/>
            </a:bodyPr>
            <a:lstStyle/>
            <a:p>
              <a:pPr algn="ctr">
                <a:defRPr/>
              </a:pPr>
              <a:r>
                <a:rPr lang="en-GB" sz="1100" b="1" kern="0" dirty="0">
                  <a:solidFill>
                    <a:srgbClr val="26890D"/>
                  </a:solidFill>
                  <a:latin typeface="Calibri" panose="020F0502020204030204" pitchFamily="34" charset="0"/>
                  <a:ea typeface="Verdana" panose="020B0604030504040204" pitchFamily="34" charset="0"/>
                  <a:cs typeface="Calibri" panose="020F0502020204030204" pitchFamily="34" charset="0"/>
                </a:rPr>
                <a:t>Specialized by stc</a:t>
              </a:r>
            </a:p>
          </p:txBody>
        </p:sp>
        <p:sp>
          <p:nvSpPr>
            <p:cNvPr id="24" name="Oval 23">
              <a:extLst>
                <a:ext uri="{FF2B5EF4-FFF2-40B4-BE49-F238E27FC236}">
                  <a16:creationId xmlns:a16="http://schemas.microsoft.com/office/drawing/2014/main" id="{640F9DC1-A0A6-FFD7-482A-BC6E93F8B8A8}"/>
                </a:ext>
              </a:extLst>
            </p:cNvPr>
            <p:cNvSpPr/>
            <p:nvPr/>
          </p:nvSpPr>
          <p:spPr>
            <a:xfrm flipH="1" flipV="1">
              <a:off x="4554105" y="3216468"/>
              <a:ext cx="188332" cy="163397"/>
            </a:xfrm>
            <a:prstGeom prst="ellipse">
              <a:avLst/>
            </a:prstGeom>
            <a:solidFill>
              <a:srgbClr val="6FC2B4"/>
            </a:solidFill>
            <a:ln w="25400" cap="flat" cmpd="sng" algn="ctr">
              <a:no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sp>
          <p:nvSpPr>
            <p:cNvPr id="25" name="Oval 24">
              <a:extLst>
                <a:ext uri="{FF2B5EF4-FFF2-40B4-BE49-F238E27FC236}">
                  <a16:creationId xmlns:a16="http://schemas.microsoft.com/office/drawing/2014/main" id="{7B878477-2C29-AB70-27EE-1A39413546FB}"/>
                </a:ext>
              </a:extLst>
            </p:cNvPr>
            <p:cNvSpPr/>
            <p:nvPr/>
          </p:nvSpPr>
          <p:spPr>
            <a:xfrm flipH="1" flipV="1">
              <a:off x="4475634" y="3148386"/>
              <a:ext cx="345276" cy="299561"/>
            </a:xfrm>
            <a:prstGeom prst="ellipse">
              <a:avLst/>
            </a:prstGeom>
            <a:noFill/>
            <a:ln w="25400" cap="flat" cmpd="sng" algn="ctr">
              <a:solidFill>
                <a:srgbClr val="6FC2B4"/>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cxnSp>
          <p:nvCxnSpPr>
            <p:cNvPr id="26" name="Straight Connector 25">
              <a:extLst>
                <a:ext uri="{FF2B5EF4-FFF2-40B4-BE49-F238E27FC236}">
                  <a16:creationId xmlns:a16="http://schemas.microsoft.com/office/drawing/2014/main" id="{FBA4B92B-65B2-773D-929D-DEE324330F3A}"/>
                </a:ext>
              </a:extLst>
            </p:cNvPr>
            <p:cNvCxnSpPr/>
            <p:nvPr/>
          </p:nvCxnSpPr>
          <p:spPr>
            <a:xfrm flipH="1">
              <a:off x="4648271" y="3484155"/>
              <a:ext cx="0" cy="249604"/>
            </a:xfrm>
            <a:prstGeom prst="line">
              <a:avLst/>
            </a:prstGeom>
            <a:noFill/>
            <a:ln w="25400" cap="flat" cmpd="sng" algn="ctr">
              <a:solidFill>
                <a:srgbClr val="6FC2B4"/>
              </a:solidFill>
              <a:prstDash val="solid"/>
              <a:tailEnd type="oval"/>
            </a:ln>
            <a:effectLst/>
          </p:spPr>
        </p:cxnSp>
        <p:sp>
          <p:nvSpPr>
            <p:cNvPr id="27" name="TextBox 26">
              <a:extLst>
                <a:ext uri="{FF2B5EF4-FFF2-40B4-BE49-F238E27FC236}">
                  <a16:creationId xmlns:a16="http://schemas.microsoft.com/office/drawing/2014/main" id="{81CF0B3C-8B59-24C3-E0A8-78AD2B39504F}"/>
                </a:ext>
              </a:extLst>
            </p:cNvPr>
            <p:cNvSpPr txBox="1"/>
            <p:nvPr/>
          </p:nvSpPr>
          <p:spPr>
            <a:xfrm flipH="1">
              <a:off x="4013171" y="2880951"/>
              <a:ext cx="1267307" cy="261610"/>
            </a:xfrm>
            <a:prstGeom prst="rect">
              <a:avLst/>
            </a:prstGeom>
            <a:noFill/>
          </p:spPr>
          <p:txBody>
            <a:bodyPr wrap="square" rtlCol="0">
              <a:spAutoFit/>
            </a:bodyPr>
            <a:lstStyle/>
            <a:p>
              <a:pPr algn="ctr">
                <a:defRPr/>
              </a:pPr>
              <a:r>
                <a:rPr lang="en-GB" sz="1100" b="1" kern="0" dirty="0">
                  <a:solidFill>
                    <a:srgbClr val="6FC2B4"/>
                  </a:solidFill>
                  <a:latin typeface="Calibri" panose="020F0502020204030204" pitchFamily="34" charset="0"/>
                  <a:ea typeface="Verdana" panose="020B0604030504040204" pitchFamily="34" charset="0"/>
                  <a:cs typeface="Calibri" panose="020F0502020204030204" pitchFamily="34" charset="0"/>
                </a:rPr>
                <a:t>Solutions by stc</a:t>
              </a:r>
            </a:p>
          </p:txBody>
        </p:sp>
        <p:sp>
          <p:nvSpPr>
            <p:cNvPr id="28" name="Oval 27">
              <a:extLst>
                <a:ext uri="{FF2B5EF4-FFF2-40B4-BE49-F238E27FC236}">
                  <a16:creationId xmlns:a16="http://schemas.microsoft.com/office/drawing/2014/main" id="{7061563A-5835-E3E4-301A-0F6D4EC8176A}"/>
                </a:ext>
              </a:extLst>
            </p:cNvPr>
            <p:cNvSpPr/>
            <p:nvPr/>
          </p:nvSpPr>
          <p:spPr>
            <a:xfrm flipH="1" flipV="1">
              <a:off x="6942052" y="3216468"/>
              <a:ext cx="188332" cy="163397"/>
            </a:xfrm>
            <a:prstGeom prst="ellipse">
              <a:avLst/>
            </a:prstGeom>
            <a:solidFill>
              <a:srgbClr val="9D9D99"/>
            </a:solidFill>
            <a:ln w="25400" cap="flat" cmpd="sng" algn="ctr">
              <a:no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sp>
          <p:nvSpPr>
            <p:cNvPr id="29" name="Oval 28">
              <a:extLst>
                <a:ext uri="{FF2B5EF4-FFF2-40B4-BE49-F238E27FC236}">
                  <a16:creationId xmlns:a16="http://schemas.microsoft.com/office/drawing/2014/main" id="{40EDCCF7-9705-6043-4A6E-743208D5DFE4}"/>
                </a:ext>
              </a:extLst>
            </p:cNvPr>
            <p:cNvSpPr/>
            <p:nvPr/>
          </p:nvSpPr>
          <p:spPr>
            <a:xfrm flipH="1" flipV="1">
              <a:off x="6863581" y="3148386"/>
              <a:ext cx="345276" cy="299561"/>
            </a:xfrm>
            <a:prstGeom prst="ellipse">
              <a:avLst/>
            </a:prstGeom>
            <a:noFill/>
            <a:ln w="25400" cap="flat" cmpd="sng" algn="ctr">
              <a:solidFill>
                <a:srgbClr val="9D9D99"/>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5235BC26-01A9-85AD-CBCE-38D3BF3EF245}"/>
                </a:ext>
              </a:extLst>
            </p:cNvPr>
            <p:cNvCxnSpPr/>
            <p:nvPr/>
          </p:nvCxnSpPr>
          <p:spPr>
            <a:xfrm flipH="1">
              <a:off x="7036218" y="3484155"/>
              <a:ext cx="0" cy="249604"/>
            </a:xfrm>
            <a:prstGeom prst="line">
              <a:avLst/>
            </a:prstGeom>
            <a:noFill/>
            <a:ln w="25400" cap="flat" cmpd="sng" algn="ctr">
              <a:solidFill>
                <a:srgbClr val="9D9D99"/>
              </a:solidFill>
              <a:prstDash val="solid"/>
              <a:tailEnd type="oval"/>
            </a:ln>
            <a:effectLst/>
          </p:spPr>
        </p:cxnSp>
        <p:sp>
          <p:nvSpPr>
            <p:cNvPr id="31" name="TextBox 30">
              <a:extLst>
                <a:ext uri="{FF2B5EF4-FFF2-40B4-BE49-F238E27FC236}">
                  <a16:creationId xmlns:a16="http://schemas.microsoft.com/office/drawing/2014/main" id="{F5790D99-66A4-1054-8F3D-FA8B2CC7EF81}"/>
                </a:ext>
              </a:extLst>
            </p:cNvPr>
            <p:cNvSpPr txBox="1"/>
            <p:nvPr/>
          </p:nvSpPr>
          <p:spPr>
            <a:xfrm flipH="1">
              <a:off x="6401657" y="2880951"/>
              <a:ext cx="1267307" cy="261610"/>
            </a:xfrm>
            <a:prstGeom prst="rect">
              <a:avLst/>
            </a:prstGeom>
            <a:noFill/>
          </p:spPr>
          <p:txBody>
            <a:bodyPr wrap="square" rtlCol="0">
              <a:spAutoFit/>
            </a:bodyPr>
            <a:lstStyle/>
            <a:p>
              <a:pPr algn="ctr">
                <a:defRPr/>
              </a:pPr>
              <a:r>
                <a:rPr lang="en-GB" sz="1100" b="1" kern="0" dirty="0">
                  <a:solidFill>
                    <a:srgbClr val="9D9D99"/>
                  </a:solidFill>
                  <a:latin typeface="Calibri" panose="020F0502020204030204" pitchFamily="34" charset="0"/>
                  <a:ea typeface="Verdana" panose="020B0604030504040204" pitchFamily="34" charset="0"/>
                  <a:cs typeface="Calibri" panose="020F0502020204030204" pitchFamily="34" charset="0"/>
                </a:rPr>
                <a:t>Channels by stc</a:t>
              </a:r>
            </a:p>
          </p:txBody>
        </p:sp>
        <p:sp>
          <p:nvSpPr>
            <p:cNvPr id="32" name="TextBox 31">
              <a:extLst>
                <a:ext uri="{FF2B5EF4-FFF2-40B4-BE49-F238E27FC236}">
                  <a16:creationId xmlns:a16="http://schemas.microsoft.com/office/drawing/2014/main" id="{59A0E1FC-8026-37C5-9BB2-7C241DB9609E}"/>
                </a:ext>
              </a:extLst>
            </p:cNvPr>
            <p:cNvSpPr txBox="1"/>
            <p:nvPr/>
          </p:nvSpPr>
          <p:spPr>
            <a:xfrm>
              <a:off x="3060178" y="1700817"/>
              <a:ext cx="1267307" cy="830997"/>
            </a:xfrm>
            <a:prstGeom prst="rect">
              <a:avLst/>
            </a:prstGeom>
            <a:noFill/>
          </p:spPr>
          <p:txBody>
            <a:bodyPr wrap="square" lIns="0" tIns="0" rIns="0" bIns="0" rtlCol="0">
              <a:spAutoFit/>
            </a:bodyPr>
            <a:lstStyle/>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Internal Controls Review 2021 (Ongoing)</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Risk Assessment </a:t>
              </a: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amp; IA Plan Development</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Internal Controls Review 2020</a:t>
              </a:r>
            </a:p>
          </p:txBody>
        </p:sp>
        <p:sp>
          <p:nvSpPr>
            <p:cNvPr id="33" name="TextBox 32">
              <a:extLst>
                <a:ext uri="{FF2B5EF4-FFF2-40B4-BE49-F238E27FC236}">
                  <a16:creationId xmlns:a16="http://schemas.microsoft.com/office/drawing/2014/main" id="{6E977723-7450-371F-1D6C-221013885829}"/>
                </a:ext>
              </a:extLst>
            </p:cNvPr>
            <p:cNvSpPr txBox="1"/>
            <p:nvPr/>
          </p:nvSpPr>
          <p:spPr>
            <a:xfrm>
              <a:off x="1856879" y="4072402"/>
              <a:ext cx="1943901" cy="1800493"/>
            </a:xfrm>
            <a:prstGeom prst="rect">
              <a:avLst/>
            </a:prstGeom>
            <a:noFill/>
          </p:spPr>
          <p:txBody>
            <a:bodyPr wrap="square" lIns="0" tIns="0" rIns="0" bIns="0" rtlCol="0">
              <a:spAutoFit/>
            </a:bodyPr>
            <a:lstStyle/>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RM &amp; BCM Subsidiaries maturity assessment</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Cybersecurity Resilience Program</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Internal Controls Review 2022 (Ongoing)</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Risk Management Program 2021-2022 (Ongoing).</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Internal Controls Review 2021</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Compliance Management Maturity Assessment &amp; IA Review.</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Technology Strategy &amp; Architecture Audit</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5G Readiness Review</a:t>
              </a:r>
            </a:p>
          </p:txBody>
        </p:sp>
        <p:sp>
          <p:nvSpPr>
            <p:cNvPr id="34" name="TextBox 33">
              <a:extLst>
                <a:ext uri="{FF2B5EF4-FFF2-40B4-BE49-F238E27FC236}">
                  <a16:creationId xmlns:a16="http://schemas.microsoft.com/office/drawing/2014/main" id="{AF6ABAB9-9337-CCDD-E352-312A4750009B}"/>
                </a:ext>
              </a:extLst>
            </p:cNvPr>
            <p:cNvSpPr txBox="1"/>
            <p:nvPr/>
          </p:nvSpPr>
          <p:spPr>
            <a:xfrm>
              <a:off x="3886623" y="4098818"/>
              <a:ext cx="2035894" cy="1800493"/>
            </a:xfrm>
            <a:prstGeom prst="rect">
              <a:avLst/>
            </a:prstGeom>
            <a:noFill/>
          </p:spPr>
          <p:txBody>
            <a:bodyPr wrap="square" lIns="0" tIns="0" rIns="0" bIns="0" rtlCol="0">
              <a:spAutoFit/>
            </a:bodyPr>
            <a:lstStyle/>
            <a:p>
              <a:pPr marL="118872" indent="-118872" algn="just" defTabSz="801929">
                <a:buClr>
                  <a:srgbClr val="002060"/>
                </a:buClr>
                <a:buFont typeface="Arial" panose="020B0604020202020204" pitchFamily="34" charset="0"/>
                <a:buChar char="•"/>
                <a:defRPr/>
              </a:pP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Enterprise Architecture Audit (Ongoing)</a:t>
              </a:r>
            </a:p>
            <a:p>
              <a:pPr marL="118872" indent="-118872" algn="just" defTabSz="801929">
                <a:buClr>
                  <a:srgbClr val="002060"/>
                </a:buClr>
                <a:buFont typeface="Arial" panose="020B0604020202020204" pitchFamily="34" charset="0"/>
                <a:buChar char="•"/>
                <a:defRPr/>
              </a:pP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Enterprise Risk Assessment &amp; Compliance Management</a:t>
              </a:r>
            </a:p>
            <a:p>
              <a:pPr marL="118872" indent="-118872" algn="just" defTabSz="801929">
                <a:buClr>
                  <a:srgbClr val="002060"/>
                </a:buClr>
                <a:buFont typeface="Arial" panose="020B0604020202020204" pitchFamily="34" charset="0"/>
                <a:buChar char="•"/>
                <a:defRPr/>
              </a:pPr>
              <a:r>
                <a:rPr lang="en-US"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Business Continuity Management</a:t>
              </a:r>
            </a:p>
            <a:p>
              <a:pPr marL="118872" indent="-118872" algn="just" defTabSz="801929">
                <a:buClr>
                  <a:srgbClr val="002060"/>
                </a:buClr>
                <a:buFont typeface="Arial" panose="020B0604020202020204" pitchFamily="34" charset="0"/>
                <a:buChar char="•"/>
                <a:defRPr/>
              </a:pP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Risk Appetite Development</a:t>
              </a:r>
            </a:p>
            <a:p>
              <a:pPr marL="118872" indent="-118872" algn="just" defTabSz="801929">
                <a:buClr>
                  <a:srgbClr val="002060"/>
                </a:buClr>
                <a:buFont typeface="Arial" panose="020B0604020202020204" pitchFamily="34" charset="0"/>
                <a:buChar char="•"/>
                <a:defRPr/>
              </a:pP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Risk Assessment &amp; IA Plan</a:t>
              </a:r>
            </a:p>
            <a:p>
              <a:pPr marL="118872" indent="-118872" algn="just" defTabSz="801929">
                <a:buClr>
                  <a:srgbClr val="002060"/>
                </a:buClr>
                <a:buFont typeface="Arial" panose="020B0604020202020204" pitchFamily="34" charset="0"/>
                <a:buChar char="•"/>
                <a:defRPr/>
              </a:pP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Revenue &amp; Cost of Revenue</a:t>
              </a:r>
            </a:p>
            <a:p>
              <a:pPr marL="118872" indent="-118872" algn="just" defTabSz="801929">
                <a:buClr>
                  <a:srgbClr val="002060"/>
                </a:buClr>
                <a:buFont typeface="Arial" panose="020B0604020202020204" pitchFamily="34" charset="0"/>
                <a:buChar char="•"/>
                <a:defRPr/>
              </a:pP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Connectivity Services &amp; Telecom Technical</a:t>
              </a:r>
            </a:p>
            <a:p>
              <a:pPr marL="118872" indent="-118872" algn="just" defTabSz="801929">
                <a:buClr>
                  <a:srgbClr val="002060"/>
                </a:buClr>
                <a:buFont typeface="Arial" panose="020B0604020202020204" pitchFamily="34" charset="0"/>
                <a:buChar char="•"/>
                <a:defRPr/>
              </a:pP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GRC Function Assessment including Cyber Security</a:t>
              </a:r>
            </a:p>
            <a:p>
              <a:pPr marL="118872" indent="-118872" algn="just" defTabSz="801929">
                <a:buClr>
                  <a:srgbClr val="002060"/>
                </a:buClr>
                <a:buFont typeface="Arial" panose="020B0604020202020204" pitchFamily="34" charset="0"/>
                <a:buChar char="•"/>
                <a:defRPr/>
              </a:pP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Product Development Life Cycle</a:t>
              </a:r>
            </a:p>
            <a:p>
              <a:pPr marL="118872" indent="-118872" algn="just" defTabSz="801929">
                <a:buClr>
                  <a:srgbClr val="002060"/>
                </a:buClr>
                <a:buFont typeface="Arial" panose="020B0604020202020204" pitchFamily="34" charset="0"/>
                <a:buChar char="•"/>
                <a:defRPr/>
              </a:pP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Alliances and Partnership</a:t>
              </a:r>
            </a:p>
          </p:txBody>
        </p:sp>
        <p:sp>
          <p:nvSpPr>
            <p:cNvPr id="35" name="TextBox 34">
              <a:extLst>
                <a:ext uri="{FF2B5EF4-FFF2-40B4-BE49-F238E27FC236}">
                  <a16:creationId xmlns:a16="http://schemas.microsoft.com/office/drawing/2014/main" id="{D22B6012-76CB-306D-F212-FF4A7394557A}"/>
                </a:ext>
              </a:extLst>
            </p:cNvPr>
            <p:cNvSpPr txBox="1"/>
            <p:nvPr/>
          </p:nvSpPr>
          <p:spPr>
            <a:xfrm>
              <a:off x="6284729" y="4088689"/>
              <a:ext cx="1752615" cy="1384995"/>
            </a:xfrm>
            <a:prstGeom prst="rect">
              <a:avLst/>
            </a:prstGeom>
            <a:noFill/>
          </p:spPr>
          <p:txBody>
            <a:bodyPr wrap="square" lIns="0" tIns="0" rIns="0" bIns="0" rtlCol="0">
              <a:spAutoFit/>
            </a:bodyPr>
            <a:lstStyle/>
            <a:p>
              <a:pPr marL="118872" indent="-118872"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Business Continuity Management</a:t>
              </a:r>
            </a:p>
            <a:p>
              <a:pPr marL="118872" indent="-118872"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Governance, Risk &amp; Compliance Engagements (Ongoing)</a:t>
              </a:r>
            </a:p>
            <a:p>
              <a:pPr marL="118872" indent="-118872"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Quality, Risk &amp; Compliance Consultancy Program</a:t>
              </a:r>
            </a:p>
            <a:p>
              <a:pPr marL="118872" indent="-118872"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Risk Assessment &amp; Development of IA Plan</a:t>
              </a:r>
            </a:p>
            <a:p>
              <a:pPr marL="118872" indent="-118872"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Internal Controls Review</a:t>
              </a:r>
            </a:p>
            <a:p>
              <a:pPr marL="118872" indent="-118872"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Governance, Risk and Compliance Secondment (ongoing)</a:t>
              </a:r>
            </a:p>
          </p:txBody>
        </p:sp>
        <p:sp>
          <p:nvSpPr>
            <p:cNvPr id="36" name="TextBox 35">
              <a:extLst>
                <a:ext uri="{FF2B5EF4-FFF2-40B4-BE49-F238E27FC236}">
                  <a16:creationId xmlns:a16="http://schemas.microsoft.com/office/drawing/2014/main" id="{3B54EF7B-1AE2-98F7-7991-9FFC40F7CC78}"/>
                </a:ext>
              </a:extLst>
            </p:cNvPr>
            <p:cNvSpPr txBox="1"/>
            <p:nvPr/>
          </p:nvSpPr>
          <p:spPr>
            <a:xfrm>
              <a:off x="5307770" y="1462687"/>
              <a:ext cx="2190440" cy="1107996"/>
            </a:xfrm>
            <a:prstGeom prst="rect">
              <a:avLst/>
            </a:prstGeom>
            <a:noFill/>
          </p:spPr>
          <p:txBody>
            <a:bodyPr wrap="square" lIns="0" tIns="0" rIns="0" bIns="0" rtlCol="0">
              <a:spAutoFit/>
            </a:bodyPr>
            <a:lstStyle/>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Order to Cash</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Record to Report</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Procurement</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Human Resources</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Procurement Focused Contract (Forensic)</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Lead to Market Review</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Cyber Security Review</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IT Governance</a:t>
              </a:r>
            </a:p>
          </p:txBody>
        </p:sp>
        <p:pic>
          <p:nvPicPr>
            <p:cNvPr id="37" name="Picture 36">
              <a:extLst>
                <a:ext uri="{FF2B5EF4-FFF2-40B4-BE49-F238E27FC236}">
                  <a16:creationId xmlns:a16="http://schemas.microsoft.com/office/drawing/2014/main" id="{8A5B8791-7AC7-B9E0-6AC4-E3293D028D3E}"/>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a:off x="2325931" y="3824275"/>
              <a:ext cx="534516" cy="206109"/>
            </a:xfrm>
            <a:prstGeom prst="rect">
              <a:avLst/>
            </a:prstGeom>
            <a:ln w="25400">
              <a:solidFill>
                <a:sysClr val="window" lastClr="FFFFFF"/>
              </a:solidFill>
            </a:ln>
            <a:effectLst/>
          </p:spPr>
        </p:pic>
        <p:pic>
          <p:nvPicPr>
            <p:cNvPr id="38" name="Picture 37">
              <a:extLst>
                <a:ext uri="{FF2B5EF4-FFF2-40B4-BE49-F238E27FC236}">
                  <a16:creationId xmlns:a16="http://schemas.microsoft.com/office/drawing/2014/main" id="{F245B156-0C81-3649-23B7-A2D9363551C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319750" y="2589660"/>
              <a:ext cx="559831" cy="224898"/>
            </a:xfrm>
            <a:prstGeom prst="rect">
              <a:avLst/>
            </a:prstGeom>
            <a:effectLst/>
          </p:spPr>
        </p:pic>
        <p:pic>
          <p:nvPicPr>
            <p:cNvPr id="39" name="Picture 38">
              <a:extLst>
                <a:ext uri="{FF2B5EF4-FFF2-40B4-BE49-F238E27FC236}">
                  <a16:creationId xmlns:a16="http://schemas.microsoft.com/office/drawing/2014/main" id="{C9C0B04F-FCDA-DF75-D270-B7440395802F}"/>
                </a:ext>
              </a:extLst>
            </p:cNvPr>
            <p:cNvPicPr>
              <a:picLocks/>
            </p:cNvPicPr>
            <p:nvPr/>
          </p:nvPicPr>
          <p:blipFill>
            <a:blip r:embed="rId7" cstate="print">
              <a:extLst>
                <a:ext uri="{28A0092B-C50C-407E-A947-70E740481C1C}">
                  <a14:useLocalDpi xmlns:a14="http://schemas.microsoft.com/office/drawing/2010/main"/>
                </a:ext>
              </a:extLst>
            </a:blip>
            <a:stretch>
              <a:fillRect/>
            </a:stretch>
          </p:blipFill>
          <p:spPr>
            <a:xfrm>
              <a:off x="4296935" y="3813951"/>
              <a:ext cx="708764" cy="243802"/>
            </a:xfrm>
            <a:prstGeom prst="rect">
              <a:avLst/>
            </a:prstGeom>
            <a:ln w="25400">
              <a:solidFill>
                <a:sysClr val="window" lastClr="FFFFFF"/>
              </a:solidFill>
            </a:ln>
            <a:effectLst/>
          </p:spPr>
        </p:pic>
        <p:pic>
          <p:nvPicPr>
            <p:cNvPr id="40" name="Picture 39">
              <a:extLst>
                <a:ext uri="{FF2B5EF4-FFF2-40B4-BE49-F238E27FC236}">
                  <a16:creationId xmlns:a16="http://schemas.microsoft.com/office/drawing/2014/main" id="{980AC678-4C24-B47D-4202-E818362D8B72}"/>
                </a:ext>
              </a:extLst>
            </p:cNvPr>
            <p:cNvPicPr>
              <a:picLocks/>
            </p:cNvPicPr>
            <p:nvPr/>
          </p:nvPicPr>
          <p:blipFill rotWithShape="1">
            <a:blip r:embed="rId8" cstate="print">
              <a:extLst>
                <a:ext uri="{28A0092B-C50C-407E-A947-70E740481C1C}">
                  <a14:useLocalDpi xmlns:a14="http://schemas.microsoft.com/office/drawing/2010/main"/>
                </a:ext>
              </a:extLst>
            </a:blip>
            <a:srcRect/>
            <a:stretch/>
          </p:blipFill>
          <p:spPr>
            <a:xfrm>
              <a:off x="5523153" y="2589660"/>
              <a:ext cx="741778" cy="197807"/>
            </a:xfrm>
            <a:prstGeom prst="rect">
              <a:avLst/>
            </a:prstGeom>
            <a:ln w="25400">
              <a:solidFill>
                <a:sysClr val="window" lastClr="FFFFFF"/>
              </a:solidFill>
            </a:ln>
            <a:effectLst/>
          </p:spPr>
        </p:pic>
        <p:pic>
          <p:nvPicPr>
            <p:cNvPr id="41" name="Picture 40">
              <a:extLst>
                <a:ext uri="{FF2B5EF4-FFF2-40B4-BE49-F238E27FC236}">
                  <a16:creationId xmlns:a16="http://schemas.microsoft.com/office/drawing/2014/main" id="{107393B2-C1F1-FBEB-8D39-4F4A7F56371B}"/>
                </a:ext>
              </a:extLst>
            </p:cNvPr>
            <p:cNvPicPr>
              <a:picLocks/>
            </p:cNvPicPr>
            <p:nvPr/>
          </p:nvPicPr>
          <p:blipFill>
            <a:blip r:embed="rId9" cstate="print">
              <a:extLst>
                <a:ext uri="{28A0092B-C50C-407E-A947-70E740481C1C}">
                  <a14:useLocalDpi xmlns:a14="http://schemas.microsoft.com/office/drawing/2010/main"/>
                </a:ext>
              </a:extLst>
            </a:blip>
            <a:stretch>
              <a:fillRect/>
            </a:stretch>
          </p:blipFill>
          <p:spPr>
            <a:xfrm>
              <a:off x="6768960" y="3824275"/>
              <a:ext cx="534516" cy="206109"/>
            </a:xfrm>
            <a:prstGeom prst="rect">
              <a:avLst/>
            </a:prstGeom>
            <a:ln w="25400">
              <a:solidFill>
                <a:sysClr val="window" lastClr="FFFFFF"/>
              </a:solidFill>
            </a:ln>
            <a:effectLst/>
          </p:spPr>
        </p:pic>
        <p:sp>
          <p:nvSpPr>
            <p:cNvPr id="42" name="Oval 41">
              <a:extLst>
                <a:ext uri="{FF2B5EF4-FFF2-40B4-BE49-F238E27FC236}">
                  <a16:creationId xmlns:a16="http://schemas.microsoft.com/office/drawing/2014/main" id="{0749982B-4A23-69A9-D03B-13DCF0805835}"/>
                </a:ext>
              </a:extLst>
            </p:cNvPr>
            <p:cNvSpPr/>
            <p:nvPr/>
          </p:nvSpPr>
          <p:spPr>
            <a:xfrm flipH="1">
              <a:off x="7982934" y="3215972"/>
              <a:ext cx="188332" cy="163397"/>
            </a:xfrm>
            <a:prstGeom prst="ellipse">
              <a:avLst/>
            </a:prstGeom>
            <a:solidFill>
              <a:srgbClr val="26890D"/>
            </a:solidFill>
            <a:ln w="25400" cap="flat" cmpd="sng" algn="ctr">
              <a:solidFill>
                <a:srgbClr val="26890D"/>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sp>
          <p:nvSpPr>
            <p:cNvPr id="43" name="Oval 42">
              <a:extLst>
                <a:ext uri="{FF2B5EF4-FFF2-40B4-BE49-F238E27FC236}">
                  <a16:creationId xmlns:a16="http://schemas.microsoft.com/office/drawing/2014/main" id="{D8EC73CA-1EA8-1FE7-EE56-C9460761A33C}"/>
                </a:ext>
              </a:extLst>
            </p:cNvPr>
            <p:cNvSpPr/>
            <p:nvPr/>
          </p:nvSpPr>
          <p:spPr>
            <a:xfrm flipH="1">
              <a:off x="7904462" y="3147890"/>
              <a:ext cx="345276" cy="299561"/>
            </a:xfrm>
            <a:prstGeom prst="ellipse">
              <a:avLst/>
            </a:prstGeom>
            <a:noFill/>
            <a:ln w="25400" cap="flat" cmpd="sng" algn="ctr">
              <a:solidFill>
                <a:srgbClr val="26890D"/>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cxnSp>
          <p:nvCxnSpPr>
            <p:cNvPr id="44" name="Straight Connector 43">
              <a:extLst>
                <a:ext uri="{FF2B5EF4-FFF2-40B4-BE49-F238E27FC236}">
                  <a16:creationId xmlns:a16="http://schemas.microsoft.com/office/drawing/2014/main" id="{FA491987-BC45-6CC4-70DF-913D08306DAA}"/>
                </a:ext>
              </a:extLst>
            </p:cNvPr>
            <p:cNvCxnSpPr/>
            <p:nvPr/>
          </p:nvCxnSpPr>
          <p:spPr>
            <a:xfrm flipH="1" flipV="1">
              <a:off x="8077099" y="2888612"/>
              <a:ext cx="0" cy="249603"/>
            </a:xfrm>
            <a:prstGeom prst="line">
              <a:avLst/>
            </a:prstGeom>
            <a:noFill/>
            <a:ln w="25400" cap="flat" cmpd="sng" algn="ctr">
              <a:solidFill>
                <a:srgbClr val="26890D"/>
              </a:solidFill>
              <a:prstDash val="solid"/>
              <a:tailEnd type="oval"/>
            </a:ln>
            <a:effectLst/>
          </p:spPr>
        </p:cxnSp>
        <p:sp>
          <p:nvSpPr>
            <p:cNvPr id="45" name="TextBox 44">
              <a:extLst>
                <a:ext uri="{FF2B5EF4-FFF2-40B4-BE49-F238E27FC236}">
                  <a16:creationId xmlns:a16="http://schemas.microsoft.com/office/drawing/2014/main" id="{5F4BC4C1-8699-11AD-8E4C-C8420EBA9DA3}"/>
                </a:ext>
              </a:extLst>
            </p:cNvPr>
            <p:cNvSpPr txBox="1"/>
            <p:nvPr/>
          </p:nvSpPr>
          <p:spPr>
            <a:xfrm flipH="1">
              <a:off x="7454617" y="3513053"/>
              <a:ext cx="1267307" cy="261610"/>
            </a:xfrm>
            <a:prstGeom prst="rect">
              <a:avLst/>
            </a:prstGeom>
            <a:noFill/>
          </p:spPr>
          <p:txBody>
            <a:bodyPr wrap="square" rtlCol="0">
              <a:spAutoFit/>
            </a:bodyPr>
            <a:lstStyle/>
            <a:p>
              <a:pPr algn="ctr">
                <a:defRPr/>
              </a:pPr>
              <a:r>
                <a:rPr lang="en-GB" sz="1100" b="1" kern="0" dirty="0">
                  <a:solidFill>
                    <a:srgbClr val="26890D"/>
                  </a:solidFill>
                  <a:latin typeface="Calibri" panose="020F0502020204030204" pitchFamily="34" charset="0"/>
                  <a:ea typeface="Verdana" panose="020B0604030504040204" pitchFamily="34" charset="0"/>
                  <a:cs typeface="Calibri" panose="020F0502020204030204" pitchFamily="34" charset="0"/>
                </a:rPr>
                <a:t>STC Kuwait</a:t>
              </a:r>
            </a:p>
          </p:txBody>
        </p:sp>
        <p:sp>
          <p:nvSpPr>
            <p:cNvPr id="46" name="Oval 45">
              <a:extLst>
                <a:ext uri="{FF2B5EF4-FFF2-40B4-BE49-F238E27FC236}">
                  <a16:creationId xmlns:a16="http://schemas.microsoft.com/office/drawing/2014/main" id="{62F8618B-3933-FC03-2C46-BB42D18BD701}"/>
                </a:ext>
              </a:extLst>
            </p:cNvPr>
            <p:cNvSpPr/>
            <p:nvPr/>
          </p:nvSpPr>
          <p:spPr>
            <a:xfrm flipH="1">
              <a:off x="10020287" y="3215972"/>
              <a:ext cx="188332" cy="163397"/>
            </a:xfrm>
            <a:prstGeom prst="ellipse">
              <a:avLst/>
            </a:prstGeom>
            <a:solidFill>
              <a:srgbClr val="26890D"/>
            </a:solidFill>
            <a:ln w="25400" cap="flat" cmpd="sng" algn="ctr">
              <a:solidFill>
                <a:srgbClr val="26890D"/>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sp>
          <p:nvSpPr>
            <p:cNvPr id="47" name="Oval 46">
              <a:extLst>
                <a:ext uri="{FF2B5EF4-FFF2-40B4-BE49-F238E27FC236}">
                  <a16:creationId xmlns:a16="http://schemas.microsoft.com/office/drawing/2014/main" id="{87AF2891-3341-5318-85E7-AD34F0FB1181}"/>
                </a:ext>
              </a:extLst>
            </p:cNvPr>
            <p:cNvSpPr/>
            <p:nvPr/>
          </p:nvSpPr>
          <p:spPr>
            <a:xfrm flipH="1">
              <a:off x="9941816" y="3147890"/>
              <a:ext cx="345276" cy="299561"/>
            </a:xfrm>
            <a:prstGeom prst="ellipse">
              <a:avLst/>
            </a:prstGeom>
            <a:noFill/>
            <a:ln w="25400" cap="flat" cmpd="sng" algn="ctr">
              <a:solidFill>
                <a:srgbClr val="26890D"/>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cxnSp>
          <p:nvCxnSpPr>
            <p:cNvPr id="48" name="Straight Connector 47">
              <a:extLst>
                <a:ext uri="{FF2B5EF4-FFF2-40B4-BE49-F238E27FC236}">
                  <a16:creationId xmlns:a16="http://schemas.microsoft.com/office/drawing/2014/main" id="{5436F5B7-A2D7-EC68-F6D9-75A350A82F60}"/>
                </a:ext>
              </a:extLst>
            </p:cNvPr>
            <p:cNvCxnSpPr/>
            <p:nvPr/>
          </p:nvCxnSpPr>
          <p:spPr>
            <a:xfrm flipH="1" flipV="1">
              <a:off x="10114454" y="2888612"/>
              <a:ext cx="0" cy="249603"/>
            </a:xfrm>
            <a:prstGeom prst="line">
              <a:avLst/>
            </a:prstGeom>
            <a:noFill/>
            <a:ln w="25400" cap="flat" cmpd="sng" algn="ctr">
              <a:solidFill>
                <a:srgbClr val="26890D"/>
              </a:solidFill>
              <a:prstDash val="solid"/>
              <a:tailEnd type="oval"/>
            </a:ln>
            <a:effectLst/>
          </p:spPr>
        </p:cxnSp>
        <p:sp>
          <p:nvSpPr>
            <p:cNvPr id="49" name="TextBox 48">
              <a:extLst>
                <a:ext uri="{FF2B5EF4-FFF2-40B4-BE49-F238E27FC236}">
                  <a16:creationId xmlns:a16="http://schemas.microsoft.com/office/drawing/2014/main" id="{FDA517E5-A203-1E70-A0D5-301908053769}"/>
                </a:ext>
              </a:extLst>
            </p:cNvPr>
            <p:cNvSpPr txBox="1"/>
            <p:nvPr/>
          </p:nvSpPr>
          <p:spPr>
            <a:xfrm flipH="1">
              <a:off x="9525540" y="3513053"/>
              <a:ext cx="1267307" cy="261610"/>
            </a:xfrm>
            <a:prstGeom prst="rect">
              <a:avLst/>
            </a:prstGeom>
            <a:noFill/>
          </p:spPr>
          <p:txBody>
            <a:bodyPr wrap="square" rtlCol="0">
              <a:spAutoFit/>
            </a:bodyPr>
            <a:lstStyle/>
            <a:p>
              <a:pPr algn="ctr">
                <a:defRPr/>
              </a:pPr>
              <a:r>
                <a:rPr lang="en-GB" sz="1100" b="1" kern="0" dirty="0">
                  <a:solidFill>
                    <a:srgbClr val="26890D"/>
                  </a:solidFill>
                  <a:latin typeface="Calibri" panose="020F0502020204030204" pitchFamily="34" charset="0"/>
                  <a:ea typeface="Verdana" panose="020B0604030504040204" pitchFamily="34" charset="0"/>
                  <a:cs typeface="Calibri" panose="020F0502020204030204" pitchFamily="34" charset="0"/>
                </a:rPr>
                <a:t>Intigral</a:t>
              </a:r>
            </a:p>
          </p:txBody>
        </p:sp>
        <p:sp>
          <p:nvSpPr>
            <p:cNvPr id="50" name="Oval 49">
              <a:extLst>
                <a:ext uri="{FF2B5EF4-FFF2-40B4-BE49-F238E27FC236}">
                  <a16:creationId xmlns:a16="http://schemas.microsoft.com/office/drawing/2014/main" id="{1655F09E-979C-3E37-4DAB-3EFB5B292BE6}"/>
                </a:ext>
              </a:extLst>
            </p:cNvPr>
            <p:cNvSpPr/>
            <p:nvPr/>
          </p:nvSpPr>
          <p:spPr>
            <a:xfrm flipH="1" flipV="1">
              <a:off x="9101433" y="3205300"/>
              <a:ext cx="188332" cy="163397"/>
            </a:xfrm>
            <a:prstGeom prst="ellipse">
              <a:avLst/>
            </a:prstGeom>
            <a:solidFill>
              <a:srgbClr val="9D9D99"/>
            </a:solidFill>
            <a:ln w="25400" cap="flat" cmpd="sng" algn="ctr">
              <a:no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sp>
          <p:nvSpPr>
            <p:cNvPr id="51" name="Oval 50">
              <a:extLst>
                <a:ext uri="{FF2B5EF4-FFF2-40B4-BE49-F238E27FC236}">
                  <a16:creationId xmlns:a16="http://schemas.microsoft.com/office/drawing/2014/main" id="{FDE3C3F1-D502-3441-AB25-EA6DF927BE6C}"/>
                </a:ext>
              </a:extLst>
            </p:cNvPr>
            <p:cNvSpPr/>
            <p:nvPr/>
          </p:nvSpPr>
          <p:spPr>
            <a:xfrm flipH="1" flipV="1">
              <a:off x="9022961" y="3137219"/>
              <a:ext cx="345276" cy="299561"/>
            </a:xfrm>
            <a:prstGeom prst="ellipse">
              <a:avLst/>
            </a:prstGeom>
            <a:noFill/>
            <a:ln w="25400" cap="flat" cmpd="sng" algn="ctr">
              <a:solidFill>
                <a:srgbClr val="9D9D99"/>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cxnSp>
          <p:nvCxnSpPr>
            <p:cNvPr id="52" name="Straight Connector 51">
              <a:extLst>
                <a:ext uri="{FF2B5EF4-FFF2-40B4-BE49-F238E27FC236}">
                  <a16:creationId xmlns:a16="http://schemas.microsoft.com/office/drawing/2014/main" id="{2653391A-D8BC-5327-68F8-C6128B520299}"/>
                </a:ext>
              </a:extLst>
            </p:cNvPr>
            <p:cNvCxnSpPr/>
            <p:nvPr/>
          </p:nvCxnSpPr>
          <p:spPr>
            <a:xfrm flipH="1">
              <a:off x="9195598" y="3472987"/>
              <a:ext cx="0" cy="249604"/>
            </a:xfrm>
            <a:prstGeom prst="line">
              <a:avLst/>
            </a:prstGeom>
            <a:noFill/>
            <a:ln w="25400" cap="flat" cmpd="sng" algn="ctr">
              <a:solidFill>
                <a:srgbClr val="9D9D99"/>
              </a:solidFill>
              <a:prstDash val="solid"/>
              <a:tailEnd type="oval"/>
            </a:ln>
            <a:effectLst/>
          </p:spPr>
        </p:cxnSp>
        <p:sp>
          <p:nvSpPr>
            <p:cNvPr id="53" name="TextBox 52">
              <a:extLst>
                <a:ext uri="{FF2B5EF4-FFF2-40B4-BE49-F238E27FC236}">
                  <a16:creationId xmlns:a16="http://schemas.microsoft.com/office/drawing/2014/main" id="{C2A75141-19EA-EE24-38B1-BB29F1441986}"/>
                </a:ext>
              </a:extLst>
            </p:cNvPr>
            <p:cNvSpPr txBox="1"/>
            <p:nvPr/>
          </p:nvSpPr>
          <p:spPr>
            <a:xfrm flipH="1">
              <a:off x="8533957" y="2869783"/>
              <a:ext cx="1267307" cy="261610"/>
            </a:xfrm>
            <a:prstGeom prst="rect">
              <a:avLst/>
            </a:prstGeom>
            <a:noFill/>
          </p:spPr>
          <p:txBody>
            <a:bodyPr wrap="square" rtlCol="0">
              <a:spAutoFit/>
            </a:bodyPr>
            <a:lstStyle/>
            <a:p>
              <a:pPr algn="ctr">
                <a:defRPr/>
              </a:pPr>
              <a:r>
                <a:rPr lang="en-GB" sz="1100" b="1" kern="0" dirty="0">
                  <a:solidFill>
                    <a:srgbClr val="9D9D99"/>
                  </a:solidFill>
                  <a:latin typeface="Calibri" panose="020F0502020204030204" pitchFamily="34" charset="0"/>
                  <a:ea typeface="Verdana" panose="020B0604030504040204" pitchFamily="34" charset="0"/>
                  <a:cs typeface="Calibri" panose="020F0502020204030204" pitchFamily="34" charset="0"/>
                </a:rPr>
                <a:t>stc pay</a:t>
              </a:r>
            </a:p>
          </p:txBody>
        </p:sp>
        <p:pic>
          <p:nvPicPr>
            <p:cNvPr id="54" name="Picture 53">
              <a:extLst>
                <a:ext uri="{FF2B5EF4-FFF2-40B4-BE49-F238E27FC236}">
                  <a16:creationId xmlns:a16="http://schemas.microsoft.com/office/drawing/2014/main" id="{78A4A14A-D7F8-642B-414C-63F55439C4ED}"/>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928066" y="3824023"/>
              <a:ext cx="534516" cy="205119"/>
            </a:xfrm>
            <a:prstGeom prst="rect">
              <a:avLst/>
            </a:prstGeom>
          </p:spPr>
        </p:pic>
        <p:sp>
          <p:nvSpPr>
            <p:cNvPr id="55" name="TextBox 54">
              <a:extLst>
                <a:ext uri="{FF2B5EF4-FFF2-40B4-BE49-F238E27FC236}">
                  <a16:creationId xmlns:a16="http://schemas.microsoft.com/office/drawing/2014/main" id="{263520EC-3EC4-B1C4-2AED-B92C9F628B8E}"/>
                </a:ext>
              </a:extLst>
            </p:cNvPr>
            <p:cNvSpPr txBox="1"/>
            <p:nvPr/>
          </p:nvSpPr>
          <p:spPr>
            <a:xfrm>
              <a:off x="7508125" y="1823005"/>
              <a:ext cx="1326282" cy="692497"/>
            </a:xfrm>
            <a:prstGeom prst="rect">
              <a:avLst/>
            </a:prstGeom>
            <a:noFill/>
          </p:spPr>
          <p:txBody>
            <a:bodyPr wrap="square" lIns="0" tIns="0" rIns="0" bIns="0" rtlCol="0">
              <a:spAutoFit/>
            </a:bodyPr>
            <a:lstStyle/>
            <a:p>
              <a:pPr marL="118872" indent="-118872" algn="just" defTabSz="801929">
                <a:buClr>
                  <a:srgbClr val="002060"/>
                </a:buClr>
                <a:buFont typeface="Arial" panose="020B0604020202020204" pitchFamily="34" charset="0"/>
                <a:buChar char="•"/>
                <a:defRPr/>
              </a:pP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Enterprise Risk Management Roll-Out / Implementation</a:t>
              </a:r>
            </a:p>
            <a:p>
              <a:pPr marL="118872" indent="-118872" algn="just" defTabSz="801929">
                <a:buClr>
                  <a:srgbClr val="002060"/>
                </a:buClr>
                <a:buFont typeface="Arial" panose="020B0604020202020204" pitchFamily="34" charset="0"/>
                <a:buChar char="•"/>
                <a:defRPr/>
              </a:pPr>
              <a:r>
                <a:rPr lang="sv-SE"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Strategic KRIs &amp; KRI Framework</a:t>
              </a:r>
              <a:endPar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endParaRPr>
            </a:p>
          </p:txBody>
        </p:sp>
        <p:sp>
          <p:nvSpPr>
            <p:cNvPr id="56" name="TextBox 55">
              <a:extLst>
                <a:ext uri="{FF2B5EF4-FFF2-40B4-BE49-F238E27FC236}">
                  <a16:creationId xmlns:a16="http://schemas.microsoft.com/office/drawing/2014/main" id="{A2B2325A-930F-C517-EBE7-20F8D6E08475}"/>
                </a:ext>
              </a:extLst>
            </p:cNvPr>
            <p:cNvSpPr txBox="1"/>
            <p:nvPr/>
          </p:nvSpPr>
          <p:spPr>
            <a:xfrm>
              <a:off x="9576208" y="1920134"/>
              <a:ext cx="1198072" cy="553999"/>
            </a:xfrm>
            <a:prstGeom prst="rect">
              <a:avLst/>
            </a:prstGeom>
            <a:noFill/>
          </p:spPr>
          <p:txBody>
            <a:bodyPr wrap="square" lIns="0" tIns="0" rIns="0" bIns="0" rtlCol="0">
              <a:spAutoFit/>
            </a:bodyPr>
            <a:lstStyle/>
            <a:p>
              <a:pPr marL="118872" indent="-118872"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Enterprise Risk Management</a:t>
              </a:r>
            </a:p>
            <a:p>
              <a:pPr marL="118872" indent="-118872"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Internal Controls Review</a:t>
              </a:r>
            </a:p>
          </p:txBody>
        </p:sp>
        <p:sp>
          <p:nvSpPr>
            <p:cNvPr id="57" name="TextBox 56">
              <a:extLst>
                <a:ext uri="{FF2B5EF4-FFF2-40B4-BE49-F238E27FC236}">
                  <a16:creationId xmlns:a16="http://schemas.microsoft.com/office/drawing/2014/main" id="{4160D8EC-0A29-4161-97B9-65474DB8D932}"/>
                </a:ext>
              </a:extLst>
            </p:cNvPr>
            <p:cNvSpPr txBox="1"/>
            <p:nvPr/>
          </p:nvSpPr>
          <p:spPr>
            <a:xfrm>
              <a:off x="8439898" y="4082540"/>
              <a:ext cx="1604981" cy="1107996"/>
            </a:xfrm>
            <a:prstGeom prst="rect">
              <a:avLst/>
            </a:prstGeom>
            <a:noFill/>
          </p:spPr>
          <p:txBody>
            <a:bodyPr wrap="square" lIns="0" tIns="0" rIns="0" bIns="0" rtlCol="0">
              <a:spAutoFit/>
            </a:bodyPr>
            <a:lstStyle/>
            <a:p>
              <a:pPr marL="118872" indent="-118872"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BCM &amp; DRP Development &amp; Enhancement</a:t>
              </a:r>
            </a:p>
            <a:p>
              <a:pPr marL="118872" indent="-118872" defTabSz="801929">
                <a:buClr>
                  <a:srgbClr val="002060"/>
                </a:buClr>
                <a:buFont typeface="Arial" panose="020B0604020202020204" pitchFamily="34" charset="0"/>
                <a:buChar char="•"/>
                <a:defRPr/>
              </a:pP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Third Party Assessment (Ongoing)</a:t>
              </a:r>
            </a:p>
            <a:p>
              <a:pPr marL="118872" indent="-118872" defTabSz="801929">
                <a:buClr>
                  <a:srgbClr val="002060"/>
                </a:buClr>
                <a:buFont typeface="Arial" panose="020B0604020202020204" pitchFamily="34" charset="0"/>
                <a:buChar char="•"/>
                <a:defRPr/>
              </a:pP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Setup of Enterprise Risk Framework</a:t>
              </a:r>
              <a:endPar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endParaRPr>
            </a:p>
            <a:p>
              <a:pPr marL="118872" indent="-118872" defTabSz="801929">
                <a:buClr>
                  <a:srgbClr val="002060"/>
                </a:buClr>
                <a:buFont typeface="Arial" panose="020B0604020202020204" pitchFamily="34" charset="0"/>
                <a:buChar char="•"/>
                <a:defRPr/>
              </a:pP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Development &amp; Enhancement of Policies</a:t>
              </a:r>
            </a:p>
          </p:txBody>
        </p:sp>
        <p:sp>
          <p:nvSpPr>
            <p:cNvPr id="58" name="Oval 57">
              <a:extLst>
                <a:ext uri="{FF2B5EF4-FFF2-40B4-BE49-F238E27FC236}">
                  <a16:creationId xmlns:a16="http://schemas.microsoft.com/office/drawing/2014/main" id="{7B9CC7CF-7812-3BD4-84B4-96876EC93703}"/>
                </a:ext>
              </a:extLst>
            </p:cNvPr>
            <p:cNvSpPr/>
            <p:nvPr/>
          </p:nvSpPr>
          <p:spPr>
            <a:xfrm flipH="1" flipV="1">
              <a:off x="733156" y="3218817"/>
              <a:ext cx="188332" cy="163397"/>
            </a:xfrm>
            <a:prstGeom prst="ellipse">
              <a:avLst/>
            </a:prstGeom>
            <a:solidFill>
              <a:srgbClr val="6FC2B4"/>
            </a:solidFill>
            <a:ln w="25400" cap="flat" cmpd="sng" algn="ctr">
              <a:no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sp>
          <p:nvSpPr>
            <p:cNvPr id="59" name="Oval 58">
              <a:extLst>
                <a:ext uri="{FF2B5EF4-FFF2-40B4-BE49-F238E27FC236}">
                  <a16:creationId xmlns:a16="http://schemas.microsoft.com/office/drawing/2014/main" id="{46922C2F-B709-8CDE-9A8E-F231CDC78F37}"/>
                </a:ext>
              </a:extLst>
            </p:cNvPr>
            <p:cNvSpPr/>
            <p:nvPr/>
          </p:nvSpPr>
          <p:spPr>
            <a:xfrm flipH="1" flipV="1">
              <a:off x="654684" y="3150735"/>
              <a:ext cx="345276" cy="299561"/>
            </a:xfrm>
            <a:prstGeom prst="ellipse">
              <a:avLst/>
            </a:prstGeom>
            <a:noFill/>
            <a:ln w="25400" cap="flat" cmpd="sng" algn="ctr">
              <a:solidFill>
                <a:srgbClr val="6FC2B4"/>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cxnSp>
          <p:nvCxnSpPr>
            <p:cNvPr id="60" name="Straight Connector 59">
              <a:extLst>
                <a:ext uri="{FF2B5EF4-FFF2-40B4-BE49-F238E27FC236}">
                  <a16:creationId xmlns:a16="http://schemas.microsoft.com/office/drawing/2014/main" id="{F1F97783-A759-A1F1-B8B5-9DA4BAA0B6B5}"/>
                </a:ext>
              </a:extLst>
            </p:cNvPr>
            <p:cNvCxnSpPr/>
            <p:nvPr/>
          </p:nvCxnSpPr>
          <p:spPr>
            <a:xfrm flipH="1">
              <a:off x="827323" y="3486504"/>
              <a:ext cx="0" cy="249604"/>
            </a:xfrm>
            <a:prstGeom prst="line">
              <a:avLst/>
            </a:prstGeom>
            <a:noFill/>
            <a:ln w="25400" cap="flat" cmpd="sng" algn="ctr">
              <a:solidFill>
                <a:srgbClr val="6FC2B4"/>
              </a:solidFill>
              <a:prstDash val="solid"/>
              <a:tailEnd type="oval"/>
            </a:ln>
            <a:effectLst/>
          </p:spPr>
        </p:cxnSp>
        <p:sp>
          <p:nvSpPr>
            <p:cNvPr id="61" name="TextBox 60">
              <a:extLst>
                <a:ext uri="{FF2B5EF4-FFF2-40B4-BE49-F238E27FC236}">
                  <a16:creationId xmlns:a16="http://schemas.microsoft.com/office/drawing/2014/main" id="{FECA7463-0B2A-5E47-2B7F-20DA732CF53F}"/>
                </a:ext>
              </a:extLst>
            </p:cNvPr>
            <p:cNvSpPr txBox="1"/>
            <p:nvPr/>
          </p:nvSpPr>
          <p:spPr>
            <a:xfrm flipH="1">
              <a:off x="193668" y="2960856"/>
              <a:ext cx="1267307" cy="261610"/>
            </a:xfrm>
            <a:prstGeom prst="rect">
              <a:avLst/>
            </a:prstGeom>
            <a:noFill/>
          </p:spPr>
          <p:txBody>
            <a:bodyPr wrap="square" rtlCol="0">
              <a:spAutoFit/>
            </a:bodyPr>
            <a:lstStyle/>
            <a:p>
              <a:pPr algn="ctr">
                <a:defRPr/>
              </a:pPr>
              <a:r>
                <a:rPr lang="en-GB" sz="1100" b="1" kern="0" dirty="0">
                  <a:solidFill>
                    <a:srgbClr val="6FC2B4"/>
                  </a:solidFill>
                  <a:latin typeface="Calibri" panose="020F0502020204030204" pitchFamily="34" charset="0"/>
                  <a:ea typeface="Verdana" panose="020B0604030504040204" pitchFamily="34" charset="0"/>
                  <a:cs typeface="Calibri" panose="020F0502020204030204" pitchFamily="34" charset="0"/>
                </a:rPr>
                <a:t>TAWAL</a:t>
              </a:r>
            </a:p>
          </p:txBody>
        </p:sp>
        <p:sp>
          <p:nvSpPr>
            <p:cNvPr id="62" name="TextBox 61">
              <a:extLst>
                <a:ext uri="{FF2B5EF4-FFF2-40B4-BE49-F238E27FC236}">
                  <a16:creationId xmlns:a16="http://schemas.microsoft.com/office/drawing/2014/main" id="{4054C4A7-4CB8-9816-9527-A5482B145CBD}"/>
                </a:ext>
              </a:extLst>
            </p:cNvPr>
            <p:cNvSpPr txBox="1"/>
            <p:nvPr/>
          </p:nvSpPr>
          <p:spPr>
            <a:xfrm>
              <a:off x="1306768" y="1854000"/>
              <a:ext cx="1267307" cy="692497"/>
            </a:xfrm>
            <a:prstGeom prst="rect">
              <a:avLst/>
            </a:prstGeom>
            <a:noFill/>
          </p:spPr>
          <p:txBody>
            <a:bodyPr wrap="square" lIns="0" tIns="0" rIns="0" bIns="0" rtlCol="0">
              <a:spAutoFit/>
            </a:bodyPr>
            <a:lstStyle/>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Cybersecurity Review</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Services Development </a:t>
              </a: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Review</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Internal Controls Review 2021</a:t>
              </a:r>
            </a:p>
          </p:txBody>
        </p:sp>
        <p:pic>
          <p:nvPicPr>
            <p:cNvPr id="63" name="Picture 62" descr="image013">
              <a:extLst>
                <a:ext uri="{FF2B5EF4-FFF2-40B4-BE49-F238E27FC236}">
                  <a16:creationId xmlns:a16="http://schemas.microsoft.com/office/drawing/2014/main" id="{270724D2-87AB-4B29-253E-B6D2D836A3ED}"/>
                </a:ext>
              </a:extLst>
            </p:cNvPr>
            <p:cNvPicPr/>
            <p:nvPr/>
          </p:nvPicPr>
          <p:blipFill>
            <a:blip r:embed="rId11">
              <a:extLst>
                <a:ext uri="{28A0092B-C50C-407E-A947-70E740481C1C}">
                  <a14:useLocalDpi xmlns:a14="http://schemas.microsoft.com/office/drawing/2010/main" val="0"/>
                </a:ext>
              </a:extLst>
            </a:blip>
            <a:srcRect/>
            <a:stretch>
              <a:fillRect/>
            </a:stretch>
          </p:blipFill>
          <p:spPr bwMode="auto">
            <a:xfrm>
              <a:off x="1435104" y="2589181"/>
              <a:ext cx="508507" cy="229441"/>
            </a:xfrm>
            <a:prstGeom prst="rect">
              <a:avLst/>
            </a:prstGeom>
            <a:ln w="25400">
              <a:solidFill>
                <a:sysClr val="window" lastClr="FFFFFF"/>
              </a:solidFill>
            </a:ln>
            <a:effectLst/>
            <a:extLst>
              <a:ext uri="{909E8E84-426E-40DD-AFC4-6F175D3DCCD1}">
                <a14:hiddenFill xmlns:a14="http://schemas.microsoft.com/office/drawing/2010/main">
                  <a:solidFill>
                    <a:srgbClr val="FFFFFF"/>
                  </a:solidFill>
                </a14:hiddenFill>
              </a:ext>
            </a:extLst>
          </p:spPr>
        </p:pic>
        <p:pic>
          <p:nvPicPr>
            <p:cNvPr id="64" name="Picture 63">
              <a:extLst>
                <a:ext uri="{FF2B5EF4-FFF2-40B4-BE49-F238E27FC236}">
                  <a16:creationId xmlns:a16="http://schemas.microsoft.com/office/drawing/2014/main" id="{41C08FBA-681D-8D30-CA8E-CEFCB5FB0CB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927909" y="3824275"/>
              <a:ext cx="534516" cy="205119"/>
            </a:xfrm>
            <a:prstGeom prst="rect">
              <a:avLst/>
            </a:prstGeom>
          </p:spPr>
        </p:pic>
        <p:pic>
          <p:nvPicPr>
            <p:cNvPr id="65" name="Picture 64" descr="image013">
              <a:extLst>
                <a:ext uri="{FF2B5EF4-FFF2-40B4-BE49-F238E27FC236}">
                  <a16:creationId xmlns:a16="http://schemas.microsoft.com/office/drawing/2014/main" id="{4FFDDE81-B43A-8355-489D-E1498CE72748}"/>
                </a:ext>
              </a:extLst>
            </p:cNvPr>
            <p:cNvPicPr/>
            <p:nvPr/>
          </p:nvPicPr>
          <p:blipFill>
            <a:blip r:embed="rId11">
              <a:extLst>
                <a:ext uri="{28A0092B-C50C-407E-A947-70E740481C1C}">
                  <a14:useLocalDpi xmlns:a14="http://schemas.microsoft.com/office/drawing/2010/main" val="0"/>
                </a:ext>
              </a:extLst>
            </a:blip>
            <a:srcRect/>
            <a:stretch>
              <a:fillRect/>
            </a:stretch>
          </p:blipFill>
          <p:spPr bwMode="auto">
            <a:xfrm>
              <a:off x="1434948" y="2589433"/>
              <a:ext cx="508507" cy="229441"/>
            </a:xfrm>
            <a:prstGeom prst="rect">
              <a:avLst/>
            </a:prstGeom>
            <a:ln w="25400">
              <a:solidFill>
                <a:sysClr val="window" lastClr="FFFFFF"/>
              </a:solidFill>
            </a:ln>
            <a:effectLst/>
            <a:extLst>
              <a:ext uri="{909E8E84-426E-40DD-AFC4-6F175D3DCCD1}">
                <a14:hiddenFill xmlns:a14="http://schemas.microsoft.com/office/drawing/2010/main">
                  <a:solidFill>
                    <a:srgbClr val="FFFFFF"/>
                  </a:solidFill>
                </a14:hiddenFill>
              </a:ext>
            </a:extLst>
          </p:spPr>
        </p:pic>
        <p:grpSp>
          <p:nvGrpSpPr>
            <p:cNvPr id="69" name="Group 68">
              <a:extLst>
                <a:ext uri="{FF2B5EF4-FFF2-40B4-BE49-F238E27FC236}">
                  <a16:creationId xmlns:a16="http://schemas.microsoft.com/office/drawing/2014/main" id="{C1C76A89-79E1-1831-04CF-7B844E95DAEC}"/>
                </a:ext>
              </a:extLst>
            </p:cNvPr>
            <p:cNvGrpSpPr/>
            <p:nvPr/>
          </p:nvGrpSpPr>
          <p:grpSpPr>
            <a:xfrm>
              <a:off x="10764278" y="3154417"/>
              <a:ext cx="345276" cy="549165"/>
              <a:chOff x="11596700" y="928014"/>
              <a:chExt cx="345276" cy="549165"/>
            </a:xfrm>
          </p:grpSpPr>
          <p:sp>
            <p:nvSpPr>
              <p:cNvPr id="66" name="Oval 65">
                <a:extLst>
                  <a:ext uri="{FF2B5EF4-FFF2-40B4-BE49-F238E27FC236}">
                    <a16:creationId xmlns:a16="http://schemas.microsoft.com/office/drawing/2014/main" id="{9B74FED8-9A62-D4E3-5389-6F98047A2DB8}"/>
                  </a:ext>
                </a:extLst>
              </p:cNvPr>
              <p:cNvSpPr/>
              <p:nvPr/>
            </p:nvSpPr>
            <p:spPr>
              <a:xfrm flipH="1" flipV="1">
                <a:off x="11596700" y="928014"/>
                <a:ext cx="345276" cy="299561"/>
              </a:xfrm>
              <a:prstGeom prst="ellipse">
                <a:avLst/>
              </a:prstGeom>
              <a:noFill/>
              <a:ln w="25400" cap="flat" cmpd="sng" algn="ctr">
                <a:solidFill>
                  <a:srgbClr val="9D9D99"/>
                </a:solidFill>
                <a:prstDash val="solid"/>
              </a:ln>
              <a:effectLst/>
            </p:spPr>
            <p:txBody>
              <a:bodyPr rtlCol="0" anchor="ctr"/>
              <a:lstStyle/>
              <a:p>
                <a:pPr algn="just">
                  <a:defRPr/>
                </a:pPr>
                <a:endParaRPr lang="en-GB" sz="1600" kern="0" dirty="0">
                  <a:solidFill>
                    <a:prstClr val="white"/>
                  </a:solidFill>
                  <a:latin typeface="Calibri" panose="020F0502020204030204" pitchFamily="34" charset="0"/>
                  <a:cs typeface="Calibri" panose="020F0502020204030204" pitchFamily="34" charset="0"/>
                </a:endParaRPr>
              </a:p>
            </p:txBody>
          </p:sp>
          <p:sp>
            <p:nvSpPr>
              <p:cNvPr id="67" name="Oval 66">
                <a:extLst>
                  <a:ext uri="{FF2B5EF4-FFF2-40B4-BE49-F238E27FC236}">
                    <a16:creationId xmlns:a16="http://schemas.microsoft.com/office/drawing/2014/main" id="{8427FDF7-10D4-D784-B7DE-566F4D60D330}"/>
                  </a:ext>
                </a:extLst>
              </p:cNvPr>
              <p:cNvSpPr/>
              <p:nvPr/>
            </p:nvSpPr>
            <p:spPr>
              <a:xfrm flipH="1" flipV="1">
                <a:off x="11675172" y="996096"/>
                <a:ext cx="188332" cy="163397"/>
              </a:xfrm>
              <a:prstGeom prst="ellipse">
                <a:avLst/>
              </a:prstGeom>
              <a:solidFill>
                <a:srgbClr val="9D9D99"/>
              </a:solidFill>
              <a:ln w="25400" cap="flat" cmpd="sng" algn="ctr">
                <a:noFill/>
                <a:prstDash val="solid"/>
              </a:ln>
              <a:effectLst/>
            </p:spPr>
            <p:txBody>
              <a:bodyPr rtlCol="0" anchor="ctr"/>
              <a:lstStyle/>
              <a:p>
                <a:pPr algn="just">
                  <a:defRPr/>
                </a:pPr>
                <a:endParaRPr lang="en-GB" sz="1600" kern="0" dirty="0">
                  <a:solidFill>
                    <a:prstClr val="white"/>
                  </a:solidFill>
                  <a:latin typeface="Calibri" panose="020F0502020204030204" pitchFamily="34" charset="0"/>
                  <a:cs typeface="Calibri" panose="020F0502020204030204" pitchFamily="34" charset="0"/>
                </a:endParaRPr>
              </a:p>
            </p:txBody>
          </p:sp>
          <p:cxnSp>
            <p:nvCxnSpPr>
              <p:cNvPr id="68" name="Straight Connector 67">
                <a:extLst>
                  <a:ext uri="{FF2B5EF4-FFF2-40B4-BE49-F238E27FC236}">
                    <a16:creationId xmlns:a16="http://schemas.microsoft.com/office/drawing/2014/main" id="{87E90FAC-DD50-5765-6AF3-0BC9454E8CA3}"/>
                  </a:ext>
                </a:extLst>
              </p:cNvPr>
              <p:cNvCxnSpPr/>
              <p:nvPr/>
            </p:nvCxnSpPr>
            <p:spPr>
              <a:xfrm flipH="1">
                <a:off x="11770562" y="1227575"/>
                <a:ext cx="0" cy="249604"/>
              </a:xfrm>
              <a:prstGeom prst="line">
                <a:avLst/>
              </a:prstGeom>
              <a:noFill/>
              <a:ln w="25400" cap="flat" cmpd="sng" algn="ctr">
                <a:solidFill>
                  <a:srgbClr val="9D9D99"/>
                </a:solidFill>
                <a:prstDash val="solid"/>
                <a:tailEnd type="oval"/>
              </a:ln>
              <a:effectLst/>
            </p:spPr>
          </p:cxnSp>
        </p:grpSp>
      </p:grpSp>
    </p:spTree>
    <p:extLst>
      <p:ext uri="{BB962C8B-B14F-4D97-AF65-F5344CB8AC3E}">
        <p14:creationId xmlns:p14="http://schemas.microsoft.com/office/powerpoint/2010/main" val="4038553599"/>
      </p:ext>
    </p:extLst>
  </p:cSld>
  <p:clrMapOvr>
    <a:masterClrMapping/>
  </p:clrMapOvr>
  <p:transition spd="med"/>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914314-A01C-44E3-AC84-C79B490DD84B}"/>
              </a:ext>
            </a:extLst>
          </p:cNvPr>
          <p:cNvSpPr>
            <a:spLocks noGrp="1"/>
          </p:cNvSpPr>
          <p:nvPr>
            <p:ph type="title"/>
          </p:nvPr>
        </p:nvSpPr>
        <p:spPr/>
        <p:txBody>
          <a:bodyPr/>
          <a:lstStyle/>
          <a:p>
            <a:r>
              <a:rPr lang="en-US" dirty="0">
                <a:latin typeface="+mn-lt"/>
              </a:rPr>
              <a:t>General Business Terms and Conditions (12 of 18)</a:t>
            </a:r>
          </a:p>
        </p:txBody>
      </p:sp>
      <p:sp>
        <p:nvSpPr>
          <p:cNvPr id="2" name="TextBox 1">
            <a:extLst>
              <a:ext uri="{FF2B5EF4-FFF2-40B4-BE49-F238E27FC236}">
                <a16:creationId xmlns:a16="http://schemas.microsoft.com/office/drawing/2014/main" id="{9E64AA48-1CA5-248C-3342-36EF6701BC46}"/>
              </a:ext>
            </a:extLst>
          </p:cNvPr>
          <p:cNvSpPr txBox="1"/>
          <p:nvPr/>
        </p:nvSpPr>
        <p:spPr bwMode="gray">
          <a:xfrm>
            <a:off x="522377" y="761806"/>
            <a:ext cx="10342039" cy="5904052"/>
          </a:xfrm>
          <a:prstGeom prst="rect">
            <a:avLst/>
          </a:prstGeom>
          <a:noFill/>
        </p:spPr>
        <p:txBody>
          <a:bodyPr wrap="square">
            <a:spAutoFit/>
          </a:bodyPr>
          <a:lstStyle/>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9.6.2	Personal Data may be disclosed to, and processed by, other members of the Deloitte Network, Deloitte’s service providers and competent authorities for one or more 	of the Purposes. The processing and disclosure of Personal Data may involve the transfer of Personal Data to other jurisdictions cross border only insofar as such a 	transfer is necessary for the performance of the Agreement. In such cases, Deloitte shall take adequate measures to ensure that such transfer is in compliance with 	applicable Data Protection Legislation or according to Deloitte’s Privacy Policies and Procedures and that direct recipients shall provide the same level of protection. 	Deloitte has in place appropriate technical and organizational measures to ensure that the Personal Data are secure, having regard to the level of the risk, the state of 	technological development and the costs of implementation. Deloitte shall ensure that all persons authorized to process the Personal Data for the Purposes (including, 	without limitation, Deloitte’s employees, agents or contractors) are obliged to keep the Personal Data confidential.</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9.6.3	Where Deloitte acts as a Processor, it shall additionally:</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9.6.3 (a)	Process Personal Data on the lawful written instructions of the Client;</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9.6.3 (b)	Provide reasonable assistance to the Client, at the Client’s cost, in responding to any data subject request in relation to the data subjects’ rights 		and in ensuring compliance with its obligations under the applicable Data Protection Legislation and Deloitte’s Privacy Policies and Procedures 		in relation to security, breach notifications, impact assessments and consultations with supervisory authorities;</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9.6.3 (c)	Notify the Client without undue delay on becoming aware of a personal data breach where the Personal Data have been, or are likely to have 		been, compromised;</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9.6.3 (d)	At the written direction of the Client, delete or return Personal Data and copies thereof on termination of the Agreement, subject to the 		provisions of any legal and/or regulatory requirements with which Deloitte must comply;</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9.6.3 (e)	Make available to the Client, upon the Client’s request, all information necessary to demonstrate compliance with this Clause; and</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9.6.3 (f)	Engage other sub-processors only with the prior notification of the Client and provided Deloitte will enter into a written agreement with such 		sub-processors, incorporating terms, which are substantially similar to this Clause.</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9.6.4	Where Deloitte acts as a Processor, the Client agrees that it shall communicate to Deloitte any rectification or erasure of any Personal Data which Deloitte holds or 	restriction of processing of such Personal Data to Deloitte unless, in Client’s reasonable opinion, such communication proves impossible or involves disproportionate 	effort.</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9.6.5.	The parties acknowledge and agree that this Data Protection Clause forms a summary of the applicable Deloitte privacy policy (the “Privacy Policy”).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9.6.6.	Deloitte may retain any Personal Data provided by the Client in connection with the Purposes in accordance with Deloitte’s data retention policy which may be found 	in the Privacy Statement and which is in compliance with applicable Data Protection Legislation.</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19.6.7.	The Client shall ensure that it has all necessary consents and notices in place to enable the lawful transfer of the Personal Data to Deloitte for the duration and 	Purposes of this Agreement. Both parties will comply with all requirements of the applicable Data Protection Legislation and Deloitte’s Privacy Policies and Procedures 	when processing Personal Data. The Client shall ensure that it does not knowingly or negligently do or omit to do anything which places Deloitte in breach of its 	obligations under the Data Protection Legislation. The Client shall indemnify Deloitte against all costs, expenses (including legal expenses), damages, loss (including 	loss of business or loss of profits), liabilities, demands, claims, actions or proceedings, which Deloitte may incur arising out of any breach by the Client of its obligations 	under these Data Protection Legislation clauses.</a:t>
            </a:r>
          </a:p>
        </p:txBody>
      </p:sp>
    </p:spTree>
    <p:extLst>
      <p:ext uri="{BB962C8B-B14F-4D97-AF65-F5344CB8AC3E}">
        <p14:creationId xmlns:p14="http://schemas.microsoft.com/office/powerpoint/2010/main" val="3682586503"/>
      </p:ext>
    </p:extLst>
  </p:cSld>
  <p:clrMapOvr>
    <a:masterClrMapping/>
  </p:clrMapOvr>
  <p:transition spd="med"/>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914314-A01C-44E3-AC84-C79B490DD84B}"/>
              </a:ext>
            </a:extLst>
          </p:cNvPr>
          <p:cNvSpPr>
            <a:spLocks noGrp="1"/>
          </p:cNvSpPr>
          <p:nvPr>
            <p:ph type="title"/>
          </p:nvPr>
        </p:nvSpPr>
        <p:spPr/>
        <p:txBody>
          <a:bodyPr/>
          <a:lstStyle/>
          <a:p>
            <a:r>
              <a:rPr lang="en-US" dirty="0">
                <a:latin typeface="+mn-lt"/>
              </a:rPr>
              <a:t>General Business Terms and Conditions (13 of 18)</a:t>
            </a:r>
          </a:p>
        </p:txBody>
      </p:sp>
      <p:sp>
        <p:nvSpPr>
          <p:cNvPr id="2" name="TextBox 1">
            <a:extLst>
              <a:ext uri="{FF2B5EF4-FFF2-40B4-BE49-F238E27FC236}">
                <a16:creationId xmlns:a16="http://schemas.microsoft.com/office/drawing/2014/main" id="{0C3244C8-1D64-21E4-6ADF-7EE57E60B3E8}"/>
              </a:ext>
            </a:extLst>
          </p:cNvPr>
          <p:cNvSpPr txBox="1"/>
          <p:nvPr/>
        </p:nvSpPr>
        <p:spPr bwMode="gray">
          <a:xfrm>
            <a:off x="522377" y="761805"/>
            <a:ext cx="10342039" cy="3593432"/>
          </a:xfrm>
          <a:prstGeom prst="rect">
            <a:avLst/>
          </a:prstGeom>
          <a:noFill/>
        </p:spPr>
        <p:txBody>
          <a:bodyPr wrap="square">
            <a:spAutoFit/>
          </a:bodyPr>
          <a:lstStyle/>
          <a:p>
            <a:pPr marL="362481" indent="-634342" algn="just" hangingPunct="1">
              <a:spcBef>
                <a:spcPts val="591"/>
              </a:spcBef>
            </a:pPr>
            <a:r>
              <a:rPr lang="en-US" sz="1041" kern="1200" dirty="0">
                <a:solidFill>
                  <a:srgbClr val="000000"/>
                </a:solidFill>
                <a:latin typeface="Calibri" panose="020F0502020204030204"/>
                <a:ea typeface="+mn-ea"/>
                <a:cs typeface="+mn-cs"/>
              </a:rPr>
              <a:t>	19.6.8.	The following two clauses are applicable when Deloitte acts as a Controller and provides services to Individuals ONLY. These clauses will not be applicable in 	case Deloitte acts as a Controller and provides services to legal entities or in case Deloitte acts as a Processor:</a:t>
            </a:r>
          </a:p>
          <a:p>
            <a:pPr marL="362481" indent="-634342" algn="just" hangingPunct="1">
              <a:spcBef>
                <a:spcPts val="591"/>
              </a:spcBef>
            </a:pPr>
            <a:r>
              <a:rPr lang="en-US" sz="1041" kern="1200" dirty="0">
                <a:solidFill>
                  <a:srgbClr val="000000"/>
                </a:solidFill>
                <a:latin typeface="Calibri" panose="020F0502020204030204"/>
                <a:ea typeface="+mn-ea"/>
                <a:cs typeface="+mn-cs"/>
              </a:rPr>
              <a:t>		19.6.8 (a) 	The Client has the right to request from Deloitte at any time access to, rectification or erasure of his/her Personal Data or restriction of 				processing of his/her Personal Data concerning him/her or to object to processing as well as the right to data portability. The Client can 	find further details 		in relation to his rights and the extent to which he can exercise them in Deloitte’s Privacy Policy.</a:t>
            </a:r>
          </a:p>
          <a:p>
            <a:pPr marL="362481" indent="-634342" algn="just" hangingPunct="1">
              <a:spcBef>
                <a:spcPts val="591"/>
              </a:spcBef>
            </a:pPr>
            <a:r>
              <a:rPr lang="en-US" sz="1041" kern="1200" dirty="0">
                <a:solidFill>
                  <a:srgbClr val="000000"/>
                </a:solidFill>
                <a:latin typeface="Calibri" panose="020F0502020204030204"/>
                <a:ea typeface="+mn-ea"/>
                <a:cs typeface="+mn-cs"/>
              </a:rPr>
              <a:t>		19.6.8 (b)	If the Client has a complaint or query with regards to the way his/her Personal Data are handled by Deloitte, the Client can contact the 				Privacy Office at DMEprivacy@deloitte.com.  If the Client is not satisfied with the way Deloitte has handled a complaint regarding his/her 			Personal Data, the client has the right to lodge a complaint with the Data Protection Authority, where applicable.</a:t>
            </a:r>
          </a:p>
          <a:p>
            <a:pPr marL="362481" indent="-634342" algn="just" hangingPunct="1">
              <a:spcBef>
                <a:spcPts val="591"/>
              </a:spcBef>
            </a:pPr>
            <a:r>
              <a:rPr lang="en-US" sz="1041" kern="1200" dirty="0">
                <a:solidFill>
                  <a:srgbClr val="000000"/>
                </a:solidFill>
                <a:latin typeface="Calibri" panose="020F0502020204030204"/>
                <a:ea typeface="+mn-ea"/>
                <a:cs typeface="+mn-cs"/>
              </a:rPr>
              <a:t>19.7	Transfer of Confidential and Personal Information:</a:t>
            </a:r>
          </a:p>
          <a:p>
            <a:pPr marL="362481" indent="-634342" algn="just" hangingPunct="1">
              <a:spcBef>
                <a:spcPts val="591"/>
              </a:spcBef>
            </a:pPr>
            <a:r>
              <a:rPr lang="en-US" sz="1041" kern="1200" dirty="0">
                <a:solidFill>
                  <a:srgbClr val="000000"/>
                </a:solidFill>
                <a:latin typeface="Calibri" panose="020F0502020204030204"/>
                <a:ea typeface="+mn-ea"/>
                <a:cs typeface="+mn-cs"/>
              </a:rPr>
              <a:t>	Notwithstanding any other term in this Agreement, the Client Group’s management acting on behalf of its shareholders provide their consent by signing this Agreement that, Deloitte may transfer the Group’s information to other members of the Deloitte Network, third parties or contractors providing administrative, infrastructure and other support services such as audit review support and subcontractors providing services as part of the engagement to store and process any information received, wherever located within or outside of </a:t>
            </a:r>
            <a:r>
              <a:rPr lang="en-US" sz="1041" b="1" kern="1200" dirty="0">
                <a:solidFill>
                  <a:srgbClr val="000000"/>
                </a:solidFill>
                <a:latin typeface="Calibri" panose="020F0502020204030204"/>
                <a:ea typeface="+mn-ea"/>
                <a:cs typeface="+mn-cs"/>
              </a:rPr>
              <a:t>the Kingdom of Saudi Arabia</a:t>
            </a:r>
            <a:r>
              <a:rPr lang="en-US" sz="1041" kern="1200" dirty="0">
                <a:solidFill>
                  <a:srgbClr val="000000"/>
                </a:solidFill>
                <a:latin typeface="Calibri" panose="020F0502020204030204"/>
                <a:ea typeface="+mn-ea"/>
                <a:cs typeface="+mn-cs"/>
              </a:rPr>
              <a:t>. In this respect, third parties are bound by similar Confidentiality, Privacy and Data Security Obligations (“Confidentiality and Privacy Obligations”) to those contained in this Agreement. In addition, such third parties will keep all data confidential and private and will be shared with their employees/ management/ partners/ agents/ officers/ members strictly on a need to know basis (“Authorized Recipient”). The Authorized Recipients are also bound by similar Confidentiality and Privacy Obligations. Each party shall be solely responsible for its own breach of Confidentiality and Privacy obligations including that of its Authorized Recipient. The above provision is as an express written consent from the Client Group’s management acting on behalf of its shareholders regarding the transfer of the Client Group’s information to the abovementioned third parties.</a:t>
            </a:r>
          </a:p>
          <a:p>
            <a:pPr marL="362481" indent="-634342" algn="just" hangingPunct="1">
              <a:spcBef>
                <a:spcPts val="591"/>
              </a:spcBef>
            </a:pPr>
            <a:endParaRPr lang="en-US" sz="1041" kern="1200" dirty="0">
              <a:solidFill>
                <a:srgbClr val="000000"/>
              </a:solidFill>
              <a:latin typeface="Calibri" panose="020F0502020204030204"/>
              <a:ea typeface="+mn-ea"/>
              <a:cs typeface="+mn-cs"/>
            </a:endParaRPr>
          </a:p>
          <a:p>
            <a:pPr marL="362481" indent="-634342" algn="just" hangingPunct="1">
              <a:spcBef>
                <a:spcPts val="591"/>
              </a:spcBef>
            </a:pPr>
            <a:endParaRPr lang="en-US" sz="1041" kern="1200" dirty="0">
              <a:solidFill>
                <a:srgbClr val="000000"/>
              </a:solidFill>
              <a:latin typeface="Calibri" panose="020F0502020204030204"/>
              <a:ea typeface="+mn-ea"/>
              <a:cs typeface="+mn-cs"/>
            </a:endParaRPr>
          </a:p>
        </p:txBody>
      </p:sp>
    </p:spTree>
    <p:extLst>
      <p:ext uri="{BB962C8B-B14F-4D97-AF65-F5344CB8AC3E}">
        <p14:creationId xmlns:p14="http://schemas.microsoft.com/office/powerpoint/2010/main" val="2612350476"/>
      </p:ext>
    </p:extLst>
  </p:cSld>
  <p:clrMapOvr>
    <a:masterClrMapping/>
  </p:clrMapOvr>
  <p:transition spd="med"/>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914314-A01C-44E3-AC84-C79B490DD84B}"/>
              </a:ext>
            </a:extLst>
          </p:cNvPr>
          <p:cNvSpPr>
            <a:spLocks noGrp="1"/>
          </p:cNvSpPr>
          <p:nvPr>
            <p:ph type="title"/>
          </p:nvPr>
        </p:nvSpPr>
        <p:spPr/>
        <p:txBody>
          <a:bodyPr/>
          <a:lstStyle/>
          <a:p>
            <a:r>
              <a:rPr lang="en-US" dirty="0">
                <a:latin typeface="+mn-lt"/>
              </a:rPr>
              <a:t>General Business Terms and Conditions (14 of 18)</a:t>
            </a:r>
          </a:p>
        </p:txBody>
      </p:sp>
      <p:sp>
        <p:nvSpPr>
          <p:cNvPr id="2" name="TextBox 1">
            <a:extLst>
              <a:ext uri="{FF2B5EF4-FFF2-40B4-BE49-F238E27FC236}">
                <a16:creationId xmlns:a16="http://schemas.microsoft.com/office/drawing/2014/main" id="{F04C54B9-51CD-215B-A5CF-788B64C5D759}"/>
              </a:ext>
            </a:extLst>
          </p:cNvPr>
          <p:cNvSpPr txBox="1"/>
          <p:nvPr/>
        </p:nvSpPr>
        <p:spPr bwMode="gray">
          <a:xfrm>
            <a:off x="522377" y="761807"/>
            <a:ext cx="10342039" cy="5023329"/>
          </a:xfrm>
          <a:prstGeom prst="rect">
            <a:avLst/>
          </a:prstGeom>
          <a:noFill/>
        </p:spPr>
        <p:txBody>
          <a:bodyPr wrap="square">
            <a:spAutoFit/>
          </a:bodyPr>
          <a:lstStyle/>
          <a:p>
            <a:pPr marL="362481" indent="-634342" algn="just" hangingPunct="1">
              <a:spcBef>
                <a:spcPts val="591"/>
              </a:spcBef>
            </a:pPr>
            <a:r>
              <a:rPr lang="en-US" sz="1041" b="1" kern="1200" dirty="0">
                <a:solidFill>
                  <a:srgbClr val="000000"/>
                </a:solidFill>
                <a:latin typeface="Calibri" panose="020F0502020204030204"/>
                <a:ea typeface="+mn-ea"/>
                <a:cs typeface="+mn-cs"/>
              </a:rPr>
              <a:t>20	Electronic Communications.</a:t>
            </a:r>
          </a:p>
          <a:p>
            <a:pPr marL="362481" indent="-634342" algn="just" hangingPunct="1">
              <a:spcBef>
                <a:spcPts val="591"/>
              </a:spcBef>
            </a:pPr>
            <a:r>
              <a:rPr lang="en-US" sz="1041" kern="1200" dirty="0">
                <a:solidFill>
                  <a:srgbClr val="000000"/>
                </a:solidFill>
                <a:latin typeface="Calibri" panose="020F0502020204030204"/>
                <a:ea typeface="+mn-ea"/>
                <a:cs typeface="+mn-cs"/>
              </a:rPr>
              <a:t>20.1	The Parties agree that we may communicate with each other by way of business e-mail (including the internet). The Client acknowledges that, in order for Deloitte personnel to operate effectively and efficiently from the Client’s premises, Deloitte personnel may require access to the Client’s networks, for example, to enable access to Deloitte applications and systems. If Deloitte personnel need to have access to the Client’s systems in order to perform the Services, the Parties acknowledge that such access may be subject to further terms and conditions that are intended to protect the security and integrity of the Client’s data and systems, provided that the Client informs Deloitte of any such terms and conditions before such access takes place. </a:t>
            </a:r>
          </a:p>
          <a:p>
            <a:pPr marL="362481" indent="-634342" algn="just" hangingPunct="1">
              <a:spcBef>
                <a:spcPts val="591"/>
              </a:spcBef>
            </a:pPr>
            <a:r>
              <a:rPr lang="en-US" sz="1041" kern="1200" dirty="0">
                <a:solidFill>
                  <a:srgbClr val="000000"/>
                </a:solidFill>
                <a:latin typeface="Calibri" panose="020F0502020204030204"/>
                <a:ea typeface="+mn-ea"/>
                <a:cs typeface="+mn-cs"/>
              </a:rPr>
              <a:t>20.2	The Parties recognise that e-mail and the internet are inherently insecure and that e-mails and data can become corrupted, communications are not always delivered promptly (or at all) and that other methods of communication may be appropriate. In addition, the internet is prone to malware. Similar hazards apply where Deloitte access its systems via Client networks. The Parties recognise these hazards and therefore each Party will be responsible for protecting their our own systems and interests and neither Deloitte nor the Client will be responsible to the other on any basis (contract, tort or otherwise) for any loss, damage or omission in anyway arising from the use of e-mail (including the internet) as a form of communication or from Deloitte personnel connecting to or accessing your network. The exclusion of liability in this clause shall not apply to any liability which arises out of the negligent incorrect addressing of any electronic communication.</a:t>
            </a:r>
          </a:p>
          <a:p>
            <a:pPr marL="362481" indent="-634342" algn="just" hangingPunct="1">
              <a:spcBef>
                <a:spcPts val="591"/>
              </a:spcBef>
            </a:pPr>
            <a:r>
              <a:rPr lang="en-US" sz="1041" kern="1200" dirty="0">
                <a:solidFill>
                  <a:srgbClr val="000000"/>
                </a:solidFill>
                <a:latin typeface="Calibri" panose="020F0502020204030204"/>
                <a:ea typeface="+mn-ea"/>
                <a:cs typeface="+mn-cs"/>
              </a:rPr>
              <a:t>20.3	Deloitte will not initiate communications with the Client via instant messaging channels (such as WhatsApp, WeChat or other social media platforms or personal email addresses (such as Gmail, yahoo mail, Hotmail, etc.) as Deloitte does not have control over these and such use may prejudice the confidentiality of the Client’s information. If the Client communicates with Deloitte via instant messaging or personal email addresses, Deloitte will not be held liable for any data breach which results from transmitting information through these means, nor will Deloitte be liable for any direct or indirect loss resulting from a data breach caused by using instant messaging, personal email addresses or by third parties intercepting Client information. </a:t>
            </a:r>
          </a:p>
          <a:p>
            <a:pPr marL="362481" indent="-634342" algn="just" hangingPunct="1">
              <a:spcBef>
                <a:spcPts val="591"/>
              </a:spcBef>
            </a:pPr>
            <a:r>
              <a:rPr lang="en-US" sz="1041" kern="1200" dirty="0">
                <a:solidFill>
                  <a:srgbClr val="000000"/>
                </a:solidFill>
                <a:latin typeface="Calibri" panose="020F0502020204030204"/>
                <a:ea typeface="+mn-ea"/>
                <a:cs typeface="+mn-cs"/>
              </a:rPr>
              <a:t>20.4	Cloud Technology: </a:t>
            </a:r>
          </a:p>
          <a:p>
            <a:pPr marL="362481" indent="-634342" algn="just" hangingPunct="1">
              <a:spcBef>
                <a:spcPts val="591"/>
              </a:spcBef>
            </a:pPr>
            <a:r>
              <a:rPr lang="en-US" sz="1041" kern="1200" dirty="0">
                <a:solidFill>
                  <a:srgbClr val="000000"/>
                </a:solidFill>
                <a:latin typeface="Calibri" panose="020F0502020204030204"/>
                <a:ea typeface="+mn-ea"/>
                <a:cs typeface="+mn-cs"/>
              </a:rPr>
              <a:t>	Deloitte is committed to implementing new and innovative technologies, advanced analytics and cloud-based solutions (“Cloud Technology”) to better serve our clients through more collaborative ways of working. By signing this Agreement, as the Client management, acting on behalf of its shareholders, you provide us with your consent that Deloitte may transfer, process (including collecting, recording, ordering, accumulating, storing, updating or modifying, extracting, utilizing, redacting, blocking, removing, erasing and transferring) or host your information using such Cloud Technology. In addition, you consent that Deloitte may use such Cloud Technology, which may be located outside of the Country, for the purpose of delivering the Services in this Agreement, on the understanding that Deloitte and any of the Deloitte Parties, or other subcontractors used in delivery of the Services, shall keep your information confidential in line with the provisions of this Agreement and, in the case of Personal Data, in accordance with the requirements and obligations of any applicable data protection law. The above provision refers to an explicit consent from you regarding the transfer, processing or hosting of your information in such Cloud Technology. In addition, you agree that Deloitte shall not be held liable for the transfer, processing or hosting of your information to and by the above-mentioned parties, or for the use of Cloud Technology for this purpose. You confirm that the information is suitable for transfer and is not restricted as per relevant applicable law.</a:t>
            </a:r>
          </a:p>
          <a:p>
            <a:pPr marL="362481" indent="-634342" algn="just" hangingPunct="1">
              <a:spcBef>
                <a:spcPts val="591"/>
              </a:spcBef>
            </a:pPr>
            <a:endParaRPr lang="en-US" sz="891" kern="1200" dirty="0">
              <a:solidFill>
                <a:srgbClr val="000000"/>
              </a:solidFill>
              <a:latin typeface="Calibri" panose="020F0502020204030204"/>
              <a:ea typeface="+mn-ea"/>
              <a:cs typeface="+mn-cs"/>
            </a:endParaRPr>
          </a:p>
        </p:txBody>
      </p:sp>
    </p:spTree>
    <p:extLst>
      <p:ext uri="{BB962C8B-B14F-4D97-AF65-F5344CB8AC3E}">
        <p14:creationId xmlns:p14="http://schemas.microsoft.com/office/powerpoint/2010/main" val="3112240029"/>
      </p:ext>
    </p:extLst>
  </p:cSld>
  <p:clrMapOvr>
    <a:masterClrMapping/>
  </p:clrMapOvr>
  <p:transition spd="med"/>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914314-A01C-44E3-AC84-C79B490DD84B}"/>
              </a:ext>
            </a:extLst>
          </p:cNvPr>
          <p:cNvSpPr>
            <a:spLocks noGrp="1"/>
          </p:cNvSpPr>
          <p:nvPr>
            <p:ph type="title"/>
          </p:nvPr>
        </p:nvSpPr>
        <p:spPr/>
        <p:txBody>
          <a:bodyPr/>
          <a:lstStyle/>
          <a:p>
            <a:r>
              <a:rPr lang="en-US" dirty="0">
                <a:latin typeface="+mn-lt"/>
              </a:rPr>
              <a:t>General Business Terms and Conditions (15 of 18)</a:t>
            </a:r>
          </a:p>
        </p:txBody>
      </p:sp>
      <p:sp>
        <p:nvSpPr>
          <p:cNvPr id="2" name="TextBox 1">
            <a:extLst>
              <a:ext uri="{FF2B5EF4-FFF2-40B4-BE49-F238E27FC236}">
                <a16:creationId xmlns:a16="http://schemas.microsoft.com/office/drawing/2014/main" id="{B0839FA4-A46E-84DE-1D66-6A556A002646}"/>
              </a:ext>
            </a:extLst>
          </p:cNvPr>
          <p:cNvSpPr txBox="1"/>
          <p:nvPr/>
        </p:nvSpPr>
        <p:spPr bwMode="gray">
          <a:xfrm>
            <a:off x="522377" y="761805"/>
            <a:ext cx="10342039" cy="5823707"/>
          </a:xfrm>
          <a:prstGeom prst="rect">
            <a:avLst/>
          </a:prstGeom>
          <a:noFill/>
        </p:spPr>
        <p:txBody>
          <a:bodyPr wrap="square">
            <a:spAutoFit/>
          </a:bodyPr>
          <a:lstStyle/>
          <a:p>
            <a:pPr marL="362481" indent="-634342" algn="just" defTabSz="1208241" hangingPunct="1">
              <a:spcBef>
                <a:spcPts val="591"/>
              </a:spcBef>
              <a:defRPr/>
            </a:pPr>
            <a:r>
              <a:rPr lang="en-US" sz="1041" b="1" kern="1200" dirty="0">
                <a:solidFill>
                  <a:srgbClr val="000000"/>
                </a:solidFill>
                <a:latin typeface="Calibri" panose="020F0502020204030204"/>
                <a:ea typeface="+mn-ea"/>
                <a:cs typeface="+mn-cs"/>
              </a:rPr>
              <a:t>21	 Survival and Interpretation.</a:t>
            </a:r>
          </a:p>
          <a:p>
            <a:pPr marL="362481" indent="-634342" algn="just" defTabSz="1208241" hangingPunct="1">
              <a:spcBef>
                <a:spcPts val="591"/>
              </a:spcBef>
              <a:defRPr/>
            </a:pPr>
            <a:r>
              <a:rPr lang="en-US" sz="1041" b="1" kern="1200" dirty="0">
                <a:solidFill>
                  <a:srgbClr val="000000"/>
                </a:solidFill>
                <a:latin typeface="Calibri" panose="020F0502020204030204"/>
                <a:ea typeface="+mn-ea"/>
                <a:cs typeface="+mn-cs"/>
              </a:rPr>
              <a:t>	</a:t>
            </a:r>
            <a:r>
              <a:rPr lang="en-US" sz="1041" kern="1200" dirty="0">
                <a:solidFill>
                  <a:srgbClr val="000000"/>
                </a:solidFill>
                <a:latin typeface="Calibri" panose="020F0502020204030204"/>
                <a:ea typeface="+mn-ea"/>
                <a:cs typeface="+mn-cs"/>
              </a:rPr>
              <a:t>The terms of any Clauses which by its nature should survive to give adequate meaning and effect to the provisions of this Agreement and/or Change Order will survive the termination or expiration of the entire or any part of this Agreement and/or Change Order.</a:t>
            </a:r>
          </a:p>
          <a:p>
            <a:pPr marL="362481" indent="-634342" algn="just" defTabSz="1208241" hangingPunct="1">
              <a:spcBef>
                <a:spcPts val="591"/>
              </a:spcBef>
              <a:defRPr/>
            </a:pPr>
            <a:endParaRPr lang="en-US" sz="1041" b="1" kern="1200" dirty="0">
              <a:solidFill>
                <a:srgbClr val="000000"/>
              </a:solidFill>
              <a:latin typeface="Calibri" panose="020F0502020204030204"/>
              <a:ea typeface="+mn-ea"/>
              <a:cs typeface="+mn-cs"/>
            </a:endParaRPr>
          </a:p>
          <a:p>
            <a:pPr marL="362481" indent="-634342" algn="just" defTabSz="1208241" hangingPunct="1">
              <a:spcBef>
                <a:spcPts val="591"/>
              </a:spcBef>
              <a:defRPr/>
            </a:pPr>
            <a:r>
              <a:rPr lang="en-US" sz="1041" b="1" kern="1200" dirty="0">
                <a:solidFill>
                  <a:srgbClr val="000000"/>
                </a:solidFill>
                <a:latin typeface="Calibri" panose="020F0502020204030204"/>
                <a:ea typeface="+mn-ea"/>
                <a:cs typeface="+mn-cs"/>
              </a:rPr>
              <a:t>22	Assignment and Subcontracting.</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22.1	Assignment.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Except as provided below, neither Party may assign, transfer or delegate any of its rights or obligations hereunder (including, without limitation, interests or claims relating to this engagement) without the prior written consent of the other Party. Deloitte may, with written notice, but without the consent of the Client, assign or subcontract its rights and obligations hereunder to (a) any affiliate or related entity or (b) any entity that acquires all or a substantial part of the assets or business of Deloitte.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22.2	Subcontracting.</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Deloitte shall have the right to subcontract its obligations under this Agreement, provided that Deloitte shall remain responsible to the Client for the fulfilment of obligations assumed in terms of this Agreement, under the following circumstances:</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22.2.1	Subcontracting components of the Services:</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22.2.1 (a)	Deloitte may not subcontract any or all of the Services to be rendered under the Agreement on its behalf, without the prior written approval of 		the Client, which approval shall not be unreasonably withheld or delayed.  Subcontractors listed in the Agreement, or in a Change Order, will be 		deemed approved.</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22.2.1 (b)	Deloitte is responsible for ensuring that any obligations which it subcontracts are fulfilled by any such subcontractor(s) concerned.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22.2.2	Subcontracting for Resources:</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22.2.2 (a)	Deloitte may, from time to time in its sole discretion, subcontract external companies to provide resources to Deloitte, to enable Deloitte to 		fulfil its obligations under this Agreement.  For purposes of this Agreement, Personnel of such a subcontractor would be included in the 		Personnel of Deloitte.</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22.2.2 (b)	In the event of another D&amp;T Party providing resources to Deloitte for the Project, such D&amp;T Party would, for the purposes of this Agreement, be 		considered a subcontractor to Deloitte.</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22.2.2 (c)	Deloitte shall not be required to disclose the existence or terms of any other subcontract entered into in such instances, but shall take the 		Client’s reasonable wishes into account in its choice of such subcontractors. </a:t>
            </a:r>
          </a:p>
          <a:p>
            <a:pPr marL="362481" indent="-634342" algn="just" defTabSz="1208241" hangingPunct="1">
              <a:spcBef>
                <a:spcPts val="591"/>
              </a:spcBef>
              <a:defRPr/>
            </a:pPr>
            <a:endParaRPr lang="en-US" sz="1041" kern="1200" dirty="0">
              <a:solidFill>
                <a:srgbClr val="000000"/>
              </a:solidFill>
              <a:latin typeface="Calibri" panose="020F0502020204030204"/>
              <a:ea typeface="+mn-ea"/>
              <a:cs typeface="+mn-cs"/>
            </a:endParaRPr>
          </a:p>
          <a:p>
            <a:pPr marL="362481" indent="-634342" algn="just" defTabSz="1208241" hangingPunct="1">
              <a:spcBef>
                <a:spcPts val="591"/>
              </a:spcBef>
              <a:defRPr/>
            </a:pPr>
            <a:endParaRPr lang="en-US" sz="891" kern="1200" dirty="0">
              <a:solidFill>
                <a:srgbClr val="000000"/>
              </a:solidFill>
              <a:latin typeface="Calibri" panose="020F0502020204030204"/>
              <a:ea typeface="+mn-ea"/>
              <a:cs typeface="+mn-cs"/>
            </a:endParaRPr>
          </a:p>
        </p:txBody>
      </p:sp>
    </p:spTree>
    <p:extLst>
      <p:ext uri="{BB962C8B-B14F-4D97-AF65-F5344CB8AC3E}">
        <p14:creationId xmlns:p14="http://schemas.microsoft.com/office/powerpoint/2010/main" val="3594927481"/>
      </p:ext>
    </p:extLst>
  </p:cSld>
  <p:clrMapOvr>
    <a:masterClrMapping/>
  </p:clrMapOvr>
  <p:transition spd="med"/>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914314-A01C-44E3-AC84-C79B490DD84B}"/>
              </a:ext>
            </a:extLst>
          </p:cNvPr>
          <p:cNvSpPr>
            <a:spLocks noGrp="1"/>
          </p:cNvSpPr>
          <p:nvPr>
            <p:ph type="title"/>
          </p:nvPr>
        </p:nvSpPr>
        <p:spPr/>
        <p:txBody>
          <a:bodyPr/>
          <a:lstStyle/>
          <a:p>
            <a:r>
              <a:rPr lang="en-US" dirty="0">
                <a:latin typeface="+mn-lt"/>
              </a:rPr>
              <a:t>General Business Terms and Conditions (16 of 18)</a:t>
            </a:r>
          </a:p>
        </p:txBody>
      </p:sp>
      <p:sp>
        <p:nvSpPr>
          <p:cNvPr id="2" name="TextBox 1">
            <a:extLst>
              <a:ext uri="{FF2B5EF4-FFF2-40B4-BE49-F238E27FC236}">
                <a16:creationId xmlns:a16="http://schemas.microsoft.com/office/drawing/2014/main" id="{40D5AD68-61C8-D5C4-4A13-730A0F81F7C9}"/>
              </a:ext>
            </a:extLst>
          </p:cNvPr>
          <p:cNvSpPr txBox="1"/>
          <p:nvPr/>
        </p:nvSpPr>
        <p:spPr bwMode="gray">
          <a:xfrm>
            <a:off x="522377" y="761805"/>
            <a:ext cx="10342039" cy="4748913"/>
          </a:xfrm>
          <a:prstGeom prst="rect">
            <a:avLst/>
          </a:prstGeom>
          <a:noFill/>
        </p:spPr>
        <p:txBody>
          <a:bodyPr wrap="square">
            <a:spAutoFit/>
          </a:bodyPr>
          <a:lstStyle/>
          <a:p>
            <a:pPr marL="362481" indent="-634342" algn="just" defTabSz="1208241" hangingPunct="1">
              <a:spcBef>
                <a:spcPts val="591"/>
              </a:spcBef>
              <a:defRPr/>
            </a:pPr>
            <a:r>
              <a:rPr lang="en-US" sz="1041" b="1" kern="1200" dirty="0">
                <a:solidFill>
                  <a:srgbClr val="000000"/>
                </a:solidFill>
                <a:latin typeface="Calibri" panose="020F0502020204030204"/>
                <a:ea typeface="+mn-ea"/>
                <a:cs typeface="+mn-cs"/>
              </a:rPr>
              <a:t>23	Dispute Settlement. </a:t>
            </a:r>
          </a:p>
          <a:p>
            <a:pPr marL="362481" indent="-634342" algn="just" defTabSz="1208241" hangingPunct="1">
              <a:spcBef>
                <a:spcPts val="591"/>
              </a:spcBef>
              <a:defRPr/>
            </a:pPr>
            <a:r>
              <a:rPr lang="en-US" sz="1041" b="1" kern="1200" dirty="0">
                <a:solidFill>
                  <a:srgbClr val="000000"/>
                </a:solidFill>
                <a:latin typeface="Calibri" panose="020F0502020204030204"/>
                <a:ea typeface="+mn-ea"/>
                <a:cs typeface="+mn-cs"/>
              </a:rPr>
              <a:t>	</a:t>
            </a:r>
            <a:r>
              <a:rPr lang="en-US" sz="1041" kern="1200" dirty="0">
                <a:solidFill>
                  <a:srgbClr val="000000"/>
                </a:solidFill>
                <a:latin typeface="Calibri" panose="020F0502020204030204"/>
                <a:ea typeface="+mn-ea"/>
                <a:cs typeface="+mn-cs"/>
              </a:rPr>
              <a:t>In the event of a dispute, Deloitte and the Client agree to work with the other Party to resolve the disputed matters in good faith, including providing the other with written notification of the disputed matters and affording the other reasonable time, not exceeding 1 (one) month (30 days) or a mutually agreed upon time frame, to implement corrective measures to the satisfaction of the Disputing Party and obtain written acknowledgement of the same. Only after exhausting all possible options of dispute resolution may either Party consider legal recourse as the option of last resort in accordance with the </a:t>
            </a:r>
            <a:r>
              <a:rPr lang="en-US" sz="1041" b="1" kern="1200" dirty="0">
                <a:solidFill>
                  <a:srgbClr val="000000"/>
                </a:solidFill>
                <a:latin typeface="Calibri" panose="020F0502020204030204"/>
                <a:ea typeface="+mn-ea"/>
                <a:cs typeface="+mn-cs"/>
              </a:rPr>
              <a:t>Kingdom of Saudi Arabia rules</a:t>
            </a:r>
            <a:r>
              <a:rPr lang="en-US" sz="1041" kern="1200" dirty="0">
                <a:solidFill>
                  <a:srgbClr val="000000"/>
                </a:solidFill>
                <a:latin typeface="Calibri" panose="020F0502020204030204"/>
                <a:ea typeface="+mn-ea"/>
                <a:cs typeface="+mn-cs"/>
              </a:rPr>
              <a:t>. </a:t>
            </a:r>
          </a:p>
          <a:p>
            <a:pPr marL="362481" indent="-634342" algn="just" defTabSz="1208241" hangingPunct="1">
              <a:spcBef>
                <a:spcPts val="591"/>
              </a:spcBef>
              <a:defRPr/>
            </a:pPr>
            <a:endParaRPr lang="en-US" sz="1041" kern="1200" dirty="0">
              <a:solidFill>
                <a:srgbClr val="000000"/>
              </a:solidFill>
              <a:latin typeface="Calibri" panose="020F0502020204030204"/>
              <a:ea typeface="+mn-ea"/>
              <a:cs typeface="+mn-cs"/>
            </a:endParaRPr>
          </a:p>
          <a:p>
            <a:pPr marL="362481" indent="-634342" algn="just" defTabSz="1208241" hangingPunct="1">
              <a:spcBef>
                <a:spcPts val="591"/>
              </a:spcBef>
              <a:defRPr/>
            </a:pPr>
            <a:r>
              <a:rPr lang="en-US" sz="1041" b="1" kern="1200" dirty="0">
                <a:solidFill>
                  <a:srgbClr val="000000"/>
                </a:solidFill>
                <a:latin typeface="Calibri" panose="020F0502020204030204"/>
                <a:ea typeface="+mn-ea"/>
                <a:cs typeface="+mn-cs"/>
              </a:rPr>
              <a:t>24	Governing Law and Severability.</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These terms, the Proposal to which these terms are attached, including exhibits, and all matters relating to this engagement whether in contract, statute, tort (such as negligence), or otherwise, shall be governed by, and construed in accordance with, the laws of the </a:t>
            </a:r>
            <a:r>
              <a:rPr lang="en-US" sz="1041" b="1" kern="1200" dirty="0">
                <a:solidFill>
                  <a:srgbClr val="000000"/>
                </a:solidFill>
                <a:latin typeface="Calibri" panose="020F0502020204030204"/>
                <a:ea typeface="+mn-ea"/>
                <a:cs typeface="+mn-cs"/>
              </a:rPr>
              <a:t>Kingdom of Saudi Arabia</a:t>
            </a:r>
            <a:r>
              <a:rPr lang="en-US" sz="1041" kern="1200" dirty="0">
                <a:solidFill>
                  <a:srgbClr val="000000"/>
                </a:solidFill>
                <a:latin typeface="Calibri" panose="020F0502020204030204"/>
                <a:ea typeface="+mn-ea"/>
                <a:cs typeface="+mn-cs"/>
              </a:rPr>
              <a:t>. If any provision of such terms or Proposal is found by a court of competent jurisdiction in the </a:t>
            </a:r>
            <a:r>
              <a:rPr lang="en-US" sz="1041" b="1" kern="1200" dirty="0">
                <a:solidFill>
                  <a:srgbClr val="000000"/>
                </a:solidFill>
                <a:latin typeface="Calibri" panose="020F0502020204030204"/>
                <a:ea typeface="+mn-ea"/>
                <a:cs typeface="+mn-cs"/>
              </a:rPr>
              <a:t>Kingdom of Saudi Arabia</a:t>
            </a:r>
            <a:r>
              <a:rPr lang="en-US" sz="1041" kern="1200" dirty="0">
                <a:solidFill>
                  <a:srgbClr val="000000"/>
                </a:solidFill>
                <a:latin typeface="Calibri" panose="020F0502020204030204"/>
                <a:ea typeface="+mn-ea"/>
                <a:cs typeface="+mn-cs"/>
              </a:rPr>
              <a:t>, to be unenforceable, such provision shall not affect the other provisions, but such unenforceable provision shall be deemed modified to the extent necessary to render it enforceable, preserving to the fullest extent permissible the intent of the Parties set forth herein.</a:t>
            </a:r>
          </a:p>
          <a:p>
            <a:pPr marL="362481" indent="-634342" algn="just" defTabSz="1208241" hangingPunct="1">
              <a:spcBef>
                <a:spcPts val="591"/>
              </a:spcBef>
              <a:defRPr/>
            </a:pPr>
            <a:endParaRPr lang="en-US" sz="1041" kern="1200" dirty="0">
              <a:solidFill>
                <a:srgbClr val="000000"/>
              </a:solidFill>
              <a:latin typeface="Calibri" panose="020F0502020204030204"/>
              <a:ea typeface="+mn-ea"/>
              <a:cs typeface="+mn-cs"/>
            </a:endParaRPr>
          </a:p>
          <a:p>
            <a:pPr marL="362481" indent="-634342" algn="just" defTabSz="1208241" hangingPunct="1">
              <a:spcBef>
                <a:spcPts val="591"/>
              </a:spcBef>
              <a:defRPr/>
            </a:pPr>
            <a:r>
              <a:rPr lang="en-US" sz="1041" b="1" kern="1200" dirty="0">
                <a:solidFill>
                  <a:srgbClr val="000000"/>
                </a:solidFill>
                <a:latin typeface="Calibri" panose="020F0502020204030204"/>
                <a:ea typeface="+mn-ea"/>
                <a:cs typeface="+mn-cs"/>
              </a:rPr>
              <a:t>25	Disclaimer.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25.1	It is understood and agreed that the Services may include advice and recommendations provided by Deloitte, but all decisions in connection with the implementation of such advice and recommendations shall be the responsibility of, and made by, the Client.</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25.2	Deliverables are supplied on the basis that they are for the sole internal use of the Client and for the exclusive purpose set out therein. Deloitte shall not be liable for any loss, damages, costs or expenses directly or indirectly incurred by any party other than the Client as stated above, who may rely upon the Deliverables for whatsoever reason.</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25.3	Any advice, recommendation, report, certificate, schedule or other Deliverable arising from or in connection with the Services under this Agreement will be for the sole use of the Client.  No person other than the Client shall be entitled to make use of any Deliverable, unless this has been agreed to in writing between the Parties, in advance, and subject to terms agreed between the Parties.</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25.4	Any such advice, recommendation, report, certificate, schedule or other Deliverable is based on the particular facts and circumstances of the Client at a particular point in time.  Consequently, such advice, recommendation, report, certificate, schedule or other Deliverable may not be relevant to another Party or at a different time and under different circumstances.</a:t>
            </a:r>
          </a:p>
          <a:p>
            <a:pPr marL="362481" indent="-634342" algn="just" defTabSz="1208241" hangingPunct="1">
              <a:spcBef>
                <a:spcPts val="591"/>
              </a:spcBef>
              <a:defRPr/>
            </a:pPr>
            <a:endParaRPr lang="en-US" sz="891" kern="1200" dirty="0">
              <a:solidFill>
                <a:srgbClr val="000000"/>
              </a:solidFill>
              <a:latin typeface="Calibri" panose="020F0502020204030204"/>
              <a:ea typeface="+mn-ea"/>
              <a:cs typeface="+mn-cs"/>
            </a:endParaRPr>
          </a:p>
        </p:txBody>
      </p:sp>
    </p:spTree>
    <p:extLst>
      <p:ext uri="{BB962C8B-B14F-4D97-AF65-F5344CB8AC3E}">
        <p14:creationId xmlns:p14="http://schemas.microsoft.com/office/powerpoint/2010/main" val="2363872993"/>
      </p:ext>
    </p:extLst>
  </p:cSld>
  <p:clrMapOvr>
    <a:masterClrMapping/>
  </p:clrMapOvr>
  <p:transition spd="med"/>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914314-A01C-44E3-AC84-C79B490DD84B}"/>
              </a:ext>
            </a:extLst>
          </p:cNvPr>
          <p:cNvSpPr>
            <a:spLocks noGrp="1"/>
          </p:cNvSpPr>
          <p:nvPr>
            <p:ph type="title"/>
          </p:nvPr>
        </p:nvSpPr>
        <p:spPr/>
        <p:txBody>
          <a:bodyPr/>
          <a:lstStyle/>
          <a:p>
            <a:r>
              <a:rPr lang="en-US" dirty="0">
                <a:latin typeface="+mn-lt"/>
              </a:rPr>
              <a:t>General Business Terms and Conditions (17 of 18)</a:t>
            </a:r>
          </a:p>
        </p:txBody>
      </p:sp>
      <p:sp>
        <p:nvSpPr>
          <p:cNvPr id="2" name="TextBox 1">
            <a:extLst>
              <a:ext uri="{FF2B5EF4-FFF2-40B4-BE49-F238E27FC236}">
                <a16:creationId xmlns:a16="http://schemas.microsoft.com/office/drawing/2014/main" id="{DF740298-85D1-1DC6-CEC2-9F1B7E199CF3}"/>
              </a:ext>
            </a:extLst>
          </p:cNvPr>
          <p:cNvSpPr txBox="1"/>
          <p:nvPr/>
        </p:nvSpPr>
        <p:spPr bwMode="gray">
          <a:xfrm>
            <a:off x="522377" y="761808"/>
            <a:ext cx="10342039" cy="5549288"/>
          </a:xfrm>
          <a:prstGeom prst="rect">
            <a:avLst/>
          </a:prstGeom>
          <a:noFill/>
        </p:spPr>
        <p:txBody>
          <a:bodyPr wrap="square">
            <a:spAutoFit/>
          </a:bodyPr>
          <a:lstStyle/>
          <a:p>
            <a:pPr marL="362481" indent="-634342" algn="just" defTabSz="1208241" hangingPunct="1">
              <a:spcBef>
                <a:spcPts val="591"/>
              </a:spcBef>
              <a:defRPr/>
            </a:pPr>
            <a:r>
              <a:rPr lang="en-US" sz="1041" b="1" kern="1200" dirty="0">
                <a:solidFill>
                  <a:srgbClr val="000000"/>
                </a:solidFill>
                <a:latin typeface="Calibri" panose="020F0502020204030204"/>
                <a:ea typeface="+mn-ea"/>
                <a:cs typeface="+mn-cs"/>
              </a:rPr>
              <a:t>26	Special Terms.</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26.1	Deloitte Auditor Independence.</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26.1.1	Deloitte is committed to fully complying with the Code of Professional Conduct for Registered Auditors, and the Code of Ethics for Professional Accountants of IFAC 	(International Federation of Accountants), and the legal requirements of stock exchanges around the world, all as amended from time to time, which require a 	multidisciplinary firm like Deloitte to maintain, and to be seen to maintain, its independence as auditors when rendering non-audit services to, and forming business  	relationships with, audit clients.</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26.1.2	In the context of the codes referenced above, Deloitte is at times precluded from rendering certain consulting services to, or forming business relationships with, 	companies that are subsidiaries of, or affiliates of, any company that is listed (or intends listing) on the New York Stock Exchange or the London Stock Exchange, 	or  any other national stock exchange, or which has a subsidiary or affiliate that is listed in the United States or the United Kingdom or elsewhere, for which any D&amp;T 	Party is an appointed external auditor. The restrictions described in this clause also apply to Deloitte forming business relationships with the management of any such  	companies in their personal capacities.</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26.1.3	Deloitte is also restricted from rendering certain consulting services to, or forming business relationships with, other audit clients of any of the D&amp;T Parties, or their 	subsidiaries or affiliates, which do not fall into the categories listed in clause 26.1.2 above, including listed and unlisted audit clients unless such services are 	permissible.</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26.1.4	Deloitte and the Client agree to take all reasonable actions to resolve any constraints resulting from this clause 26 without delay.  Should it not be possible to resolve 	any such constraints, Deloitte reserves the right to terminate the Agreement in terms of clause 9 of this Agreement.</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26.2	Termination due to Auditor Independence.</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	Deloitte may, without incurring any penalty, terminate this Agreement in whole or in part, with immediate effect upon written notice to the Client if Deloitte determines that (i) a governmental, regulatory, or professional entity or other entity having the force of law has introduced a new, or modified an existing law, rule, regulation, interpretation, or decision, the result of which would render Deloitte’s performance of any part of this Agreement illegal or otherwise unlawful or in conflict with independence or professional rules or (ii) circumstances change (including, without limitation, changes in ownership of the Client or of its Affiliates, so that Deloitte’s performance of any part of this Agreement would be illegal or otherwise unlawful or in conflict with independence or professional rules.  </a:t>
            </a:r>
          </a:p>
          <a:p>
            <a:pPr marL="362481" indent="-634342" algn="just" defTabSz="1208241" hangingPunct="1">
              <a:spcBef>
                <a:spcPts val="591"/>
              </a:spcBef>
              <a:defRPr/>
            </a:pPr>
            <a:endParaRPr lang="en-US" sz="1041" b="1" kern="1200" dirty="0">
              <a:solidFill>
                <a:srgbClr val="000000"/>
              </a:solidFill>
              <a:latin typeface="Calibri" panose="020F0502020204030204"/>
              <a:ea typeface="+mn-ea"/>
              <a:cs typeface="+mn-cs"/>
            </a:endParaRPr>
          </a:p>
          <a:p>
            <a:pPr marL="362481" indent="-634342" algn="just" defTabSz="1208241" hangingPunct="1">
              <a:spcBef>
                <a:spcPts val="591"/>
              </a:spcBef>
              <a:defRPr/>
            </a:pPr>
            <a:r>
              <a:rPr lang="en-US" sz="1041" b="1" kern="1200" dirty="0">
                <a:solidFill>
                  <a:srgbClr val="000000"/>
                </a:solidFill>
                <a:latin typeface="Calibri" panose="020F0502020204030204"/>
                <a:ea typeface="+mn-ea"/>
                <a:cs typeface="+mn-cs"/>
              </a:rPr>
              <a:t>27	Non-Exclusivity.</a:t>
            </a:r>
          </a:p>
          <a:p>
            <a:pPr marL="362481" indent="-634342" algn="just" defTabSz="1208241" hangingPunct="1">
              <a:spcBef>
                <a:spcPts val="591"/>
              </a:spcBef>
              <a:defRPr/>
            </a:pPr>
            <a:r>
              <a:rPr lang="en-US" sz="1041" b="1" kern="1200" dirty="0">
                <a:solidFill>
                  <a:srgbClr val="000000"/>
                </a:solidFill>
                <a:latin typeface="Calibri" panose="020F0502020204030204"/>
                <a:ea typeface="+mn-ea"/>
                <a:cs typeface="+mn-cs"/>
              </a:rPr>
              <a:t>	</a:t>
            </a:r>
            <a:r>
              <a:rPr lang="en-US" sz="1041" kern="1200" dirty="0">
                <a:solidFill>
                  <a:srgbClr val="000000"/>
                </a:solidFill>
                <a:latin typeface="Calibri" panose="020F0502020204030204"/>
                <a:ea typeface="+mn-ea"/>
                <a:cs typeface="+mn-cs"/>
              </a:rPr>
              <a:t>The Client acknowledges that the D&amp;T Parties render audit, accounting, financial services, management consulting, consultants, and a variety of other services to a large and diverse range of clients.  The rendering of the Services to the Client will not prevent Deloitte or D&amp;T Parties from rendering the same or similar Services to other parties, some of whom could be competitors of the Client or who may be in conflict with the Client.  In addition, the existence of this Agreement will not prevent Deloitte or D&amp;T Parties from establishing similar agreements with other parties. </a:t>
            </a:r>
          </a:p>
          <a:p>
            <a:pPr marL="362481" indent="-634342" algn="just" defTabSz="1208241" hangingPunct="1">
              <a:spcBef>
                <a:spcPts val="591"/>
              </a:spcBef>
              <a:defRPr/>
            </a:pPr>
            <a:endParaRPr lang="en-US" sz="891" kern="1200" dirty="0">
              <a:solidFill>
                <a:srgbClr val="000000"/>
              </a:solidFill>
              <a:latin typeface="Calibri" panose="020F0502020204030204"/>
              <a:ea typeface="+mn-ea"/>
              <a:cs typeface="+mn-cs"/>
            </a:endParaRPr>
          </a:p>
        </p:txBody>
      </p:sp>
    </p:spTree>
    <p:extLst>
      <p:ext uri="{BB962C8B-B14F-4D97-AF65-F5344CB8AC3E}">
        <p14:creationId xmlns:p14="http://schemas.microsoft.com/office/powerpoint/2010/main" val="3991306445"/>
      </p:ext>
    </p:extLst>
  </p:cSld>
  <p:clrMapOvr>
    <a:masterClrMapping/>
  </p:clrMapOvr>
  <p:transition spd="med"/>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914314-A01C-44E3-AC84-C79B490DD84B}"/>
              </a:ext>
            </a:extLst>
          </p:cNvPr>
          <p:cNvSpPr>
            <a:spLocks noGrp="1"/>
          </p:cNvSpPr>
          <p:nvPr>
            <p:ph type="title"/>
          </p:nvPr>
        </p:nvSpPr>
        <p:spPr/>
        <p:txBody>
          <a:bodyPr/>
          <a:lstStyle/>
          <a:p>
            <a:r>
              <a:rPr lang="en-US" dirty="0">
                <a:latin typeface="+mn-lt"/>
              </a:rPr>
              <a:t>General Business Terms and Conditions (18 of 18)</a:t>
            </a:r>
          </a:p>
        </p:txBody>
      </p:sp>
      <p:sp>
        <p:nvSpPr>
          <p:cNvPr id="2" name="TextBox 1">
            <a:extLst>
              <a:ext uri="{FF2B5EF4-FFF2-40B4-BE49-F238E27FC236}">
                <a16:creationId xmlns:a16="http://schemas.microsoft.com/office/drawing/2014/main" id="{DE080E2E-572D-D34E-70FD-515636D767FC}"/>
              </a:ext>
            </a:extLst>
          </p:cNvPr>
          <p:cNvSpPr txBox="1"/>
          <p:nvPr/>
        </p:nvSpPr>
        <p:spPr bwMode="gray">
          <a:xfrm>
            <a:off x="522377" y="761807"/>
            <a:ext cx="10342039" cy="5556913"/>
          </a:xfrm>
          <a:prstGeom prst="rect">
            <a:avLst/>
          </a:prstGeom>
          <a:noFill/>
        </p:spPr>
        <p:txBody>
          <a:bodyPr wrap="square">
            <a:spAutoFit/>
          </a:bodyPr>
          <a:lstStyle/>
          <a:p>
            <a:pPr marL="362481" indent="-634342" algn="just" defTabSz="1208241" hangingPunct="1">
              <a:spcBef>
                <a:spcPts val="591"/>
              </a:spcBef>
              <a:defRPr/>
            </a:pPr>
            <a:r>
              <a:rPr lang="en-US" sz="1041" b="1" kern="1200" dirty="0">
                <a:solidFill>
                  <a:srgbClr val="000000"/>
                </a:solidFill>
                <a:latin typeface="Calibri" panose="020F0502020204030204"/>
                <a:ea typeface="+mn-ea"/>
                <a:cs typeface="+mn-cs"/>
              </a:rPr>
              <a:t>28	Entire Agreement, Validity and Duration.</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28.1	The Agreement, together with all Change Orders, constitutes the entire agreement between Deloitte and the Client as to their respective subject matters, and supersedes all other oral and written representations, understandings or agreements between them as to their respective subject matters.  Where there is a conflict between the terms contained in this Agreement and any prior written proposals, quotations or submissions provided by Deloitte to the Client regarding the Services under this Agreement, this Agreement (or the Change Order) will take preference.</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28.2	Should either Party wish to make any change to the body of this Agreement, including a Change Order, such change shall only take effect once made in writing and signed by both Parties.  The same restriction applies to the waiving of this requirement, which cannot be overridden verbally or by action implying intention.</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28.3	This Agreement shall be regarded as commencing on the Effective Date and shall, unless terminated earlier in terms of this Agreement, automatically terminate once the Services under this Agreement have been rendered by Deloitte and all monies related thereto have been paid over by the Client to Deloitte, unless a further agreement, replacing and superseding this Agreement, is established in writing between the Parties. </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28.4	All obligations created in this Agreement shall survive change or termination of the business relationship between the Parties, unless such obligations have been expressly terminated in writing by both Parties.</a:t>
            </a:r>
          </a:p>
          <a:p>
            <a:pPr marL="362481" indent="-634342" algn="just" defTabSz="1208241" hangingPunct="1">
              <a:spcBef>
                <a:spcPts val="591"/>
              </a:spcBef>
              <a:defRPr/>
            </a:pPr>
            <a:endParaRPr lang="en-US" sz="1041" b="1" kern="1200" dirty="0">
              <a:solidFill>
                <a:srgbClr val="000000"/>
              </a:solidFill>
              <a:latin typeface="Calibri" panose="020F0502020204030204"/>
              <a:ea typeface="+mn-ea"/>
              <a:cs typeface="+mn-cs"/>
            </a:endParaRPr>
          </a:p>
          <a:p>
            <a:pPr marL="362481" indent="-634342" algn="just" defTabSz="1208241" hangingPunct="1">
              <a:spcBef>
                <a:spcPts val="591"/>
              </a:spcBef>
              <a:defRPr/>
            </a:pPr>
            <a:r>
              <a:rPr lang="en-US" sz="1041" b="1" kern="1200" dirty="0">
                <a:solidFill>
                  <a:srgbClr val="000000"/>
                </a:solidFill>
                <a:latin typeface="Calibri" panose="020F0502020204030204"/>
                <a:ea typeface="+mn-ea"/>
                <a:cs typeface="+mn-cs"/>
              </a:rPr>
              <a:t>29	Anti-Corruption.</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29.1	Each contracting party hereby acknowledges and confirms that each has adopted a policy of zero tolerance to bribery and corruption, implementing a total ban of any corrupt practices and on any facilitation payments. Both parties, in connection to the performance of services, conform and shall continue to abide by the applicable legislation as currently exists or as may be amended from time to time; as well as the internal policies and procedures of each party developed and focused on combating bribery and corruption.</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29.2	In connection with its performance of services, each contracting party ensures that the parties and their employees shall be prohibited to offer make, consent to offer or make, any suspicious payment (in cash or valuable gifts) to any persons (including, but not limited to, private individuals, commercial entities and government public officials), and shall not solicit, accept or agree to accept from any person any corruption-related payments (cash or valuable gifts), whether directly or indirectly.</a:t>
            </a:r>
          </a:p>
          <a:p>
            <a:pPr marL="362481" indent="-634342" algn="just" defTabSz="1208241" hangingPunct="1">
              <a:spcBef>
                <a:spcPts val="591"/>
              </a:spcBef>
              <a:defRPr/>
            </a:pPr>
            <a:endParaRPr lang="en-US" sz="1041" kern="1200" dirty="0">
              <a:solidFill>
                <a:srgbClr val="000000"/>
              </a:solidFill>
              <a:latin typeface="Calibri" panose="020F0502020204030204"/>
              <a:ea typeface="+mn-ea"/>
              <a:cs typeface="+mn-cs"/>
            </a:endParaRPr>
          </a:p>
          <a:p>
            <a:pPr marL="362481" indent="-634342" algn="just" defTabSz="1208241" hangingPunct="1">
              <a:spcBef>
                <a:spcPts val="591"/>
              </a:spcBef>
              <a:defRPr/>
            </a:pPr>
            <a:r>
              <a:rPr lang="en-US" sz="1041" b="1" kern="1200" dirty="0">
                <a:solidFill>
                  <a:srgbClr val="000000"/>
                </a:solidFill>
                <a:latin typeface="Calibri" panose="020F0502020204030204"/>
                <a:ea typeface="+mn-ea"/>
                <a:cs typeface="+mn-cs"/>
              </a:rPr>
              <a:t>30	Respect and Inclusion Behaviors.</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30.1	In relation to the engagement, we each agree to foster a culture and working environment where our people treat each other with respect, courtesy and fairness (“Respect &amp; Inclusion Behaviors”). We are committed to encouraging and enabling conversations to address any behaviors that are not aligned with the Respect &amp; Inclusion Behaviors. If an individual would like to raise a concern, they should discuss the matter within their respective organizations in the first instance, following which a conversation between the Deloitte partner and the Client sponsor will be held to address the matter.</a:t>
            </a:r>
          </a:p>
          <a:p>
            <a:pPr marL="362481" indent="-634342" algn="just" defTabSz="1208241" hangingPunct="1">
              <a:spcBef>
                <a:spcPts val="591"/>
              </a:spcBef>
              <a:defRPr/>
            </a:pPr>
            <a:r>
              <a:rPr lang="en-US" sz="1041" kern="1200" dirty="0">
                <a:solidFill>
                  <a:srgbClr val="000000"/>
                </a:solidFill>
                <a:latin typeface="Calibri" panose="020F0502020204030204"/>
                <a:ea typeface="+mn-ea"/>
                <a:cs typeface="+mn-cs"/>
              </a:rPr>
              <a:t>30.2	The parties will communicate the steps taken to resolve the matter and will notify each other of the agreed outcomes in writing.</a:t>
            </a:r>
          </a:p>
          <a:p>
            <a:pPr marL="362481" indent="-634342" algn="just" defTabSz="1208241" hangingPunct="1">
              <a:spcBef>
                <a:spcPts val="591"/>
              </a:spcBef>
              <a:defRPr/>
            </a:pPr>
            <a:endParaRPr lang="en-US" sz="891" kern="1200" dirty="0">
              <a:solidFill>
                <a:srgbClr val="000000"/>
              </a:solidFill>
              <a:latin typeface="Calibri" panose="020F0502020204030204"/>
              <a:ea typeface="+mn-ea"/>
              <a:cs typeface="+mn-cs"/>
            </a:endParaRPr>
          </a:p>
        </p:txBody>
      </p:sp>
    </p:spTree>
    <p:extLst>
      <p:ext uri="{BB962C8B-B14F-4D97-AF65-F5344CB8AC3E}">
        <p14:creationId xmlns:p14="http://schemas.microsoft.com/office/powerpoint/2010/main" val="1758561628"/>
      </p:ext>
    </p:extLst>
  </p:cSld>
  <p:clrMapOvr>
    <a:masterClrMapping/>
  </p:clrMapOvr>
  <p:transition spd="med"/>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43BC2FB-FDD4-3591-1F09-C41141F44B08}"/>
              </a:ext>
            </a:extLst>
          </p:cNvPr>
          <p:cNvGrpSpPr/>
          <p:nvPr/>
        </p:nvGrpSpPr>
        <p:grpSpPr>
          <a:xfrm>
            <a:off x="412436" y="1160470"/>
            <a:ext cx="11252200" cy="5239548"/>
            <a:chOff x="405263" y="886614"/>
            <a:chExt cx="11429380" cy="5763504"/>
          </a:xfrm>
        </p:grpSpPr>
        <p:sp>
          <p:nvSpPr>
            <p:cNvPr id="71" name="Rectangle: Top Corners Rounded 59">
              <a:extLst>
                <a:ext uri="{FF2B5EF4-FFF2-40B4-BE49-F238E27FC236}">
                  <a16:creationId xmlns:a16="http://schemas.microsoft.com/office/drawing/2014/main" id="{8531E105-FB51-6AC6-26F1-2C5D5ABFDBBE}"/>
                </a:ext>
              </a:extLst>
            </p:cNvPr>
            <p:cNvSpPr/>
            <p:nvPr/>
          </p:nvSpPr>
          <p:spPr bwMode="gray">
            <a:xfrm rot="5400000">
              <a:off x="-522151" y="1981432"/>
              <a:ext cx="5722375" cy="3614997"/>
            </a:xfrm>
            <a:prstGeom prst="round2SameRect">
              <a:avLst/>
            </a:prstGeom>
            <a:solidFill>
              <a:srgbClr val="062F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72" name="Rectangle: Top Corners Rounded 60">
              <a:extLst>
                <a:ext uri="{FF2B5EF4-FFF2-40B4-BE49-F238E27FC236}">
                  <a16:creationId xmlns:a16="http://schemas.microsoft.com/office/drawing/2014/main" id="{C3A24B16-16E1-B05B-7262-BA418D6758B5}"/>
                </a:ext>
              </a:extLst>
            </p:cNvPr>
            <p:cNvSpPr/>
            <p:nvPr/>
          </p:nvSpPr>
          <p:spPr bwMode="gray">
            <a:xfrm rot="5400000">
              <a:off x="-648426" y="1981432"/>
              <a:ext cx="5722375" cy="3614997"/>
            </a:xfrm>
            <a:prstGeom prst="round2SameRect">
              <a:avLst/>
            </a:prstGeom>
            <a:solidFill>
              <a:schemeClr val="bg1"/>
            </a:solidFill>
            <a:ln w="19050" algn="ctr">
              <a:solidFill>
                <a:srgbClr val="062F87"/>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73" name="TextBox 72">
              <a:extLst>
                <a:ext uri="{FF2B5EF4-FFF2-40B4-BE49-F238E27FC236}">
                  <a16:creationId xmlns:a16="http://schemas.microsoft.com/office/drawing/2014/main" id="{6E0C33AD-4429-5DE0-2409-EA3E92314BCE}"/>
                </a:ext>
              </a:extLst>
            </p:cNvPr>
            <p:cNvSpPr txBox="1"/>
            <p:nvPr/>
          </p:nvSpPr>
          <p:spPr>
            <a:xfrm>
              <a:off x="455290" y="2215665"/>
              <a:ext cx="3528000" cy="4393306"/>
            </a:xfrm>
            <a:prstGeom prst="rect">
              <a:avLst/>
            </a:prstGeom>
            <a:noFill/>
          </p:spPr>
          <p:txBody>
            <a:bodyPr wrap="square" lIns="0" tIns="0" rIns="0" bIns="0" rtlCol="0">
              <a:spAutoFit/>
            </a:bodyPr>
            <a:lstStyle/>
            <a:p>
              <a:pPr>
                <a:spcBef>
                  <a:spcPts val="150"/>
                </a:spcBef>
                <a:spcAft>
                  <a:spcPts val="150"/>
                </a:spcAft>
              </a:pPr>
              <a:r>
                <a:rPr lang="en-US" sz="1050" b="1" dirty="0">
                  <a:solidFill>
                    <a:srgbClr val="04759A"/>
                  </a:solidFill>
                  <a:latin typeface="Calibri" panose="020F0502020204030204" pitchFamily="34" charset="0"/>
                  <a:cs typeface="Calibri" panose="020F0502020204030204" pitchFamily="34" charset="0"/>
                </a:rPr>
                <a:t>Client</a:t>
              </a:r>
            </a:p>
            <a:p>
              <a:pPr defTabSz="914400">
                <a:spcBef>
                  <a:spcPts val="150"/>
                </a:spcBef>
                <a:spcAft>
                  <a:spcPts val="150"/>
                </a:spcAft>
                <a:defRPr/>
              </a:pPr>
              <a:r>
                <a:rPr lang="en-US" sz="1200" b="1" dirty="0">
                  <a:solidFill>
                    <a:prstClr val="black"/>
                  </a:solidFill>
                  <a:latin typeface="Calibri" panose="020F0502020204030204" pitchFamily="34" charset="0"/>
                  <a:cs typeface="Calibri" panose="020F0502020204030204" pitchFamily="34" charset="0"/>
                </a:rPr>
                <a:t>solutions by stc</a:t>
              </a:r>
            </a:p>
            <a:p>
              <a:pPr>
                <a:spcBef>
                  <a:spcPts val="150"/>
                </a:spcBef>
                <a:spcAft>
                  <a:spcPts val="150"/>
                </a:spcAft>
              </a:pPr>
              <a:r>
                <a:rPr lang="en-US" sz="1050" dirty="0">
                  <a:solidFill>
                    <a:srgbClr val="000000"/>
                  </a:solidFill>
                  <a:latin typeface="Calibri" panose="020F0502020204030204" pitchFamily="34" charset="0"/>
                  <a:cs typeface="Calibri" panose="020F0502020204030204" pitchFamily="34" charset="0"/>
                </a:rPr>
                <a:t>Deloitte was engaged by STC Solutions to implement a holistic BCM Program and integrating it with the existing Enterprise Risk Management framework.</a:t>
              </a:r>
            </a:p>
            <a:p>
              <a:pPr>
                <a:spcBef>
                  <a:spcPts val="150"/>
                </a:spcBef>
                <a:spcAft>
                  <a:spcPts val="150"/>
                </a:spcAft>
              </a:pPr>
              <a:r>
                <a:rPr lang="en-US" sz="1050" b="1" dirty="0">
                  <a:solidFill>
                    <a:srgbClr val="04759A"/>
                  </a:solidFill>
                  <a:latin typeface="Calibri" panose="020F0502020204030204" pitchFamily="34" charset="0"/>
                  <a:cs typeface="Calibri" panose="020F0502020204030204" pitchFamily="34" charset="0"/>
                </a:rPr>
                <a:t>Services Provided</a:t>
              </a:r>
            </a:p>
            <a:p>
              <a:pPr marL="114300" indent="-114300" defTabSz="914400">
                <a:lnSpc>
                  <a:spcPct val="90000"/>
                </a:lnSpc>
                <a:spcBef>
                  <a:spcPts val="150"/>
                </a:spcBef>
                <a:spcAft>
                  <a:spcPts val="150"/>
                </a:spcAft>
                <a:buFont typeface="Arial" panose="020B0604020202020204" pitchFamily="34" charset="0"/>
                <a:buChar char="•"/>
                <a:defRPr/>
              </a:pPr>
              <a:r>
                <a:rPr lang="en-US" sz="1050" dirty="0">
                  <a:solidFill>
                    <a:prstClr val="black"/>
                  </a:solidFill>
                  <a:latin typeface="Calibri" panose="020F0502020204030204" pitchFamily="34" charset="0"/>
                  <a:cs typeface="Calibri" panose="020F0502020204030204" pitchFamily="34" charset="0"/>
                </a:rPr>
                <a:t>Establishing BCM governance policy and procedures </a:t>
              </a:r>
            </a:p>
            <a:p>
              <a:pPr marL="114300" indent="-114300" defTabSz="914400">
                <a:lnSpc>
                  <a:spcPct val="90000"/>
                </a:lnSpc>
                <a:spcBef>
                  <a:spcPts val="150"/>
                </a:spcBef>
                <a:spcAft>
                  <a:spcPts val="150"/>
                </a:spcAft>
                <a:buFont typeface="Arial" panose="020B0604020202020204" pitchFamily="34" charset="0"/>
                <a:buChar char="•"/>
                <a:defRPr/>
              </a:pPr>
              <a:r>
                <a:rPr lang="en-US" sz="1050" dirty="0">
                  <a:solidFill>
                    <a:prstClr val="black"/>
                  </a:solidFill>
                  <a:latin typeface="Calibri" panose="020F0502020204030204" pitchFamily="34" charset="0"/>
                  <a:cs typeface="Calibri" panose="020F0502020204030204" pitchFamily="34" charset="0"/>
                </a:rPr>
                <a:t>Performing Threat Risk Assessment and Business Impact Analysis for the entire organization identifying the time-critical services, business processes and their respective recovery requirements</a:t>
              </a:r>
            </a:p>
            <a:p>
              <a:pPr marL="114300" indent="-114300" defTabSz="914400">
                <a:lnSpc>
                  <a:spcPct val="90000"/>
                </a:lnSpc>
                <a:spcBef>
                  <a:spcPts val="150"/>
                </a:spcBef>
                <a:spcAft>
                  <a:spcPts val="150"/>
                </a:spcAft>
                <a:buFont typeface="Arial" panose="020B0604020202020204" pitchFamily="34" charset="0"/>
                <a:buChar char="•"/>
                <a:defRPr/>
              </a:pPr>
              <a:r>
                <a:rPr lang="en-US" sz="1050" dirty="0">
                  <a:solidFill>
                    <a:prstClr val="black"/>
                  </a:solidFill>
                  <a:latin typeface="Calibri" panose="020F0502020204030204" pitchFamily="34" charset="0"/>
                  <a:cs typeface="Calibri" panose="020F0502020204030204" pitchFamily="34" charset="0"/>
                </a:rPr>
                <a:t>Developed Business Continuity Plans and Recovery Strategies that will support solutions in recovering their time critical services and operations in a timely manner. </a:t>
              </a:r>
            </a:p>
            <a:p>
              <a:pPr marL="114300" indent="-114300" defTabSz="914400">
                <a:lnSpc>
                  <a:spcPct val="90000"/>
                </a:lnSpc>
                <a:spcBef>
                  <a:spcPts val="150"/>
                </a:spcBef>
                <a:spcAft>
                  <a:spcPts val="150"/>
                </a:spcAft>
                <a:buFont typeface="Arial" panose="020B0604020202020204" pitchFamily="34" charset="0"/>
                <a:buChar char="•"/>
                <a:defRPr/>
              </a:pPr>
              <a:r>
                <a:rPr lang="en-US" sz="1050" dirty="0">
                  <a:solidFill>
                    <a:prstClr val="black"/>
                  </a:solidFill>
                  <a:latin typeface="Calibri" panose="020F0502020204030204" pitchFamily="34" charset="0"/>
                  <a:cs typeface="Calibri" panose="020F0502020204030204" pitchFamily="34" charset="0"/>
                </a:rPr>
                <a:t>Developed Crisis Management and Crisis Communication Plans to assist the Senior Management address any adverse situation </a:t>
              </a:r>
            </a:p>
            <a:p>
              <a:pPr>
                <a:spcBef>
                  <a:spcPts val="150"/>
                </a:spcBef>
                <a:spcAft>
                  <a:spcPts val="150"/>
                </a:spcAft>
              </a:pPr>
              <a:r>
                <a:rPr lang="en-US" sz="1050" b="1" dirty="0">
                  <a:solidFill>
                    <a:srgbClr val="04759A"/>
                  </a:solidFill>
                  <a:latin typeface="Calibri" panose="020F0502020204030204" pitchFamily="34" charset="0"/>
                  <a:cs typeface="Calibri" panose="020F0502020204030204" pitchFamily="34" charset="0"/>
                </a:rPr>
                <a:t>Impact Delivered</a:t>
              </a:r>
            </a:p>
            <a:p>
              <a:pPr marL="114300" indent="-114300" defTabSz="914400">
                <a:lnSpc>
                  <a:spcPct val="90000"/>
                </a:lnSpc>
                <a:spcBef>
                  <a:spcPts val="150"/>
                </a:spcBef>
                <a:spcAft>
                  <a:spcPts val="150"/>
                </a:spcAft>
                <a:buFont typeface="Arial" panose="020B0604020202020204" pitchFamily="34" charset="0"/>
                <a:buChar char="•"/>
                <a:defRPr/>
              </a:pPr>
              <a:r>
                <a:rPr lang="en-US" sz="1050" dirty="0">
                  <a:solidFill>
                    <a:prstClr val="black"/>
                  </a:solidFill>
                  <a:latin typeface="Calibri" panose="020F0502020204030204" pitchFamily="34" charset="0"/>
                  <a:cs typeface="Calibri" panose="020F0502020204030204" pitchFamily="34" charset="0"/>
                </a:rPr>
                <a:t>Conducted several trainings and tabletop exercises for BCPs and Crisis Management Plan</a:t>
              </a:r>
            </a:p>
            <a:p>
              <a:pPr marL="114300" indent="-114300" defTabSz="914400">
                <a:lnSpc>
                  <a:spcPct val="90000"/>
                </a:lnSpc>
                <a:spcBef>
                  <a:spcPts val="150"/>
                </a:spcBef>
                <a:spcAft>
                  <a:spcPts val="150"/>
                </a:spcAft>
                <a:buFont typeface="Arial" panose="020B0604020202020204" pitchFamily="34" charset="0"/>
                <a:buChar char="•"/>
                <a:defRPr/>
              </a:pPr>
              <a:r>
                <a:rPr lang="en-US" sz="1050" dirty="0">
                  <a:solidFill>
                    <a:prstClr val="black"/>
                  </a:solidFill>
                  <a:latin typeface="Calibri" panose="020F0502020204030204" pitchFamily="34" charset="0"/>
                  <a:cs typeface="Calibri" panose="020F0502020204030204" pitchFamily="34" charset="0"/>
                </a:rPr>
                <a:t>Based on the BCMS developed and implemented by Deloitte, STC Solutions obtained ISO 22301 Certification in 2020</a:t>
              </a:r>
              <a:r>
                <a:rPr lang="en-US" sz="1050" dirty="0">
                  <a:latin typeface="Calibri" panose="020F0502020204030204" pitchFamily="34" charset="0"/>
                  <a:cs typeface="Calibri" panose="020F0502020204030204" pitchFamily="34" charset="0"/>
                </a:rPr>
                <a:t>.</a:t>
              </a:r>
            </a:p>
          </p:txBody>
        </p:sp>
        <p:sp>
          <p:nvSpPr>
            <p:cNvPr id="74" name="Rectangle: Top Corners Rounded 59">
              <a:extLst>
                <a:ext uri="{FF2B5EF4-FFF2-40B4-BE49-F238E27FC236}">
                  <a16:creationId xmlns:a16="http://schemas.microsoft.com/office/drawing/2014/main" id="{335CCE8B-4D88-F78A-B60E-35B7126CF95D}"/>
                </a:ext>
              </a:extLst>
            </p:cNvPr>
            <p:cNvSpPr/>
            <p:nvPr/>
          </p:nvSpPr>
          <p:spPr bwMode="gray">
            <a:xfrm rot="5400000">
              <a:off x="3321903" y="1944361"/>
              <a:ext cx="5722375" cy="3614997"/>
            </a:xfrm>
            <a:prstGeom prst="round2SameRect">
              <a:avLst/>
            </a:prstGeom>
            <a:solidFill>
              <a:srgbClr val="0076A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77" name="Rectangle: Top Corners Rounded 60">
              <a:extLst>
                <a:ext uri="{FF2B5EF4-FFF2-40B4-BE49-F238E27FC236}">
                  <a16:creationId xmlns:a16="http://schemas.microsoft.com/office/drawing/2014/main" id="{0D337ED1-B5F7-3A9A-C4FE-D8404BC6931A}"/>
                </a:ext>
              </a:extLst>
            </p:cNvPr>
            <p:cNvSpPr/>
            <p:nvPr/>
          </p:nvSpPr>
          <p:spPr bwMode="gray">
            <a:xfrm rot="5400000">
              <a:off x="3195628" y="1944361"/>
              <a:ext cx="5722375" cy="3614997"/>
            </a:xfrm>
            <a:prstGeom prst="round2SameRect">
              <a:avLst/>
            </a:prstGeom>
            <a:solidFill>
              <a:schemeClr val="bg1"/>
            </a:solidFill>
            <a:ln w="19050" algn="ctr">
              <a:solidFill>
                <a:srgbClr val="0076A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78" name="Rectangle: Top Corners Rounded 59">
              <a:extLst>
                <a:ext uri="{FF2B5EF4-FFF2-40B4-BE49-F238E27FC236}">
                  <a16:creationId xmlns:a16="http://schemas.microsoft.com/office/drawing/2014/main" id="{7054FBEE-1429-5322-1AE5-E3FD5E95F90E}"/>
                </a:ext>
              </a:extLst>
            </p:cNvPr>
            <p:cNvSpPr/>
            <p:nvPr/>
          </p:nvSpPr>
          <p:spPr bwMode="gray">
            <a:xfrm rot="5400000">
              <a:off x="7165957" y="1940303"/>
              <a:ext cx="5722375" cy="3614997"/>
            </a:xfrm>
            <a:prstGeom prst="round2SameRect">
              <a:avLst/>
            </a:prstGeom>
            <a:solidFill>
              <a:srgbClr val="0076A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79" name="Rectangle: Top Corners Rounded 60">
              <a:extLst>
                <a:ext uri="{FF2B5EF4-FFF2-40B4-BE49-F238E27FC236}">
                  <a16:creationId xmlns:a16="http://schemas.microsoft.com/office/drawing/2014/main" id="{63AA4366-397B-E14F-596D-09D7328DC1E2}"/>
                </a:ext>
              </a:extLst>
            </p:cNvPr>
            <p:cNvSpPr/>
            <p:nvPr/>
          </p:nvSpPr>
          <p:spPr bwMode="gray">
            <a:xfrm rot="5400000">
              <a:off x="7039682" y="1940303"/>
              <a:ext cx="5722375" cy="3614997"/>
            </a:xfrm>
            <a:prstGeom prst="round2SameRect">
              <a:avLst/>
            </a:prstGeom>
            <a:solidFill>
              <a:schemeClr val="bg1"/>
            </a:solidFill>
            <a:ln w="19050" algn="ctr">
              <a:solidFill>
                <a:srgbClr val="00ABAB"/>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80" name="TextBox 79">
              <a:extLst>
                <a:ext uri="{FF2B5EF4-FFF2-40B4-BE49-F238E27FC236}">
                  <a16:creationId xmlns:a16="http://schemas.microsoft.com/office/drawing/2014/main" id="{BD9DE7C9-0D89-AAC1-B73C-A2D18A15BCB3}"/>
                </a:ext>
              </a:extLst>
            </p:cNvPr>
            <p:cNvSpPr txBox="1"/>
            <p:nvPr/>
          </p:nvSpPr>
          <p:spPr>
            <a:xfrm>
              <a:off x="4292815" y="2192243"/>
              <a:ext cx="3528000" cy="4159139"/>
            </a:xfrm>
            <a:prstGeom prst="rect">
              <a:avLst/>
            </a:prstGeom>
            <a:noFill/>
          </p:spPr>
          <p:txBody>
            <a:bodyPr wrap="square" lIns="0" tIns="0" rIns="0" bIns="0" rtlCol="0">
              <a:spAutoFit/>
            </a:bodyPr>
            <a:lstStyle/>
            <a:p>
              <a:pPr>
                <a:spcBef>
                  <a:spcPts val="150"/>
                </a:spcBef>
                <a:spcAft>
                  <a:spcPts val="150"/>
                </a:spcAft>
              </a:pPr>
              <a:r>
                <a:rPr lang="en-US" sz="1050" b="1" dirty="0">
                  <a:solidFill>
                    <a:srgbClr val="04759A"/>
                  </a:solidFill>
                  <a:latin typeface="Calibri" panose="020F0502020204030204" pitchFamily="34" charset="0"/>
                  <a:cs typeface="Calibri" panose="020F0502020204030204" pitchFamily="34" charset="0"/>
                </a:rPr>
                <a:t>Client</a:t>
              </a:r>
            </a:p>
            <a:p>
              <a:pPr>
                <a:spcBef>
                  <a:spcPts val="150"/>
                </a:spcBef>
                <a:spcAft>
                  <a:spcPts val="150"/>
                </a:spcAft>
              </a:pPr>
              <a:r>
                <a:rPr lang="en-US" sz="1200" b="1" dirty="0">
                  <a:solidFill>
                    <a:prstClr val="black"/>
                  </a:solidFill>
                  <a:latin typeface="Calibri" panose="020F0502020204030204" pitchFamily="34" charset="0"/>
                  <a:cs typeface="Calibri" panose="020F0502020204030204" pitchFamily="34" charset="0"/>
                </a:rPr>
                <a:t>channels by stc</a:t>
              </a:r>
            </a:p>
            <a:p>
              <a:pPr>
                <a:spcBef>
                  <a:spcPts val="150"/>
                </a:spcBef>
                <a:spcAft>
                  <a:spcPts val="150"/>
                </a:spcAft>
              </a:pPr>
              <a:r>
                <a:rPr lang="en-US" sz="1050" dirty="0">
                  <a:solidFill>
                    <a:prstClr val="black"/>
                  </a:solidFill>
                  <a:latin typeface="Calibri" panose="020F0502020204030204" pitchFamily="34" charset="0"/>
                  <a:cs typeface="Calibri" panose="020F0502020204030204" pitchFamily="34" charset="0"/>
                </a:rPr>
                <a:t>Deloitte was engaged by STC Channels to review and update channels‘ existing BCM program.</a:t>
              </a:r>
              <a:endParaRPr lang="en-US" sz="1050" dirty="0">
                <a:latin typeface="Calibri" panose="020F0502020204030204" pitchFamily="34" charset="0"/>
                <a:cs typeface="Calibri" panose="020F0502020204030204" pitchFamily="34" charset="0"/>
              </a:endParaRPr>
            </a:p>
            <a:p>
              <a:pPr>
                <a:spcBef>
                  <a:spcPts val="150"/>
                </a:spcBef>
                <a:spcAft>
                  <a:spcPts val="150"/>
                </a:spcAft>
              </a:pPr>
              <a:r>
                <a:rPr lang="en-US" sz="1050" b="1" dirty="0">
                  <a:solidFill>
                    <a:srgbClr val="04759A"/>
                  </a:solidFill>
                  <a:latin typeface="Calibri" panose="020F0502020204030204" pitchFamily="34" charset="0"/>
                  <a:cs typeface="Calibri" panose="020F0502020204030204" pitchFamily="34" charset="0"/>
                </a:rPr>
                <a:t>Services Provided</a:t>
              </a:r>
            </a:p>
            <a:p>
              <a:pPr marL="114300" indent="-114300" defTabSz="914400">
                <a:lnSpc>
                  <a:spcPct val="90000"/>
                </a:lnSpc>
                <a:spcBef>
                  <a:spcPts val="150"/>
                </a:spcBef>
                <a:spcAft>
                  <a:spcPts val="150"/>
                </a:spcAft>
                <a:buFont typeface="Arial" panose="020B0604020202020204" pitchFamily="34" charset="0"/>
                <a:buChar char="•"/>
                <a:defRPr/>
              </a:pPr>
              <a:r>
                <a:rPr lang="en-US" sz="1050" dirty="0">
                  <a:solidFill>
                    <a:prstClr val="black"/>
                  </a:solidFill>
                  <a:latin typeface="Calibri" panose="020F0502020204030204" pitchFamily="34" charset="0"/>
                  <a:cs typeface="Calibri" panose="020F0502020204030204" pitchFamily="34" charset="0"/>
                </a:rPr>
                <a:t>Review and enhance the overall BCM Program governance and framework</a:t>
              </a:r>
            </a:p>
            <a:p>
              <a:pPr marL="114300" indent="-114300" defTabSz="914400">
                <a:lnSpc>
                  <a:spcPct val="90000"/>
                </a:lnSpc>
                <a:spcBef>
                  <a:spcPts val="150"/>
                </a:spcBef>
                <a:spcAft>
                  <a:spcPts val="150"/>
                </a:spcAft>
                <a:buFont typeface="Arial" panose="020B0604020202020204" pitchFamily="34" charset="0"/>
                <a:buChar char="•"/>
                <a:defRPr/>
              </a:pPr>
              <a:r>
                <a:rPr lang="en-US" sz="1050" dirty="0">
                  <a:solidFill>
                    <a:prstClr val="black"/>
                  </a:solidFill>
                  <a:latin typeface="Calibri" panose="020F0502020204030204" pitchFamily="34" charset="0"/>
                  <a:cs typeface="Calibri" panose="020F0502020204030204" pitchFamily="34" charset="0"/>
                </a:rPr>
                <a:t>Conduct Business Impact Analysis and Threat Risk Assessment for the organization’s departments and services, identifying critical services and products, associated processes and their recovery requirements</a:t>
              </a:r>
            </a:p>
            <a:p>
              <a:pPr marL="114300" indent="-114300" defTabSz="914400">
                <a:lnSpc>
                  <a:spcPct val="90000"/>
                </a:lnSpc>
                <a:spcBef>
                  <a:spcPts val="150"/>
                </a:spcBef>
                <a:spcAft>
                  <a:spcPts val="150"/>
                </a:spcAft>
                <a:buFont typeface="Arial" panose="020B0604020202020204" pitchFamily="34" charset="0"/>
                <a:buChar char="•"/>
                <a:defRPr/>
              </a:pPr>
              <a:r>
                <a:rPr lang="en-US" sz="1050" dirty="0">
                  <a:solidFill>
                    <a:prstClr val="black"/>
                  </a:solidFill>
                  <a:latin typeface="Calibri" panose="020F0502020204030204" pitchFamily="34" charset="0"/>
                  <a:cs typeface="Calibri" panose="020F0502020204030204" pitchFamily="34" charset="0"/>
                </a:rPr>
                <a:t>Develop recovery strategies to support recovering critical services and the associated processes within the recovery timeframes, and documented the continuity plans</a:t>
              </a:r>
            </a:p>
            <a:p>
              <a:pPr marL="114300" indent="-114300" defTabSz="914400">
                <a:lnSpc>
                  <a:spcPct val="90000"/>
                </a:lnSpc>
                <a:spcBef>
                  <a:spcPts val="150"/>
                </a:spcBef>
                <a:spcAft>
                  <a:spcPts val="150"/>
                </a:spcAft>
                <a:buFont typeface="Arial" panose="020B0604020202020204" pitchFamily="34" charset="0"/>
                <a:buChar char="•"/>
                <a:defRPr/>
              </a:pPr>
              <a:r>
                <a:rPr lang="en-US" sz="1050" dirty="0">
                  <a:solidFill>
                    <a:prstClr val="black"/>
                  </a:solidFill>
                  <a:latin typeface="Calibri" panose="020F0502020204030204" pitchFamily="34" charset="0"/>
                  <a:cs typeface="Calibri" panose="020F0502020204030204" pitchFamily="34" charset="0"/>
                </a:rPr>
                <a:t>Developed Crisis Management and Crisis Communication Plans to assist the Senior Management address any adverse situation </a:t>
              </a:r>
              <a:r>
                <a:rPr lang="en-US" sz="1050" dirty="0">
                  <a:latin typeface="Calibri" panose="020F0502020204030204" pitchFamily="34" charset="0"/>
                  <a:cs typeface="Calibri" panose="020F0502020204030204" pitchFamily="34" charset="0"/>
                </a:rPr>
                <a:t>.</a:t>
              </a:r>
            </a:p>
            <a:p>
              <a:pPr>
                <a:spcBef>
                  <a:spcPts val="150"/>
                </a:spcBef>
                <a:spcAft>
                  <a:spcPts val="150"/>
                </a:spcAft>
              </a:pPr>
              <a:r>
                <a:rPr lang="en-US" sz="1050" b="1" dirty="0">
                  <a:solidFill>
                    <a:srgbClr val="04759A"/>
                  </a:solidFill>
                  <a:latin typeface="Calibri" panose="020F0502020204030204" pitchFamily="34" charset="0"/>
                  <a:cs typeface="Calibri" panose="020F0502020204030204" pitchFamily="34" charset="0"/>
                </a:rPr>
                <a:t>Impact Delivered</a:t>
              </a:r>
              <a:endParaRPr lang="en-US" sz="1050" dirty="0">
                <a:latin typeface="Calibri" panose="020F0502020204030204" pitchFamily="34" charset="0"/>
                <a:cs typeface="Calibri" panose="020F0502020204030204" pitchFamily="34" charset="0"/>
              </a:endParaRPr>
            </a:p>
            <a:p>
              <a:pPr marL="114300" indent="-114300" defTabSz="914400">
                <a:lnSpc>
                  <a:spcPct val="90000"/>
                </a:lnSpc>
                <a:spcBef>
                  <a:spcPts val="150"/>
                </a:spcBef>
                <a:spcAft>
                  <a:spcPts val="150"/>
                </a:spcAft>
                <a:buFont typeface="Arial" panose="020B0604020202020204" pitchFamily="34" charset="0"/>
                <a:buChar char="•"/>
                <a:defRPr/>
              </a:pPr>
              <a:r>
                <a:rPr lang="en-US" sz="1050" dirty="0">
                  <a:solidFill>
                    <a:prstClr val="black"/>
                  </a:solidFill>
                  <a:latin typeface="Calibri" panose="020F0502020204030204" pitchFamily="34" charset="0"/>
                  <a:cs typeface="Calibri" panose="020F0502020204030204" pitchFamily="34" charset="0"/>
                </a:rPr>
                <a:t>Conducted several trainings and tabletop exercises for BCPs and Crisis Management Plan, enabling Channels enhance its preparedness for disruptive incidents</a:t>
              </a:r>
              <a:r>
                <a:rPr lang="en-US" sz="1050" dirty="0">
                  <a:latin typeface="Calibri" panose="020F0502020204030204" pitchFamily="34" charset="0"/>
                  <a:cs typeface="Calibri" panose="020F0502020204030204" pitchFamily="34" charset="0"/>
                </a:rPr>
                <a:t>.</a:t>
              </a:r>
            </a:p>
          </p:txBody>
        </p:sp>
        <p:sp>
          <p:nvSpPr>
            <p:cNvPr id="81" name="TextBox 80">
              <a:extLst>
                <a:ext uri="{FF2B5EF4-FFF2-40B4-BE49-F238E27FC236}">
                  <a16:creationId xmlns:a16="http://schemas.microsoft.com/office/drawing/2014/main" id="{338C64A5-495B-18DF-0A06-F22EE2A40821}"/>
                </a:ext>
              </a:extLst>
            </p:cNvPr>
            <p:cNvSpPr txBox="1"/>
            <p:nvPr/>
          </p:nvSpPr>
          <p:spPr>
            <a:xfrm>
              <a:off x="8138880" y="2210781"/>
              <a:ext cx="3528000" cy="3902967"/>
            </a:xfrm>
            <a:prstGeom prst="rect">
              <a:avLst/>
            </a:prstGeom>
            <a:noFill/>
          </p:spPr>
          <p:txBody>
            <a:bodyPr wrap="square" lIns="0" tIns="0" rIns="0" bIns="0" rtlCol="0">
              <a:spAutoFit/>
            </a:bodyPr>
            <a:lstStyle/>
            <a:p>
              <a:pPr>
                <a:spcBef>
                  <a:spcPts val="150"/>
                </a:spcBef>
                <a:spcAft>
                  <a:spcPts val="150"/>
                </a:spcAft>
              </a:pPr>
              <a:r>
                <a:rPr lang="en-US" sz="1050" b="1" dirty="0">
                  <a:solidFill>
                    <a:srgbClr val="04759A"/>
                  </a:solidFill>
                  <a:latin typeface="Calibri" panose="020F0502020204030204" pitchFamily="34" charset="0"/>
                  <a:cs typeface="Calibri" panose="020F0502020204030204" pitchFamily="34" charset="0"/>
                </a:rPr>
                <a:t>Client</a:t>
              </a:r>
            </a:p>
            <a:p>
              <a:pPr>
                <a:spcBef>
                  <a:spcPts val="150"/>
                </a:spcBef>
                <a:spcAft>
                  <a:spcPts val="150"/>
                </a:spcAft>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tc Pay</a:t>
              </a:r>
            </a:p>
            <a:p>
              <a:pPr marL="0" marR="0" lvl="0" indent="0" algn="l" defTabSz="914400" rtl="0" eaLnBrk="1" fontAlgn="auto" latinLnBrk="0" hangingPunct="1">
                <a:lnSpc>
                  <a:spcPct val="100000"/>
                </a:lnSpc>
                <a:spcBef>
                  <a:spcPts val="15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eloitte was engaged by stc Pay to establish develop its business continuity and disaster recovery capabilities in line with ISO 22301 and SAMA BCM Framework requirements.</a:t>
              </a:r>
            </a:p>
            <a:p>
              <a:pPr>
                <a:spcBef>
                  <a:spcPts val="150"/>
                </a:spcBef>
                <a:spcAft>
                  <a:spcPts val="150"/>
                </a:spcAft>
              </a:pPr>
              <a:r>
                <a:rPr lang="en-US" sz="1050" b="1" dirty="0">
                  <a:solidFill>
                    <a:srgbClr val="04759A"/>
                  </a:solidFill>
                  <a:latin typeface="Calibri" panose="020F0502020204030204" pitchFamily="34" charset="0"/>
                  <a:cs typeface="Calibri" panose="020F0502020204030204" pitchFamily="34" charset="0"/>
                </a:rPr>
                <a:t>Services Provided</a:t>
              </a:r>
            </a:p>
            <a:p>
              <a:pPr marL="114300" marR="0" lvl="0" indent="-114300" algn="l" defTabSz="914400" rtl="0" eaLnBrk="1" fontAlgn="auto" latinLnBrk="0" hangingPunct="1">
                <a:lnSpc>
                  <a:spcPct val="90000"/>
                </a:lnSpc>
                <a:spcBef>
                  <a:spcPts val="150"/>
                </a:spcBef>
                <a:spcAft>
                  <a:spcPts val="15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evelop BCM Policy, Governance and manual setting establishing the base for BCMS.</a:t>
              </a:r>
            </a:p>
            <a:p>
              <a:pPr marL="114300" marR="0" lvl="0" indent="-114300" algn="l" defTabSz="914400" rtl="0" eaLnBrk="1" fontAlgn="auto" latinLnBrk="0" hangingPunct="1">
                <a:lnSpc>
                  <a:spcPct val="90000"/>
                </a:lnSpc>
                <a:spcBef>
                  <a:spcPts val="150"/>
                </a:spcBef>
                <a:spcAft>
                  <a:spcPts val="15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nduct Business Impact Analysis and Threat Risk Assessment for all in-scope departments and locations</a:t>
              </a:r>
            </a:p>
            <a:p>
              <a:pPr marL="114300" marR="0" lvl="0" indent="-114300" algn="l" defTabSz="914400" rtl="0" eaLnBrk="1" fontAlgn="auto" latinLnBrk="0" hangingPunct="1">
                <a:lnSpc>
                  <a:spcPct val="90000"/>
                </a:lnSpc>
                <a:spcBef>
                  <a:spcPts val="150"/>
                </a:spcBef>
                <a:spcAft>
                  <a:spcPts val="150"/>
                </a:spcAft>
                <a:buClrTx/>
                <a:buSzTx/>
                <a:buFont typeface="Arial" panose="020B0604020202020204" pitchFamily="34" charset="0"/>
                <a:buChar char="•"/>
                <a:tabLst/>
                <a:defRPr/>
              </a:pPr>
              <a:r>
                <a:rPr lang="en-US" sz="1050" dirty="0">
                  <a:solidFill>
                    <a:prstClr val="black"/>
                  </a:solidFill>
                  <a:latin typeface="Calibri" panose="020F0502020204030204" pitchFamily="34" charset="0"/>
                  <a:cs typeface="Calibri" panose="020F0502020204030204" pitchFamily="34" charset="0"/>
                </a:rPr>
                <a:t>Identify suitable recovery strategies, develop business continuity and disaster recovery plans</a:t>
              </a:r>
            </a:p>
            <a:p>
              <a:pPr marL="114300" marR="0" lvl="0" indent="-114300" algn="l" defTabSz="914400" rtl="0" eaLnBrk="1" fontAlgn="auto" latinLnBrk="0" hangingPunct="1">
                <a:lnSpc>
                  <a:spcPct val="90000"/>
                </a:lnSpc>
                <a:spcBef>
                  <a:spcPts val="150"/>
                </a:spcBef>
                <a:spcAft>
                  <a:spcPts val="15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evelop incident and crisis management framework, </a:t>
              </a:r>
              <a:r>
                <a:rPr lang="en-US" sz="1050" dirty="0">
                  <a:solidFill>
                    <a:prstClr val="black"/>
                  </a:solidFill>
                  <a:latin typeface="Calibri" panose="020F0502020204030204" pitchFamily="34" charset="0"/>
                  <a:cs typeface="Calibri" panose="020F0502020204030204" pitchFamily="34" charset="0"/>
                </a:rPr>
                <a:t>crisis management plan and crisis communication plan.</a:t>
              </a:r>
            </a:p>
            <a:p>
              <a:pPr>
                <a:spcBef>
                  <a:spcPts val="150"/>
                </a:spcBef>
                <a:spcAft>
                  <a:spcPts val="150"/>
                </a:spcAft>
              </a:pPr>
              <a:r>
                <a:rPr lang="en-US" sz="1050" b="1" dirty="0">
                  <a:solidFill>
                    <a:srgbClr val="04759A"/>
                  </a:solidFill>
                  <a:latin typeface="Calibri" panose="020F0502020204030204" pitchFamily="34" charset="0"/>
                  <a:cs typeface="Calibri" panose="020F0502020204030204" pitchFamily="34" charset="0"/>
                </a:rPr>
                <a:t>Impact Delivered</a:t>
              </a:r>
            </a:p>
            <a:p>
              <a:pPr marL="114300" marR="0" lvl="0" indent="-114300" algn="l" defTabSz="914400" rtl="0" eaLnBrk="1" fontAlgn="auto" latinLnBrk="0" hangingPunct="1">
                <a:lnSpc>
                  <a:spcPct val="90000"/>
                </a:lnSpc>
                <a:spcBef>
                  <a:spcPts val="150"/>
                </a:spcBef>
                <a:spcAft>
                  <a:spcPts val="15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nducted </a:t>
              </a:r>
              <a:r>
                <a:rPr lang="en-US" sz="1050" dirty="0">
                  <a:solidFill>
                    <a:prstClr val="black"/>
                  </a:solidFill>
                  <a:latin typeface="Calibri" panose="020F0502020204030204" pitchFamily="34" charset="0"/>
                  <a:cs typeface="Calibri" panose="020F0502020204030204" pitchFamily="34" charset="0"/>
                </a:rPr>
                <a:t>trainings and tabletop exercises for BCPs and CMP.</a:t>
              </a:r>
            </a:p>
            <a:p>
              <a:pPr marL="114300" marR="0" lvl="0" indent="-114300" algn="l" defTabSz="914400" rtl="0" eaLnBrk="1" fontAlgn="auto" latinLnBrk="0" hangingPunct="1">
                <a:lnSpc>
                  <a:spcPct val="90000"/>
                </a:lnSpc>
                <a:spcBef>
                  <a:spcPts val="150"/>
                </a:spcBef>
                <a:spcAft>
                  <a:spcPts val="15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nabled stc Pay to achieve compliance against ISO 22301 and SAMA BCM Framework requirements.</a:t>
              </a:r>
            </a:p>
          </p:txBody>
        </p:sp>
        <p:pic>
          <p:nvPicPr>
            <p:cNvPr id="82" name="Picture 81">
              <a:extLst>
                <a:ext uri="{FF2B5EF4-FFF2-40B4-BE49-F238E27FC236}">
                  <a16:creationId xmlns:a16="http://schemas.microsoft.com/office/drawing/2014/main" id="{CE6F6CDC-C4DF-B670-CDBB-4FAD4A1EF635}"/>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4334104" y="971325"/>
              <a:ext cx="3190578" cy="1188720"/>
            </a:xfrm>
            <a:prstGeom prst="rect">
              <a:avLst/>
            </a:prstGeom>
          </p:spPr>
        </p:pic>
        <p:pic>
          <p:nvPicPr>
            <p:cNvPr id="83" name="Picture 82">
              <a:extLst>
                <a:ext uri="{FF2B5EF4-FFF2-40B4-BE49-F238E27FC236}">
                  <a16:creationId xmlns:a16="http://schemas.microsoft.com/office/drawing/2014/main" id="{FD0B4B7A-AE48-3AB1-6E21-1A12CB97213B}"/>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8184600" y="972021"/>
              <a:ext cx="3172248" cy="1188720"/>
            </a:xfrm>
            <a:prstGeom prst="rect">
              <a:avLst/>
            </a:prstGeom>
          </p:spPr>
        </p:pic>
        <p:pic>
          <p:nvPicPr>
            <p:cNvPr id="84" name="Picture 83">
              <a:extLst>
                <a:ext uri="{FF2B5EF4-FFF2-40B4-BE49-F238E27FC236}">
                  <a16:creationId xmlns:a16="http://schemas.microsoft.com/office/drawing/2014/main" id="{562C0468-DFFB-5D95-F158-37F6EF463C76}"/>
                </a:ext>
              </a:extLst>
            </p:cNvPr>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488039" y="1064265"/>
              <a:ext cx="3257805" cy="1132851"/>
            </a:xfrm>
            <a:prstGeom prst="rect">
              <a:avLst/>
            </a:prstGeom>
          </p:spPr>
        </p:pic>
      </p:grpSp>
      <p:sp>
        <p:nvSpPr>
          <p:cNvPr id="85" name="Text Placeholder 20">
            <a:extLst>
              <a:ext uri="{FF2B5EF4-FFF2-40B4-BE49-F238E27FC236}">
                <a16:creationId xmlns:a16="http://schemas.microsoft.com/office/drawing/2014/main" id="{1E53607B-01A9-6614-BF6E-1C4BCC3B4570}"/>
              </a:ext>
            </a:extLst>
          </p:cNvPr>
          <p:cNvSpPr txBox="1">
            <a:spLocks/>
          </p:cNvSpPr>
          <p:nvPr/>
        </p:nvSpPr>
        <p:spPr>
          <a:xfrm>
            <a:off x="412436" y="736688"/>
            <a:ext cx="11252200" cy="757255"/>
          </a:xfrm>
          <a:prstGeom prst="rect">
            <a:avLst/>
          </a:prstGeom>
        </p:spPr>
        <p:txBody>
          <a:bodyPr wrap="square" lIns="0" tIns="0" rIns="0" bIns="0">
            <a:noAutofit/>
          </a:bodyPr>
          <a:lstStyle>
            <a:lvl1pPr marL="0" indent="0">
              <a:buNone/>
              <a:defRPr sz="2400" b="0" i="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indent="0" algn="l" rtl="0" eaLnBrk="1" fontAlgn="auto" latinLnBrk="0" hangingPunct="1">
              <a:spcBef>
                <a:spcPts val="0"/>
              </a:spcBef>
              <a:spcAft>
                <a:spcPts val="1333"/>
              </a:spcAft>
            </a:pPr>
            <a:r>
              <a:rPr lang="en-US" sz="1400" b="1" i="0" kern="1200" spc="0" baseline="0" dirty="0">
                <a:ln>
                  <a:noFill/>
                </a:ln>
                <a:solidFill>
                  <a:srgbClr val="575757"/>
                </a:solidFill>
                <a:effectLst/>
                <a:latin typeface="+mn-lt"/>
                <a:ea typeface="+mn-ea"/>
                <a:cs typeface="Calibri" panose="020F0502020204030204" pitchFamily="34" charset="0"/>
              </a:rPr>
              <a:t>Our Experience in KSA Telecom Sector</a:t>
            </a:r>
            <a:endParaRPr lang="en-US" sz="1000" b="1" dirty="0">
              <a:effectLst/>
              <a:latin typeface="+mn-lt"/>
            </a:endParaRPr>
          </a:p>
        </p:txBody>
      </p:sp>
      <p:sp>
        <p:nvSpPr>
          <p:cNvPr id="86" name="Title 1">
            <a:extLst>
              <a:ext uri="{FF2B5EF4-FFF2-40B4-BE49-F238E27FC236}">
                <a16:creationId xmlns:a16="http://schemas.microsoft.com/office/drawing/2014/main" id="{99C0A80A-D1B0-C39C-EA8F-01EC90314452}"/>
              </a:ext>
            </a:extLst>
          </p:cNvPr>
          <p:cNvSpPr txBox="1">
            <a:spLocks/>
          </p:cNvSpPr>
          <p:nvPr/>
        </p:nvSpPr>
        <p:spPr bwMode="gray">
          <a:xfrm>
            <a:off x="412436"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400" kern="1200">
                <a:solidFill>
                  <a:srgbClr val="86BC25"/>
                </a:solidFill>
                <a:latin typeface="+mj-lt"/>
                <a:ea typeface="Verdana" panose="020B0604030504040204" pitchFamily="34" charset="0"/>
                <a:cs typeface="Calibri" panose="020F0502020204030204" pitchFamily="34" charset="0"/>
              </a:defRPr>
            </a:lvl1pPr>
          </a:lstStyle>
          <a:p>
            <a:pPr defTabSz="914400"/>
            <a:r>
              <a:rPr lang="en-US" sz="2000" kern="0" dirty="0">
                <a:solidFill>
                  <a:schemeClr val="tx2">
                    <a:lumMod val="50000"/>
                  </a:schemeClr>
                </a:solidFill>
                <a:latin typeface="+mn-lt"/>
                <a:ea typeface="Open Sans Semibold" panose="020B0706030804020204" pitchFamily="34" charset="0"/>
                <a:cs typeface="Open Sans Semibold" panose="020B0706030804020204" pitchFamily="34" charset="0"/>
              </a:rPr>
              <a:t>Executive Summary</a:t>
            </a:r>
          </a:p>
        </p:txBody>
      </p:sp>
    </p:spTree>
    <p:extLst>
      <p:ext uri="{BB962C8B-B14F-4D97-AF65-F5344CB8AC3E}">
        <p14:creationId xmlns:p14="http://schemas.microsoft.com/office/powerpoint/2010/main" val="155685393"/>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Deloitte_US_Onscreen">
  <a:themeElements>
    <a:clrScheme name="2_Deloitte_US_Onscreen">
      <a:dk1>
        <a:srgbClr val="FFFFFF"/>
      </a:dk1>
      <a:lt1>
        <a:srgbClr val="FFFFFF"/>
      </a:lt1>
      <a:dk2>
        <a:srgbClr val="A7A7A7"/>
      </a:dk2>
      <a:lt2>
        <a:srgbClr val="535353"/>
      </a:lt2>
      <a:accent1>
        <a:srgbClr val="86BC25"/>
      </a:accent1>
      <a:accent2>
        <a:srgbClr val="046A38"/>
      </a:accent2>
      <a:accent3>
        <a:srgbClr val="62B5E5"/>
      </a:accent3>
      <a:accent4>
        <a:srgbClr val="012169"/>
      </a:accent4>
      <a:accent5>
        <a:srgbClr val="0097A9"/>
      </a:accent5>
      <a:accent6>
        <a:srgbClr val="75787B"/>
      </a:accent6>
      <a:hlink>
        <a:srgbClr val="0000FF"/>
      </a:hlink>
      <a:folHlink>
        <a:srgbClr val="FF00FF"/>
      </a:folHlink>
    </a:clrScheme>
    <a:fontScheme name="2_Deloitte_US_Onscreen">
      <a:majorFont>
        <a:latin typeface="Helvetica"/>
        <a:ea typeface="Helvetica"/>
        <a:cs typeface="Helvetica"/>
      </a:majorFont>
      <a:minorFont>
        <a:latin typeface="Calibri"/>
        <a:ea typeface="Calibri"/>
        <a:cs typeface="Calibri"/>
      </a:minorFont>
    </a:fontScheme>
    <a:fmtScheme name="2_Deloitte_US_Onscreen">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88900" tIns="88900" rIns="88900" bIns="88900"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Open Sans"/>
            <a:ea typeface="Open Sans"/>
            <a:cs typeface="Open Sans"/>
            <a:sym typeface="Open Sans"/>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0" tIns="0" rIns="0" bIns="0"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Deloitte_US_Letter_Print Theme">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_Letter_Print Theme" id="{5B1C474F-3B6E-4C4C-B8B8-04058258F10F}" vid="{EE8175AA-1F22-47D3-9D7F-F1884DC9EC3E}"/>
    </a:ext>
  </a:extLst>
</a:theme>
</file>

<file path=ppt/theme/theme3.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lIns="0" rIns="0" anchor="b" anchorCtr="0">
        <a:normAutofit fontScale="92500"/>
      </a:bodyPr>
      <a:lstStyle>
        <a:defPPr>
          <a:lnSpc>
            <a:spcPts val="900"/>
          </a:lnSpc>
          <a:defRPr sz="1300" b="1" dirty="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B250B804-2FDB-4928-98F0-F76F4A35E307}" vid="{34B986A3-8F99-4F88-AF27-8B60A5DA0FDB}"/>
    </a:ext>
  </a:extLst>
</a:theme>
</file>

<file path=ppt/theme/theme4.xml><?xml version="1.0" encoding="utf-8"?>
<a:theme xmlns:a="http://schemas.openxmlformats.org/drawingml/2006/main" name="2_Deloitte_US_Onscreen">
  <a:themeElements>
    <a:clrScheme name="2_Deloitte_US_Onscreen">
      <a:dk1>
        <a:srgbClr val="000000"/>
      </a:dk1>
      <a:lt1>
        <a:srgbClr val="FFFFFF"/>
      </a:lt1>
      <a:dk2>
        <a:srgbClr val="A7A7A7"/>
      </a:dk2>
      <a:lt2>
        <a:srgbClr val="535353"/>
      </a:lt2>
      <a:accent1>
        <a:srgbClr val="86BC25"/>
      </a:accent1>
      <a:accent2>
        <a:srgbClr val="046A38"/>
      </a:accent2>
      <a:accent3>
        <a:srgbClr val="62B5E5"/>
      </a:accent3>
      <a:accent4>
        <a:srgbClr val="012169"/>
      </a:accent4>
      <a:accent5>
        <a:srgbClr val="0097A9"/>
      </a:accent5>
      <a:accent6>
        <a:srgbClr val="75787B"/>
      </a:accent6>
      <a:hlink>
        <a:srgbClr val="0000FF"/>
      </a:hlink>
      <a:folHlink>
        <a:srgbClr val="FF00FF"/>
      </a:folHlink>
    </a:clrScheme>
    <a:fontScheme name="2_Deloitte_US_Onscreen">
      <a:majorFont>
        <a:latin typeface="Helvetica"/>
        <a:ea typeface="Helvetica"/>
        <a:cs typeface="Helvetica"/>
      </a:majorFont>
      <a:minorFont>
        <a:latin typeface="Calibri"/>
        <a:ea typeface="Calibri"/>
        <a:cs typeface="Calibri"/>
      </a:minorFont>
    </a:fontScheme>
    <a:fmtScheme name="2_Deloitte_US_Onscreen">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88900" tIns="88900" rIns="88900" bIns="88900"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Open Sans"/>
            <a:ea typeface="Open Sans"/>
            <a:cs typeface="Open Sans"/>
            <a:sym typeface="Open Sans"/>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0" tIns="0" rIns="0" bIns="0"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FFFFFF"/>
            </a:solidFill>
            <a:effectLst/>
            <a:uFillTx/>
            <a:latin typeface="Open Sans Light"/>
            <a:ea typeface="Open Sans Light"/>
            <a:cs typeface="Open Sans Light"/>
            <a:sym typeface="Open Sans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866879453D4034C9F9B3D7B9B822B45" ma:contentTypeVersion="3" ma:contentTypeDescription="Create a new document." ma:contentTypeScope="" ma:versionID="14231acf60607c9bc31a6ccbd0e01d38">
  <xsd:schema xmlns:xsd="http://www.w3.org/2001/XMLSchema" xmlns:xs="http://www.w3.org/2001/XMLSchema" xmlns:p="http://schemas.microsoft.com/office/2006/metadata/properties" xmlns:ns2="c5ab005f-5b00-45e8-927b-3b9c7e85cc4b" targetNamespace="http://schemas.microsoft.com/office/2006/metadata/properties" ma:root="true" ma:fieldsID="526ef6df1990a84ada9accfa7f8fa884" ns2:_="">
    <xsd:import namespace="c5ab005f-5b00-45e8-927b-3b9c7e85cc4b"/>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ab005f-5b00-45e8-927b-3b9c7e85cc4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F220111-E14E-49E3-9605-7B5678FFCCB9}">
  <ds:schemaRefs>
    <ds:schemaRef ds:uri="http://schemas.microsoft.com/sharepoint/v3/contenttype/forms"/>
  </ds:schemaRefs>
</ds:datastoreItem>
</file>

<file path=customXml/itemProps2.xml><?xml version="1.0" encoding="utf-8"?>
<ds:datastoreItem xmlns:ds="http://schemas.openxmlformats.org/officeDocument/2006/customXml" ds:itemID="{842AD9E3-BBAC-418C-91C6-BC88ED9DF4A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ab005f-5b00-45e8-927b-3b9c7e85cc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998FA23-9AF2-479B-A5CF-EB248549B0ED}">
  <ds:schemaRefs>
    <ds:schemaRef ds:uri="http://purl.org/dc/dcmitype/"/>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http://www.w3.org/XML/1998/namespace"/>
    <ds:schemaRef ds:uri="http://schemas.microsoft.com/office/infopath/2007/PartnerControls"/>
    <ds:schemaRef ds:uri="c5ab005f-5b00-45e8-927b-3b9c7e85cc4b"/>
    <ds:schemaRef ds:uri="http://purl.org/dc/terms/"/>
  </ds:schemaRefs>
</ds:datastoreItem>
</file>

<file path=docProps/app.xml><?xml version="1.0" encoding="utf-8"?>
<Properties xmlns="http://schemas.openxmlformats.org/officeDocument/2006/extended-properties" xmlns:vt="http://schemas.openxmlformats.org/officeDocument/2006/docPropsVTypes">
  <TotalTime>9774</TotalTime>
  <Words>29366</Words>
  <Application>Microsoft Office PowerPoint</Application>
  <PresentationFormat>Widescreen</PresentationFormat>
  <Paragraphs>1687</Paragraphs>
  <Slides>87</Slides>
  <Notes>12</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2</vt:i4>
      </vt:variant>
      <vt:variant>
        <vt:lpstr>Slide Titles</vt:lpstr>
      </vt:variant>
      <vt:variant>
        <vt:i4>87</vt:i4>
      </vt:variant>
    </vt:vector>
  </HeadingPairs>
  <TitlesOfParts>
    <vt:vector size="104" baseType="lpstr">
      <vt:lpstr>Wingdings</vt:lpstr>
      <vt:lpstr>Calibri Light</vt:lpstr>
      <vt:lpstr>Wingdings 2</vt:lpstr>
      <vt:lpstr>Open Sans ExtraBold</vt:lpstr>
      <vt:lpstr>Calibri</vt:lpstr>
      <vt:lpstr>Open Sans Semibold</vt:lpstr>
      <vt:lpstr>Open Sans</vt:lpstr>
      <vt:lpstr>Verdana</vt:lpstr>
      <vt:lpstr>Courier New</vt:lpstr>
      <vt:lpstr>Sakkal Majalla</vt:lpstr>
      <vt:lpstr>Arial</vt:lpstr>
      <vt:lpstr>Open Sans Light</vt:lpstr>
      <vt:lpstr>4_Deloitte_US_Onscreen</vt:lpstr>
      <vt:lpstr>Deloitte_US_Letter_Print Theme</vt:lpstr>
      <vt:lpstr>1_Deloitte_US_Onscreen</vt:lpstr>
      <vt:lpstr>think-cell Slide</vt:lpstr>
      <vt:lpstr>Bitmap Image</vt:lpstr>
      <vt:lpstr>PowerPoint Presentation</vt:lpstr>
      <vt:lpstr>PowerPoint Presentation</vt:lpstr>
      <vt:lpstr>Table of contents</vt:lpstr>
      <vt:lpstr>Executive Summa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roach and Methodolog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ject Timeline</vt:lpstr>
      <vt:lpstr>PowerPoint Presentation</vt:lpstr>
      <vt:lpstr>Our Tea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redentials</vt:lpstr>
      <vt:lpstr>PowerPoint Presentation</vt:lpstr>
      <vt:lpstr>PowerPoint Presentation</vt:lpstr>
      <vt:lpstr>PowerPoint Presentation</vt:lpstr>
      <vt:lpstr>PowerPoint Presentation</vt:lpstr>
      <vt:lpstr>PowerPoint Presentation</vt:lpstr>
      <vt:lpstr>PowerPoint Presentation</vt:lpstr>
      <vt:lpstr>About Deloitte</vt:lpstr>
      <vt:lpstr>About Deloitte</vt:lpstr>
      <vt:lpstr>About Deloitte</vt:lpstr>
      <vt:lpstr>About Deloitte</vt:lpstr>
      <vt:lpstr>About Deloitte</vt:lpstr>
      <vt:lpstr>About Deloitte</vt:lpstr>
      <vt:lpstr>About Deloitte</vt:lpstr>
      <vt:lpstr>About Deloitte</vt:lpstr>
      <vt:lpstr>About Deloitte</vt:lpstr>
      <vt:lpstr>Assumptions</vt:lpstr>
      <vt:lpstr>Assumptions</vt:lpstr>
      <vt:lpstr>Assumptions</vt:lpstr>
      <vt:lpstr>Assumptions</vt:lpstr>
      <vt:lpstr>Assumptions</vt:lpstr>
      <vt:lpstr>Assumptions</vt:lpstr>
      <vt:lpstr>Assumptions</vt:lpstr>
      <vt:lpstr>General Business Terms &amp; Conditions</vt:lpstr>
      <vt:lpstr>General Business Terms and Conditions (1 of 18)</vt:lpstr>
      <vt:lpstr>General Business Terms and Conditions (2 of 18)</vt:lpstr>
      <vt:lpstr>General Business Terms and Conditions (3 of 18)</vt:lpstr>
      <vt:lpstr>General Business Terms and Conditions (4 of 18)</vt:lpstr>
      <vt:lpstr>General Business Terms and Conditions (5 of 18)</vt:lpstr>
      <vt:lpstr>General Business Terms and Conditions (6 of 18)</vt:lpstr>
      <vt:lpstr>General Business Terms and Conditions (7 of 18)</vt:lpstr>
      <vt:lpstr>General Business Terms and Conditions (8 of 18)</vt:lpstr>
      <vt:lpstr>General Business Terms and Conditions (9 of 18)</vt:lpstr>
      <vt:lpstr>General Business Terms and Conditions (10 of 18)</vt:lpstr>
      <vt:lpstr>General Business Terms and Conditions (11 of 18)</vt:lpstr>
      <vt:lpstr>General Business Terms and Conditions (12 of 18)</vt:lpstr>
      <vt:lpstr>General Business Terms and Conditions (13 of 18)</vt:lpstr>
      <vt:lpstr>General Business Terms and Conditions (14 of 18)</vt:lpstr>
      <vt:lpstr>General Business Terms and Conditions (15 of 18)</vt:lpstr>
      <vt:lpstr>General Business Terms and Conditions (16 of 18)</vt:lpstr>
      <vt:lpstr>General Business Terms and Conditions (17 of 18)</vt:lpstr>
      <vt:lpstr>General Business Terms and Conditions (18 of 18)</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lam - BCM Consultancy Services</dc:title>
  <cp:lastModifiedBy>Yousuf, Arsalan</cp:lastModifiedBy>
  <cp:revision>5</cp:revision>
  <dcterms:modified xsi:type="dcterms:W3CDTF">2024-01-19T13:52: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866879453D4034C9F9B3D7B9B822B45</vt:lpwstr>
  </property>
  <property fmtid="{D5CDD505-2E9C-101B-9397-08002B2CF9AE}" pid="3" name="MSIP_Label_ea60d57e-af5b-4752-ac57-3e4f28ca11dc_Enabled">
    <vt:lpwstr>true</vt:lpwstr>
  </property>
  <property fmtid="{D5CDD505-2E9C-101B-9397-08002B2CF9AE}" pid="4" name="MSIP_Label_ea60d57e-af5b-4752-ac57-3e4f28ca11dc_SetDate">
    <vt:lpwstr>2022-11-17T21:27:13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1d4725d4-74cb-4840-bfa9-7174083e528e</vt:lpwstr>
  </property>
  <property fmtid="{D5CDD505-2E9C-101B-9397-08002B2CF9AE}" pid="9" name="MSIP_Label_ea60d57e-af5b-4752-ac57-3e4f28ca11dc_ContentBits">
    <vt:lpwstr>0</vt:lpwstr>
  </property>
  <property fmtid="{D5CDD505-2E9C-101B-9397-08002B2CF9AE}" pid="10" name="MediaServiceImageTags">
    <vt:lpwstr/>
  </property>
  <property fmtid="{D5CDD505-2E9C-101B-9397-08002B2CF9AE}" pid="11" name="Order">
    <vt:lpwstr>4400.00000000000</vt:lpwstr>
  </property>
  <property fmtid="{D5CDD505-2E9C-101B-9397-08002B2CF9AE}" pid="12" name="xd_ProgID">
    <vt:lpwstr/>
  </property>
  <property fmtid="{D5CDD505-2E9C-101B-9397-08002B2CF9AE}" pid="13" name="ComplianceAssetId">
    <vt:lpwstr/>
  </property>
  <property fmtid="{D5CDD505-2E9C-101B-9397-08002B2CF9AE}" pid="14" name="TemplateUrl">
    <vt:lpwstr/>
  </property>
  <property fmtid="{D5CDD505-2E9C-101B-9397-08002B2CF9AE}" pid="15" name="_ExtendedDescription">
    <vt:lpwstr/>
  </property>
  <property fmtid="{D5CDD505-2E9C-101B-9397-08002B2CF9AE}" pid="16" name="TriggerFlowInfo">
    <vt:lpwstr/>
  </property>
  <property fmtid="{D5CDD505-2E9C-101B-9397-08002B2CF9AE}" pid="17" name="xd_Signature">
    <vt:lpwstr/>
  </property>
</Properties>
</file>